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6.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slides/slide150.xml" ContentType="application/vnd.openxmlformats-officedocument.presentationml.slide+xml"/>
  <Override PartName="/ppt/slides/slide160.xml" ContentType="application/vnd.openxmlformats-officedocument.presentationml.slide+xml"/>
  <Override PartName="/ppt/slideLayouts/slideLayout710.xml" ContentType="application/vnd.openxmlformats-officedocument.presentationml.slideLayout+xml"/>
  <Override PartName="/ppt/slides/slide200.xml" ContentType="application/vnd.openxmlformats-officedocument.presentationml.slide+xml"/>
  <Override PartName="/ppt/slides/slide190.xml" ContentType="application/vnd.openxmlformats-officedocument.presentationml.slide+xml"/>
  <Override PartName="/ppt/slides/slide180.xml" ContentType="application/vnd.openxmlformats-officedocument.presentationml.slide+xml"/>
  <Override PartName="/ppt/slideMasters/slideMaster10.xml" ContentType="application/vnd.openxmlformats-officedocument.presentationml.slideMaster+xml"/>
  <Override PartName="/ppt/slides/slide170.xml" ContentType="application/vnd.openxmlformats-officedocument.presentationml.slide+xml"/>
  <Override PartName="/ppt/slideLayouts/slideLayout180.xml" ContentType="application/vnd.openxmlformats-officedocument.presentationml.slideLayout+xml"/>
  <Override PartName="/ppt/slides/slide90.xml" ContentType="application/vnd.openxmlformats-officedocument.presentationml.slide+xml"/>
  <Override PartName="/ppt/slideLayouts/slideLayout810.xml" ContentType="application/vnd.openxmlformats-officedocument.presentationml.slideLayout+xml"/>
  <Override PartName="/ppt/slideLayouts/slideLayout310.xml" ContentType="application/vnd.openxmlformats-officedocument.presentationml.slideLayout+xml"/>
  <Override PartName="/ppt/theme/theme10.xml" ContentType="application/vnd.openxmlformats-officedocument.theme+xml"/>
  <Override PartName="/ppt/slideLayouts/slideLayout210.xml" ContentType="application/vnd.openxmlformats-officedocument.presentationml.slideLayout+xml"/>
  <Override PartName="/ppt/slideLayouts/slideLayout110.xml" ContentType="application/vnd.openxmlformats-officedocument.presentationml.slideLayout+xml"/>
  <Override PartName="/ppt/slideLayouts/slideLayout610.xml" ContentType="application/vnd.openxmlformats-officedocument.presentationml.slideLayout+xml"/>
  <Override PartName="/ppt/slideLayouts/slideLayout111.xml" ContentType="application/vnd.openxmlformats-officedocument.presentationml.slideLayout+xml"/>
  <Override PartName="/ppt/slideLayouts/slideLayout510.xml" ContentType="application/vnd.openxmlformats-officedocument.presentationml.slideLayout+xml"/>
  <Override PartName="/ppt/slideLayouts/slideLayout102.xml" ContentType="application/vnd.openxmlformats-officedocument.presentationml.slideLayout+xml"/>
  <Override PartName="/ppt/slideLayouts/slideLayout410.xml" ContentType="application/vnd.openxmlformats-officedocument.presentationml.slideLayout+xml"/>
  <Override PartName="/ppt/slideLayouts/slideLayout910.xml" ContentType="application/vnd.openxmlformats-officedocument.presentationml.slideLayout+xml"/>
  <Override PartName="/ppt/slideMasters/slideMaster20.xml" ContentType="application/vnd.openxmlformats-officedocument.presentationml.slideMaster+xml"/>
  <Override PartName="/ppt/slideLayouts/slideLayout190.xml" ContentType="application/vnd.openxmlformats-officedocument.presentationml.slideLayout+xml"/>
  <Override PartName="/ppt/slideLayouts/slideLayout140.xml" ContentType="application/vnd.openxmlformats-officedocument.presentationml.slideLayout+xml"/>
  <Override PartName="/ppt/theme/theme20.xml" ContentType="application/vnd.openxmlformats-officedocument.theme+xml"/>
  <Override PartName="/ppt/slideLayouts/slideLayout130.xml" ContentType="application/vnd.openxmlformats-officedocument.presentationml.slideLayout+xml"/>
  <Override PartName="/ppt/slideLayouts/slideLayout120.xml" ContentType="application/vnd.openxmlformats-officedocument.presentationml.slideLayout+xml"/>
  <Override PartName="/ppt/slideLayouts/slideLayout170.xml" ContentType="application/vnd.openxmlformats-officedocument.presentationml.slideLayout+xml"/>
  <Override PartName="/ppt/slideLayouts/slideLayout220.xml" ContentType="application/vnd.openxmlformats-officedocument.presentationml.slideLayout+xml"/>
  <Override PartName="/ppt/slideLayouts/slideLayout160.xml" ContentType="application/vnd.openxmlformats-officedocument.presentationml.slideLayout+xml"/>
  <Override PartName="/ppt/slideLayouts/slideLayout211.xml" ContentType="application/vnd.openxmlformats-officedocument.presentationml.slideLayout+xml"/>
  <Override PartName="/ppt/slideLayouts/slideLayout150.xml" ContentType="application/vnd.openxmlformats-officedocument.presentationml.slideLayout+xml"/>
  <Override PartName="/ppt/slideLayouts/slideLayout200.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 id="2147483674" r:id="rId4"/>
    <p:sldMasterId id="2147483702" r:id="rId5"/>
    <p:sldMasterId id="2147483714" r:id="rId6"/>
    <p:sldMasterId id="2147483744" r:id="rId7"/>
  </p:sldMasterIdLst>
  <p:notesMasterIdLst>
    <p:notesMasterId r:id="rId53"/>
  </p:notesMasterIdLst>
  <p:sldIdLst>
    <p:sldId id="324" r:id="rId8"/>
    <p:sldId id="266" r:id="rId9"/>
    <p:sldId id="257" r:id="rId10"/>
    <p:sldId id="262" r:id="rId11"/>
    <p:sldId id="325" r:id="rId12"/>
    <p:sldId id="261" r:id="rId13"/>
    <p:sldId id="264" r:id="rId14"/>
    <p:sldId id="274" r:id="rId15"/>
    <p:sldId id="271" r:id="rId16"/>
    <p:sldId id="268" r:id="rId17"/>
    <p:sldId id="269" r:id="rId18"/>
    <p:sldId id="275" r:id="rId19"/>
    <p:sldId id="276" r:id="rId20"/>
    <p:sldId id="277" r:id="rId21"/>
    <p:sldId id="278" r:id="rId22"/>
    <p:sldId id="256" r:id="rId23"/>
    <p:sldId id="259" r:id="rId24"/>
    <p:sldId id="260" r:id="rId25"/>
    <p:sldId id="279" r:id="rId26"/>
    <p:sldId id="280" r:id="rId27"/>
    <p:sldId id="281" r:id="rId28"/>
    <p:sldId id="273" r:id="rId29"/>
    <p:sldId id="287" r:id="rId30"/>
    <p:sldId id="288" r:id="rId31"/>
    <p:sldId id="270" r:id="rId32"/>
    <p:sldId id="289" r:id="rId33"/>
    <p:sldId id="290" r:id="rId34"/>
    <p:sldId id="291" r:id="rId35"/>
    <p:sldId id="292" r:id="rId36"/>
    <p:sldId id="293" r:id="rId37"/>
    <p:sldId id="298" r:id="rId38"/>
    <p:sldId id="323" r:id="rId39"/>
    <p:sldId id="334" r:id="rId40"/>
    <p:sldId id="329" r:id="rId41"/>
    <p:sldId id="330" r:id="rId42"/>
    <p:sldId id="331" r:id="rId43"/>
    <p:sldId id="332" r:id="rId44"/>
    <p:sldId id="333" r:id="rId45"/>
    <p:sldId id="335" r:id="rId46"/>
    <p:sldId id="336" r:id="rId47"/>
    <p:sldId id="265" r:id="rId48"/>
    <p:sldId id="297" r:id="rId49"/>
    <p:sldId id="338" r:id="rId50"/>
    <p:sldId id="339" r:id="rId51"/>
    <p:sldId id="267" r:id="rId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2DF566F-62E9-4C6D-8419-82DD177032C0}">
          <p14:sldIdLst>
            <p14:sldId id="324"/>
            <p14:sldId id="266"/>
          </p14:sldIdLst>
        </p14:section>
        <p14:section name="Introduction" id="{D9FDA72A-4CB3-42C9-BEAA-87C985F2F64E}">
          <p14:sldIdLst>
            <p14:sldId id="257"/>
            <p14:sldId id="262"/>
            <p14:sldId id="325"/>
            <p14:sldId id="261"/>
          </p14:sldIdLst>
        </p14:section>
        <p14:section name="Project on Practice" id="{F21185F9-6EC3-4E60-963D-01DA28214FDF}">
          <p14:sldIdLst>
            <p14:sldId id="264"/>
            <p14:sldId id="274"/>
            <p14:sldId id="271"/>
            <p14:sldId id="268"/>
            <p14:sldId id="269"/>
            <p14:sldId id="275"/>
            <p14:sldId id="276"/>
            <p14:sldId id="277"/>
            <p14:sldId id="278"/>
            <p14:sldId id="256"/>
            <p14:sldId id="259"/>
            <p14:sldId id="260"/>
            <p14:sldId id="279"/>
            <p14:sldId id="280"/>
            <p14:sldId id="281"/>
            <p14:sldId id="273"/>
            <p14:sldId id="287"/>
            <p14:sldId id="288"/>
            <p14:sldId id="270"/>
            <p14:sldId id="289"/>
            <p14:sldId id="290"/>
            <p14:sldId id="291"/>
            <p14:sldId id="292"/>
            <p14:sldId id="293"/>
            <p14:sldId id="298"/>
            <p14:sldId id="323"/>
          </p14:sldIdLst>
        </p14:section>
        <p14:section name="Challenges &amp; problems" id="{5AA40B47-5624-4227-BE22-D682583F25AF}">
          <p14:sldIdLst>
            <p14:sldId id="334"/>
            <p14:sldId id="329"/>
            <p14:sldId id="330"/>
            <p14:sldId id="331"/>
            <p14:sldId id="332"/>
            <p14:sldId id="333"/>
          </p14:sldIdLst>
        </p14:section>
        <p14:section name="Conclusion_main" id="{6E676CF4-E2BD-47E0-97EF-7C366DEA76D6}">
          <p14:sldIdLst>
            <p14:sldId id="335"/>
            <p14:sldId id="336"/>
            <p14:sldId id="265"/>
          </p14:sldIdLst>
        </p14:section>
        <p14:section name="Conclusion" id="{42B56D9E-FFC7-4169-97F8-7AD06FAFC203}">
          <p14:sldIdLst>
            <p14:sldId id="297"/>
            <p14:sldId id="338"/>
            <p14:sldId id="339"/>
            <p14:sldId id="26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31F7"/>
    <a:srgbClr val="A48EFC"/>
    <a:srgbClr val="8C08F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881" autoAdjust="0"/>
  </p:normalViewPr>
  <p:slideViewPr>
    <p:cSldViewPr snapToGrid="0">
      <p:cViewPr varScale="1">
        <p:scale>
          <a:sx n="82" d="100"/>
          <a:sy n="82" d="100"/>
        </p:scale>
        <p:origin x="691"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notesMaster" Target="notesMasters/notesMaster1.xml"/><Relationship Id="rId5" Type="http://schemas.openxmlformats.org/officeDocument/2006/relationships/slideMaster" Target="slideMasters/slideMaster5.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tableStyles" Target="tableStyle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9A2CE2-5B03-4F94-9C89-2BBA9FA423B3}" type="datetimeFigureOut">
              <a:rPr lang="en-IN" smtClean="0"/>
              <a:t>13-01-2023</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DD86580-E029-477C-8076-AC09A93CD162}" type="slidenum">
              <a:rPr lang="en-IN" smtClean="0"/>
              <a:t>‹#›</a:t>
            </a:fld>
            <a:endParaRPr lang="en-IN"/>
          </a:p>
        </p:txBody>
      </p:sp>
    </p:spTree>
    <p:extLst>
      <p:ext uri="{BB962C8B-B14F-4D97-AF65-F5344CB8AC3E}">
        <p14:creationId xmlns:p14="http://schemas.microsoft.com/office/powerpoint/2010/main" val="20084577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9DD86580-E029-477C-8076-AC09A93CD162}" type="slidenum">
              <a:rPr lang="en-IN" smtClean="0"/>
              <a:t>8</a:t>
            </a:fld>
            <a:endParaRPr lang="en-IN"/>
          </a:p>
        </p:txBody>
      </p:sp>
    </p:spTree>
    <p:extLst>
      <p:ext uri="{BB962C8B-B14F-4D97-AF65-F5344CB8AC3E}">
        <p14:creationId xmlns:p14="http://schemas.microsoft.com/office/powerpoint/2010/main" val="40823560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31"/>
        <p:cNvGrpSpPr/>
        <p:nvPr/>
      </p:nvGrpSpPr>
      <p:grpSpPr>
        <a:xfrm>
          <a:off x="0" y="0"/>
          <a:ext cx="0" cy="0"/>
          <a:chOff x="0" y="0"/>
          <a:chExt cx="0" cy="0"/>
        </a:xfrm>
      </p:grpSpPr>
      <p:sp>
        <p:nvSpPr>
          <p:cNvPr id="2532" name="Google Shape;2532;gbadf322efb_0_7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33" name="Google Shape;2533;gbadf322efb_0_7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8"/>
        <p:cNvGrpSpPr/>
        <p:nvPr/>
      </p:nvGrpSpPr>
      <p:grpSpPr>
        <a:xfrm>
          <a:off x="0" y="0"/>
          <a:ext cx="0" cy="0"/>
          <a:chOff x="0" y="0"/>
          <a:chExt cx="0" cy="0"/>
        </a:xfrm>
      </p:grpSpPr>
      <p:sp>
        <p:nvSpPr>
          <p:cNvPr id="2779" name="Google Shape;2779;gbadf322efb_0_165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80" name="Google Shape;2780;gbadf322efb_0_165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8"/>
        <p:cNvGrpSpPr/>
        <p:nvPr/>
      </p:nvGrpSpPr>
      <p:grpSpPr>
        <a:xfrm>
          <a:off x="0" y="0"/>
          <a:ext cx="0" cy="0"/>
          <a:chOff x="0" y="0"/>
          <a:chExt cx="0" cy="0"/>
        </a:xfrm>
      </p:grpSpPr>
      <p:sp>
        <p:nvSpPr>
          <p:cNvPr id="2099" name="Google Shape;2099;gbadf322efb_0_2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00" name="Google Shape;2100;gbadf322efb_0_27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4.xml"/><Relationship Id="rId4" Type="http://schemas.openxmlformats.org/officeDocument/2006/relationships/hyperlink" Target="http://bit.ly/2TtBDfr" TargetMode="Externa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EF6B5-F94B-37F0-E083-DC19373315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5488C419-41AF-D1DD-372A-F6621342D53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C4E2D867-CE22-44DC-0561-78FC3F05A778}"/>
              </a:ext>
            </a:extLst>
          </p:cNvPr>
          <p:cNvSpPr>
            <a:spLocks noGrp="1"/>
          </p:cNvSpPr>
          <p:nvPr>
            <p:ph type="dt" sz="half" idx="10"/>
          </p:nvPr>
        </p:nvSpPr>
        <p:spPr/>
        <p:txBody>
          <a:bodyPr/>
          <a:lstStyle/>
          <a:p>
            <a:fld id="{1E32E15C-1ABB-4FCE-A664-E12BA74059BF}" type="datetimeFigureOut">
              <a:rPr lang="en-IN" smtClean="0"/>
              <a:t>13-01-2023</a:t>
            </a:fld>
            <a:endParaRPr lang="en-IN"/>
          </a:p>
        </p:txBody>
      </p:sp>
      <p:sp>
        <p:nvSpPr>
          <p:cNvPr id="5" name="Footer Placeholder 4">
            <a:extLst>
              <a:ext uri="{FF2B5EF4-FFF2-40B4-BE49-F238E27FC236}">
                <a16:creationId xmlns:a16="http://schemas.microsoft.com/office/drawing/2014/main" id="{D06A92B8-533F-65C5-EA44-CB5149C0081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58BA78C1-8943-887A-17B8-FEBBA9D06A42}"/>
              </a:ext>
            </a:extLst>
          </p:cNvPr>
          <p:cNvSpPr>
            <a:spLocks noGrp="1"/>
          </p:cNvSpPr>
          <p:nvPr>
            <p:ph type="sldNum" sz="quarter" idx="12"/>
          </p:nvPr>
        </p:nvSpPr>
        <p:spPr/>
        <p:txBody>
          <a:bodyPr/>
          <a:lstStyle/>
          <a:p>
            <a:fld id="{B4B60327-AE25-4737-85CF-0B04EF4FAC0C}" type="slidenum">
              <a:rPr lang="en-IN" smtClean="0"/>
              <a:t>‹#›</a:t>
            </a:fld>
            <a:endParaRPr lang="en-IN"/>
          </a:p>
        </p:txBody>
      </p:sp>
    </p:spTree>
    <p:extLst>
      <p:ext uri="{BB962C8B-B14F-4D97-AF65-F5344CB8AC3E}">
        <p14:creationId xmlns:p14="http://schemas.microsoft.com/office/powerpoint/2010/main" val="20013495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65FB8-33C1-8F2B-96B4-BD01ABDF5D98}"/>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402BD10C-BACF-6508-CA6A-7C3B029F36E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D6AA7DCF-1B27-C385-B036-451118A5A780}"/>
              </a:ext>
            </a:extLst>
          </p:cNvPr>
          <p:cNvSpPr>
            <a:spLocks noGrp="1"/>
          </p:cNvSpPr>
          <p:nvPr>
            <p:ph type="dt" sz="half" idx="10"/>
          </p:nvPr>
        </p:nvSpPr>
        <p:spPr/>
        <p:txBody>
          <a:bodyPr/>
          <a:lstStyle/>
          <a:p>
            <a:fld id="{1E32E15C-1ABB-4FCE-A664-E12BA74059BF}" type="datetimeFigureOut">
              <a:rPr lang="en-IN" smtClean="0"/>
              <a:t>13-01-2023</a:t>
            </a:fld>
            <a:endParaRPr lang="en-IN"/>
          </a:p>
        </p:txBody>
      </p:sp>
      <p:sp>
        <p:nvSpPr>
          <p:cNvPr id="5" name="Footer Placeholder 4">
            <a:extLst>
              <a:ext uri="{FF2B5EF4-FFF2-40B4-BE49-F238E27FC236}">
                <a16:creationId xmlns:a16="http://schemas.microsoft.com/office/drawing/2014/main" id="{55E755A9-5572-47B7-F39D-95E04F1541F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0B2C217F-C11F-32E2-34CC-ED189B77A833}"/>
              </a:ext>
            </a:extLst>
          </p:cNvPr>
          <p:cNvSpPr>
            <a:spLocks noGrp="1"/>
          </p:cNvSpPr>
          <p:nvPr>
            <p:ph type="sldNum" sz="quarter" idx="12"/>
          </p:nvPr>
        </p:nvSpPr>
        <p:spPr/>
        <p:txBody>
          <a:bodyPr/>
          <a:lstStyle/>
          <a:p>
            <a:fld id="{B4B60327-AE25-4737-85CF-0B04EF4FAC0C}" type="slidenum">
              <a:rPr lang="en-IN" smtClean="0"/>
              <a:t>‹#›</a:t>
            </a:fld>
            <a:endParaRPr lang="en-IN"/>
          </a:p>
        </p:txBody>
      </p:sp>
    </p:spTree>
    <p:extLst>
      <p:ext uri="{BB962C8B-B14F-4D97-AF65-F5344CB8AC3E}">
        <p14:creationId xmlns:p14="http://schemas.microsoft.com/office/powerpoint/2010/main" val="54098635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58382226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99891225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61076-4A78-48F1-9BC1-0190ABF61CAE}"/>
              </a:ext>
            </a:extLst>
          </p:cNvPr>
          <p:cNvSpPr>
            <a:spLocks noGrp="1"/>
          </p:cNvSpPr>
          <p:nvPr>
            <p:ph type="title"/>
          </p:nvPr>
        </p:nvSpPr>
        <p:spPr/>
        <p:txBody>
          <a:bodyPr/>
          <a:lstStyle/>
          <a:p>
            <a:r>
              <a:rPr lang="en-US"/>
              <a:t>Click to edit Master title style</a:t>
            </a:r>
            <a:endParaRPr lang="en-MY"/>
          </a:p>
        </p:txBody>
      </p:sp>
      <p:sp>
        <p:nvSpPr>
          <p:cNvPr id="3" name="Vertical Text Placeholder 2">
            <a:extLst>
              <a:ext uri="{FF2B5EF4-FFF2-40B4-BE49-F238E27FC236}">
                <a16:creationId xmlns:a16="http://schemas.microsoft.com/office/drawing/2014/main" id="{37E52D07-D06A-4AB6-96B0-6261CDA8FB2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a:extLst>
              <a:ext uri="{FF2B5EF4-FFF2-40B4-BE49-F238E27FC236}">
                <a16:creationId xmlns:a16="http://schemas.microsoft.com/office/drawing/2014/main" id="{F8E58092-B56D-4CB8-9E6B-37B0814CD2DE}"/>
              </a:ext>
            </a:extLst>
          </p:cNvPr>
          <p:cNvSpPr>
            <a:spLocks noGrp="1"/>
          </p:cNvSpPr>
          <p:nvPr>
            <p:ph type="dt" sz="half" idx="10"/>
          </p:nvPr>
        </p:nvSpPr>
        <p:spPr/>
        <p:txBody>
          <a:bodyPr/>
          <a:lstStyle/>
          <a:p>
            <a:fld id="{E152F814-A5A9-4915-BA2C-D498CBB3B7CE}" type="datetimeFigureOut">
              <a:rPr lang="en-MY" smtClean="0"/>
              <a:t>13/1/2023</a:t>
            </a:fld>
            <a:endParaRPr lang="en-MY"/>
          </a:p>
        </p:txBody>
      </p:sp>
      <p:sp>
        <p:nvSpPr>
          <p:cNvPr id="5" name="Footer Placeholder 4">
            <a:extLst>
              <a:ext uri="{FF2B5EF4-FFF2-40B4-BE49-F238E27FC236}">
                <a16:creationId xmlns:a16="http://schemas.microsoft.com/office/drawing/2014/main" id="{00CD39CC-64FD-4D93-8326-51DFF0387B4D}"/>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42BF00BE-ABD8-492E-A775-6E43B965A242}"/>
              </a:ext>
            </a:extLst>
          </p:cNvPr>
          <p:cNvSpPr>
            <a:spLocks noGrp="1"/>
          </p:cNvSpPr>
          <p:nvPr>
            <p:ph type="sldNum" sz="quarter" idx="12"/>
          </p:nvPr>
        </p:nvSpPr>
        <p:spPr/>
        <p:txBody>
          <a:bodyPr/>
          <a:lstStyle/>
          <a:p>
            <a:fld id="{3854563D-E486-48D4-A129-56097E180FBF}" type="slidenum">
              <a:rPr lang="en-MY" smtClean="0"/>
              <a:t>‹#›</a:t>
            </a:fld>
            <a:endParaRPr lang="en-MY"/>
          </a:p>
        </p:txBody>
      </p:sp>
    </p:spTree>
    <p:extLst>
      <p:ext uri="{BB962C8B-B14F-4D97-AF65-F5344CB8AC3E}">
        <p14:creationId xmlns:p14="http://schemas.microsoft.com/office/powerpoint/2010/main" val="34137481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BBF594E-98D9-0BB6-69B1-8DEEC674C2E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6DB2FEF4-4A3B-1D92-E6FE-48836D0929E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3042D47-46CB-BE6E-EF3A-9A2884C39217}"/>
              </a:ext>
            </a:extLst>
          </p:cNvPr>
          <p:cNvSpPr>
            <a:spLocks noGrp="1"/>
          </p:cNvSpPr>
          <p:nvPr>
            <p:ph type="dt" sz="half" idx="10"/>
          </p:nvPr>
        </p:nvSpPr>
        <p:spPr/>
        <p:txBody>
          <a:bodyPr/>
          <a:lstStyle/>
          <a:p>
            <a:fld id="{1E32E15C-1ABB-4FCE-A664-E12BA74059BF}" type="datetimeFigureOut">
              <a:rPr lang="en-IN" smtClean="0"/>
              <a:t>13-01-2023</a:t>
            </a:fld>
            <a:endParaRPr lang="en-IN"/>
          </a:p>
        </p:txBody>
      </p:sp>
      <p:sp>
        <p:nvSpPr>
          <p:cNvPr id="5" name="Footer Placeholder 4">
            <a:extLst>
              <a:ext uri="{FF2B5EF4-FFF2-40B4-BE49-F238E27FC236}">
                <a16:creationId xmlns:a16="http://schemas.microsoft.com/office/drawing/2014/main" id="{9D639712-E2F8-A72D-B92C-E3D177C7590D}"/>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6B6671FA-5BBC-7EE5-E651-A89DE31187FB}"/>
              </a:ext>
            </a:extLst>
          </p:cNvPr>
          <p:cNvSpPr>
            <a:spLocks noGrp="1"/>
          </p:cNvSpPr>
          <p:nvPr>
            <p:ph type="sldNum" sz="quarter" idx="12"/>
          </p:nvPr>
        </p:nvSpPr>
        <p:spPr/>
        <p:txBody>
          <a:bodyPr/>
          <a:lstStyle/>
          <a:p>
            <a:fld id="{B4B60327-AE25-4737-85CF-0B04EF4FAC0C}" type="slidenum">
              <a:rPr lang="en-IN" smtClean="0"/>
              <a:t>‹#›</a:t>
            </a:fld>
            <a:endParaRPr lang="en-IN"/>
          </a:p>
        </p:txBody>
      </p:sp>
    </p:spTree>
    <p:extLst>
      <p:ext uri="{BB962C8B-B14F-4D97-AF65-F5344CB8AC3E}">
        <p14:creationId xmlns:p14="http://schemas.microsoft.com/office/powerpoint/2010/main" val="378327753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9DC768-6D1F-4446-A82A-915E7F12670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MY"/>
          </a:p>
        </p:txBody>
      </p:sp>
      <p:sp>
        <p:nvSpPr>
          <p:cNvPr id="3" name="Subtitle 2">
            <a:extLst>
              <a:ext uri="{FF2B5EF4-FFF2-40B4-BE49-F238E27FC236}">
                <a16:creationId xmlns:a16="http://schemas.microsoft.com/office/drawing/2014/main" id="{FA57C6F0-AF7D-4078-8723-462DC812C0F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MY"/>
          </a:p>
        </p:txBody>
      </p:sp>
      <p:sp>
        <p:nvSpPr>
          <p:cNvPr id="4" name="Date Placeholder 3">
            <a:extLst>
              <a:ext uri="{FF2B5EF4-FFF2-40B4-BE49-F238E27FC236}">
                <a16:creationId xmlns:a16="http://schemas.microsoft.com/office/drawing/2014/main" id="{25C3F233-9097-4B6E-8AFC-4B07B09D03AB}"/>
              </a:ext>
            </a:extLst>
          </p:cNvPr>
          <p:cNvSpPr>
            <a:spLocks noGrp="1"/>
          </p:cNvSpPr>
          <p:nvPr>
            <p:ph type="dt" sz="half" idx="10"/>
          </p:nvPr>
        </p:nvSpPr>
        <p:spPr/>
        <p:txBody>
          <a:bodyPr/>
          <a:lstStyle/>
          <a:p>
            <a:fld id="{E152F814-A5A9-4915-BA2C-D498CBB3B7CE}" type="datetimeFigureOut">
              <a:rPr lang="en-MY" smtClean="0"/>
              <a:t>13/1/2023</a:t>
            </a:fld>
            <a:endParaRPr lang="en-MY"/>
          </a:p>
        </p:txBody>
      </p:sp>
      <p:sp>
        <p:nvSpPr>
          <p:cNvPr id="5" name="Footer Placeholder 4">
            <a:extLst>
              <a:ext uri="{FF2B5EF4-FFF2-40B4-BE49-F238E27FC236}">
                <a16:creationId xmlns:a16="http://schemas.microsoft.com/office/drawing/2014/main" id="{03328A83-D439-476E-87B5-0027C8C2C4BE}"/>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90CCAE6C-E368-454A-8D91-82FB8281FAA0}"/>
              </a:ext>
            </a:extLst>
          </p:cNvPr>
          <p:cNvSpPr>
            <a:spLocks noGrp="1"/>
          </p:cNvSpPr>
          <p:nvPr>
            <p:ph type="sldNum" sz="quarter" idx="12"/>
          </p:nvPr>
        </p:nvSpPr>
        <p:spPr/>
        <p:txBody>
          <a:bodyPr/>
          <a:lstStyle/>
          <a:p>
            <a:fld id="{3854563D-E486-48D4-A129-56097E180FBF}" type="slidenum">
              <a:rPr lang="en-MY" smtClean="0"/>
              <a:t>‹#›</a:t>
            </a:fld>
            <a:endParaRPr lang="en-MY"/>
          </a:p>
        </p:txBody>
      </p:sp>
    </p:spTree>
    <p:extLst>
      <p:ext uri="{BB962C8B-B14F-4D97-AF65-F5344CB8AC3E}">
        <p14:creationId xmlns:p14="http://schemas.microsoft.com/office/powerpoint/2010/main" val="163154338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3FD7F76-1C6C-40BE-9B72-9DD5F948F8F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MY"/>
          </a:p>
        </p:txBody>
      </p:sp>
      <p:sp>
        <p:nvSpPr>
          <p:cNvPr id="3" name="Vertical Text Placeholder 2">
            <a:extLst>
              <a:ext uri="{FF2B5EF4-FFF2-40B4-BE49-F238E27FC236}">
                <a16:creationId xmlns:a16="http://schemas.microsoft.com/office/drawing/2014/main" id="{C08B0263-9EA1-4330-BA16-A1D7D96372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a:extLst>
              <a:ext uri="{FF2B5EF4-FFF2-40B4-BE49-F238E27FC236}">
                <a16:creationId xmlns:a16="http://schemas.microsoft.com/office/drawing/2014/main" id="{D2694397-F03A-4190-9C13-0704272692DD}"/>
              </a:ext>
            </a:extLst>
          </p:cNvPr>
          <p:cNvSpPr>
            <a:spLocks noGrp="1"/>
          </p:cNvSpPr>
          <p:nvPr>
            <p:ph type="dt" sz="half" idx="10"/>
          </p:nvPr>
        </p:nvSpPr>
        <p:spPr/>
        <p:txBody>
          <a:bodyPr/>
          <a:lstStyle/>
          <a:p>
            <a:fld id="{E152F814-A5A9-4915-BA2C-D498CBB3B7CE}" type="datetimeFigureOut">
              <a:rPr lang="en-MY" smtClean="0"/>
              <a:t>13/1/2023</a:t>
            </a:fld>
            <a:endParaRPr lang="en-MY"/>
          </a:p>
        </p:txBody>
      </p:sp>
      <p:sp>
        <p:nvSpPr>
          <p:cNvPr id="5" name="Footer Placeholder 4">
            <a:extLst>
              <a:ext uri="{FF2B5EF4-FFF2-40B4-BE49-F238E27FC236}">
                <a16:creationId xmlns:a16="http://schemas.microsoft.com/office/drawing/2014/main" id="{C27F797D-1302-431A-AE0E-4ED7F9BD7D16}"/>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6FE5328F-FDE5-4DF0-B625-C0B33773E19D}"/>
              </a:ext>
            </a:extLst>
          </p:cNvPr>
          <p:cNvSpPr>
            <a:spLocks noGrp="1"/>
          </p:cNvSpPr>
          <p:nvPr>
            <p:ph type="sldNum" sz="quarter" idx="12"/>
          </p:nvPr>
        </p:nvSpPr>
        <p:spPr/>
        <p:txBody>
          <a:bodyPr/>
          <a:lstStyle/>
          <a:p>
            <a:fld id="{3854563D-E486-48D4-A129-56097E180FBF}" type="slidenum">
              <a:rPr lang="en-MY" smtClean="0"/>
              <a:t>‹#›</a:t>
            </a:fld>
            <a:endParaRPr lang="en-MY"/>
          </a:p>
        </p:txBody>
      </p:sp>
    </p:spTree>
    <p:extLst>
      <p:ext uri="{BB962C8B-B14F-4D97-AF65-F5344CB8AC3E}">
        <p14:creationId xmlns:p14="http://schemas.microsoft.com/office/powerpoint/2010/main" val="21870598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11BCF-CF20-4D1B-B836-F816BC86694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MY"/>
          </a:p>
        </p:txBody>
      </p:sp>
      <p:sp>
        <p:nvSpPr>
          <p:cNvPr id="3" name="Subtitle 2">
            <a:extLst>
              <a:ext uri="{FF2B5EF4-FFF2-40B4-BE49-F238E27FC236}">
                <a16:creationId xmlns:a16="http://schemas.microsoft.com/office/drawing/2014/main" id="{4E7CDD04-3233-463C-B13E-E8AB5D4BBD4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MY"/>
          </a:p>
        </p:txBody>
      </p:sp>
      <p:sp>
        <p:nvSpPr>
          <p:cNvPr id="4" name="Date Placeholder 3">
            <a:extLst>
              <a:ext uri="{FF2B5EF4-FFF2-40B4-BE49-F238E27FC236}">
                <a16:creationId xmlns:a16="http://schemas.microsoft.com/office/drawing/2014/main" id="{5A5C8E42-F2C3-4426-9DCC-E7CAD1E0D704}"/>
              </a:ext>
            </a:extLst>
          </p:cNvPr>
          <p:cNvSpPr>
            <a:spLocks noGrp="1"/>
          </p:cNvSpPr>
          <p:nvPr>
            <p:ph type="dt" sz="half" idx="10"/>
          </p:nvPr>
        </p:nvSpPr>
        <p:spPr/>
        <p:txBody>
          <a:bodyPr/>
          <a:lstStyle/>
          <a:p>
            <a:fld id="{7DF1DF14-9231-416D-98D1-D49883AFE354}" type="datetimeFigureOut">
              <a:rPr lang="en-MY" smtClean="0"/>
              <a:t>13/1/2023</a:t>
            </a:fld>
            <a:endParaRPr lang="en-MY"/>
          </a:p>
        </p:txBody>
      </p:sp>
      <p:sp>
        <p:nvSpPr>
          <p:cNvPr id="5" name="Footer Placeholder 4">
            <a:extLst>
              <a:ext uri="{FF2B5EF4-FFF2-40B4-BE49-F238E27FC236}">
                <a16:creationId xmlns:a16="http://schemas.microsoft.com/office/drawing/2014/main" id="{CEE707B4-3A6E-4AF0-A087-39145E44C3EC}"/>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8EE82ED6-CE1A-4A6A-804B-F0F4F2823604}"/>
              </a:ext>
            </a:extLst>
          </p:cNvPr>
          <p:cNvSpPr>
            <a:spLocks noGrp="1"/>
          </p:cNvSpPr>
          <p:nvPr>
            <p:ph type="sldNum" sz="quarter" idx="12"/>
          </p:nvPr>
        </p:nvSpPr>
        <p:spPr/>
        <p:txBody>
          <a:bodyPr/>
          <a:lstStyle/>
          <a:p>
            <a:fld id="{962BD2D0-9020-43F0-9627-4A4BC8FEE218}" type="slidenum">
              <a:rPr lang="en-MY" smtClean="0"/>
              <a:t>‹#›</a:t>
            </a:fld>
            <a:endParaRPr lang="en-MY"/>
          </a:p>
        </p:txBody>
      </p:sp>
    </p:spTree>
    <p:extLst>
      <p:ext uri="{BB962C8B-B14F-4D97-AF65-F5344CB8AC3E}">
        <p14:creationId xmlns:p14="http://schemas.microsoft.com/office/powerpoint/2010/main" val="73496699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C73C2E-199E-4EA4-94A5-A58A7BD3276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MY"/>
          </a:p>
        </p:txBody>
      </p:sp>
      <p:sp>
        <p:nvSpPr>
          <p:cNvPr id="3" name="Subtitle 2">
            <a:extLst>
              <a:ext uri="{FF2B5EF4-FFF2-40B4-BE49-F238E27FC236}">
                <a16:creationId xmlns:a16="http://schemas.microsoft.com/office/drawing/2014/main" id="{8936A243-A9A7-410A-A832-92E03E1920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MY"/>
          </a:p>
        </p:txBody>
      </p:sp>
      <p:sp>
        <p:nvSpPr>
          <p:cNvPr id="4" name="Date Placeholder 3">
            <a:extLst>
              <a:ext uri="{FF2B5EF4-FFF2-40B4-BE49-F238E27FC236}">
                <a16:creationId xmlns:a16="http://schemas.microsoft.com/office/drawing/2014/main" id="{10BF6DB7-4311-40AA-B623-2FA3CC34C91B}"/>
              </a:ext>
            </a:extLst>
          </p:cNvPr>
          <p:cNvSpPr>
            <a:spLocks noGrp="1"/>
          </p:cNvSpPr>
          <p:nvPr>
            <p:ph type="dt" sz="half" idx="10"/>
          </p:nvPr>
        </p:nvSpPr>
        <p:spPr/>
        <p:txBody>
          <a:bodyPr/>
          <a:lstStyle/>
          <a:p>
            <a:fld id="{054A6A80-5264-4848-8CA6-96ED35941B24}" type="datetimeFigureOut">
              <a:rPr lang="en-MY" smtClean="0"/>
              <a:t>13/1/2023</a:t>
            </a:fld>
            <a:endParaRPr lang="en-MY"/>
          </a:p>
        </p:txBody>
      </p:sp>
      <p:sp>
        <p:nvSpPr>
          <p:cNvPr id="5" name="Footer Placeholder 4">
            <a:extLst>
              <a:ext uri="{FF2B5EF4-FFF2-40B4-BE49-F238E27FC236}">
                <a16:creationId xmlns:a16="http://schemas.microsoft.com/office/drawing/2014/main" id="{69612A30-AE37-44B7-8CE2-0D5C00B11726}"/>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C30C0175-731E-41D9-8B64-8ECF06A8EE5D}"/>
              </a:ext>
            </a:extLst>
          </p:cNvPr>
          <p:cNvSpPr>
            <a:spLocks noGrp="1"/>
          </p:cNvSpPr>
          <p:nvPr>
            <p:ph type="sldNum" sz="quarter" idx="12"/>
          </p:nvPr>
        </p:nvSpPr>
        <p:spPr/>
        <p:txBody>
          <a:bodyPr/>
          <a:lstStyle/>
          <a:p>
            <a:fld id="{8F34DD00-9460-4ACA-BCB3-0658FCE44E65}" type="slidenum">
              <a:rPr lang="en-MY" smtClean="0"/>
              <a:t>‹#›</a:t>
            </a:fld>
            <a:endParaRPr lang="en-MY"/>
          </a:p>
        </p:txBody>
      </p:sp>
    </p:spTree>
    <p:extLst>
      <p:ext uri="{BB962C8B-B14F-4D97-AF65-F5344CB8AC3E}">
        <p14:creationId xmlns:p14="http://schemas.microsoft.com/office/powerpoint/2010/main" val="3003766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4DB68-5C1D-464A-8030-450D2A013353}"/>
              </a:ext>
            </a:extLst>
          </p:cNvPr>
          <p:cNvSpPr>
            <a:spLocks noGrp="1"/>
          </p:cNvSpPr>
          <p:nvPr>
            <p:ph type="title"/>
          </p:nvPr>
        </p:nvSpPr>
        <p:spPr/>
        <p:txBody>
          <a:bodyPr/>
          <a:lstStyle/>
          <a:p>
            <a:r>
              <a:rPr lang="en-US"/>
              <a:t>Click to edit Master title style</a:t>
            </a:r>
            <a:endParaRPr lang="en-MY"/>
          </a:p>
        </p:txBody>
      </p:sp>
      <p:sp>
        <p:nvSpPr>
          <p:cNvPr id="3" name="Content Placeholder 2">
            <a:extLst>
              <a:ext uri="{FF2B5EF4-FFF2-40B4-BE49-F238E27FC236}">
                <a16:creationId xmlns:a16="http://schemas.microsoft.com/office/drawing/2014/main" id="{69889D52-E850-470B-9A97-B2DA824716B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a:extLst>
              <a:ext uri="{FF2B5EF4-FFF2-40B4-BE49-F238E27FC236}">
                <a16:creationId xmlns:a16="http://schemas.microsoft.com/office/drawing/2014/main" id="{70BAA30B-E2D5-4BB0-AC86-07B1AB5865B6}"/>
              </a:ext>
            </a:extLst>
          </p:cNvPr>
          <p:cNvSpPr>
            <a:spLocks noGrp="1"/>
          </p:cNvSpPr>
          <p:nvPr>
            <p:ph type="dt" sz="half" idx="10"/>
          </p:nvPr>
        </p:nvSpPr>
        <p:spPr/>
        <p:txBody>
          <a:bodyPr/>
          <a:lstStyle/>
          <a:p>
            <a:fld id="{7DF1DF14-9231-416D-98D1-D49883AFE354}" type="datetimeFigureOut">
              <a:rPr lang="en-MY" smtClean="0"/>
              <a:t>13/1/2023</a:t>
            </a:fld>
            <a:endParaRPr lang="en-MY"/>
          </a:p>
        </p:txBody>
      </p:sp>
      <p:sp>
        <p:nvSpPr>
          <p:cNvPr id="5" name="Footer Placeholder 4">
            <a:extLst>
              <a:ext uri="{FF2B5EF4-FFF2-40B4-BE49-F238E27FC236}">
                <a16:creationId xmlns:a16="http://schemas.microsoft.com/office/drawing/2014/main" id="{5B6788A8-5B47-4078-B0B7-A33985412413}"/>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A71892EE-914B-4281-8950-C115B0A0A404}"/>
              </a:ext>
            </a:extLst>
          </p:cNvPr>
          <p:cNvSpPr>
            <a:spLocks noGrp="1"/>
          </p:cNvSpPr>
          <p:nvPr>
            <p:ph type="sldNum" sz="quarter" idx="12"/>
          </p:nvPr>
        </p:nvSpPr>
        <p:spPr/>
        <p:txBody>
          <a:bodyPr/>
          <a:lstStyle/>
          <a:p>
            <a:fld id="{962BD2D0-9020-43F0-9627-4A4BC8FEE218}" type="slidenum">
              <a:rPr lang="en-MY" smtClean="0"/>
              <a:t>‹#›</a:t>
            </a:fld>
            <a:endParaRPr lang="en-MY"/>
          </a:p>
        </p:txBody>
      </p:sp>
    </p:spTree>
    <p:extLst>
      <p:ext uri="{BB962C8B-B14F-4D97-AF65-F5344CB8AC3E}">
        <p14:creationId xmlns:p14="http://schemas.microsoft.com/office/powerpoint/2010/main" val="74109329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AEF1E-557E-4C13-8D77-828D017AD308}"/>
              </a:ext>
            </a:extLst>
          </p:cNvPr>
          <p:cNvSpPr>
            <a:spLocks noGrp="1"/>
          </p:cNvSpPr>
          <p:nvPr>
            <p:ph type="title"/>
          </p:nvPr>
        </p:nvSpPr>
        <p:spPr/>
        <p:txBody>
          <a:bodyPr/>
          <a:lstStyle/>
          <a:p>
            <a:r>
              <a:rPr lang="en-US"/>
              <a:t>Click to edit Master title style</a:t>
            </a:r>
            <a:endParaRPr lang="en-MY"/>
          </a:p>
        </p:txBody>
      </p:sp>
      <p:sp>
        <p:nvSpPr>
          <p:cNvPr id="3" name="Content Placeholder 2">
            <a:extLst>
              <a:ext uri="{FF2B5EF4-FFF2-40B4-BE49-F238E27FC236}">
                <a16:creationId xmlns:a16="http://schemas.microsoft.com/office/drawing/2014/main" id="{FAEC41CF-84A9-4A57-AB4E-9EE8EABD279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a:extLst>
              <a:ext uri="{FF2B5EF4-FFF2-40B4-BE49-F238E27FC236}">
                <a16:creationId xmlns:a16="http://schemas.microsoft.com/office/drawing/2014/main" id="{CDD23F07-5001-47A1-AC0A-322C8DEE6605}"/>
              </a:ext>
            </a:extLst>
          </p:cNvPr>
          <p:cNvSpPr>
            <a:spLocks noGrp="1"/>
          </p:cNvSpPr>
          <p:nvPr>
            <p:ph type="dt" sz="half" idx="10"/>
          </p:nvPr>
        </p:nvSpPr>
        <p:spPr/>
        <p:txBody>
          <a:bodyPr/>
          <a:lstStyle/>
          <a:p>
            <a:fld id="{054A6A80-5264-4848-8CA6-96ED35941B24}" type="datetimeFigureOut">
              <a:rPr lang="en-MY" smtClean="0"/>
              <a:t>13/1/2023</a:t>
            </a:fld>
            <a:endParaRPr lang="en-MY"/>
          </a:p>
        </p:txBody>
      </p:sp>
      <p:sp>
        <p:nvSpPr>
          <p:cNvPr id="5" name="Footer Placeholder 4">
            <a:extLst>
              <a:ext uri="{FF2B5EF4-FFF2-40B4-BE49-F238E27FC236}">
                <a16:creationId xmlns:a16="http://schemas.microsoft.com/office/drawing/2014/main" id="{1636335B-36FA-4D73-A1F5-9AB0C5F0C36D}"/>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B8916342-1C02-438F-B2F2-5D5DCFC6DE3A}"/>
              </a:ext>
            </a:extLst>
          </p:cNvPr>
          <p:cNvSpPr>
            <a:spLocks noGrp="1"/>
          </p:cNvSpPr>
          <p:nvPr>
            <p:ph type="sldNum" sz="quarter" idx="12"/>
          </p:nvPr>
        </p:nvSpPr>
        <p:spPr/>
        <p:txBody>
          <a:bodyPr/>
          <a:lstStyle/>
          <a:p>
            <a:fld id="{8F34DD00-9460-4ACA-BCB3-0658FCE44E65}" type="slidenum">
              <a:rPr lang="en-MY" smtClean="0"/>
              <a:t>‹#›</a:t>
            </a:fld>
            <a:endParaRPr lang="en-MY"/>
          </a:p>
        </p:txBody>
      </p:sp>
    </p:spTree>
    <p:extLst>
      <p:ext uri="{BB962C8B-B14F-4D97-AF65-F5344CB8AC3E}">
        <p14:creationId xmlns:p14="http://schemas.microsoft.com/office/powerpoint/2010/main" val="1465123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E1488-5E26-42C4-BC4B-5F822F40874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MY"/>
          </a:p>
        </p:txBody>
      </p:sp>
      <p:sp>
        <p:nvSpPr>
          <p:cNvPr id="3" name="Text Placeholder 2">
            <a:extLst>
              <a:ext uri="{FF2B5EF4-FFF2-40B4-BE49-F238E27FC236}">
                <a16:creationId xmlns:a16="http://schemas.microsoft.com/office/drawing/2014/main" id="{3825C3B2-D2F3-403E-ABB0-82E5A303973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F9E835F-6A39-4A1D-9750-FC514F3D2BE6}"/>
              </a:ext>
            </a:extLst>
          </p:cNvPr>
          <p:cNvSpPr>
            <a:spLocks noGrp="1"/>
          </p:cNvSpPr>
          <p:nvPr>
            <p:ph type="dt" sz="half" idx="10"/>
          </p:nvPr>
        </p:nvSpPr>
        <p:spPr/>
        <p:txBody>
          <a:bodyPr/>
          <a:lstStyle/>
          <a:p>
            <a:fld id="{7DF1DF14-9231-416D-98D1-D49883AFE354}" type="datetimeFigureOut">
              <a:rPr lang="en-MY" smtClean="0"/>
              <a:t>13/1/2023</a:t>
            </a:fld>
            <a:endParaRPr lang="en-MY"/>
          </a:p>
        </p:txBody>
      </p:sp>
      <p:sp>
        <p:nvSpPr>
          <p:cNvPr id="5" name="Footer Placeholder 4">
            <a:extLst>
              <a:ext uri="{FF2B5EF4-FFF2-40B4-BE49-F238E27FC236}">
                <a16:creationId xmlns:a16="http://schemas.microsoft.com/office/drawing/2014/main" id="{C6EAB827-8555-4BDD-990E-95E884911605}"/>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A18010DF-A0A9-45F1-AC5F-3A32423E5715}"/>
              </a:ext>
            </a:extLst>
          </p:cNvPr>
          <p:cNvSpPr>
            <a:spLocks noGrp="1"/>
          </p:cNvSpPr>
          <p:nvPr>
            <p:ph type="sldNum" sz="quarter" idx="12"/>
          </p:nvPr>
        </p:nvSpPr>
        <p:spPr/>
        <p:txBody>
          <a:bodyPr/>
          <a:lstStyle/>
          <a:p>
            <a:fld id="{962BD2D0-9020-43F0-9627-4A4BC8FEE218}" type="slidenum">
              <a:rPr lang="en-MY" smtClean="0"/>
              <a:t>‹#›</a:t>
            </a:fld>
            <a:endParaRPr lang="en-MY"/>
          </a:p>
        </p:txBody>
      </p:sp>
    </p:spTree>
    <p:extLst>
      <p:ext uri="{BB962C8B-B14F-4D97-AF65-F5344CB8AC3E}">
        <p14:creationId xmlns:p14="http://schemas.microsoft.com/office/powerpoint/2010/main" val="141430644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9FA981-ED08-421B-AAB8-26FBEF9C414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MY"/>
          </a:p>
        </p:txBody>
      </p:sp>
      <p:sp>
        <p:nvSpPr>
          <p:cNvPr id="3" name="Text Placeholder 2">
            <a:extLst>
              <a:ext uri="{FF2B5EF4-FFF2-40B4-BE49-F238E27FC236}">
                <a16:creationId xmlns:a16="http://schemas.microsoft.com/office/drawing/2014/main" id="{28F989E2-BFCA-4FE8-B177-49CEA17B78F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3C46C0-F436-46FE-B097-9436CC2E357C}"/>
              </a:ext>
            </a:extLst>
          </p:cNvPr>
          <p:cNvSpPr>
            <a:spLocks noGrp="1"/>
          </p:cNvSpPr>
          <p:nvPr>
            <p:ph type="dt" sz="half" idx="10"/>
          </p:nvPr>
        </p:nvSpPr>
        <p:spPr/>
        <p:txBody>
          <a:bodyPr/>
          <a:lstStyle/>
          <a:p>
            <a:fld id="{054A6A80-5264-4848-8CA6-96ED35941B24}" type="datetimeFigureOut">
              <a:rPr lang="en-MY" smtClean="0"/>
              <a:t>13/1/2023</a:t>
            </a:fld>
            <a:endParaRPr lang="en-MY"/>
          </a:p>
        </p:txBody>
      </p:sp>
      <p:sp>
        <p:nvSpPr>
          <p:cNvPr id="5" name="Footer Placeholder 4">
            <a:extLst>
              <a:ext uri="{FF2B5EF4-FFF2-40B4-BE49-F238E27FC236}">
                <a16:creationId xmlns:a16="http://schemas.microsoft.com/office/drawing/2014/main" id="{6A0ACED8-6FE0-4941-B70F-6815EE5F1FAC}"/>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EE2A5E55-13F1-464C-AD54-E1AD21D6DD30}"/>
              </a:ext>
            </a:extLst>
          </p:cNvPr>
          <p:cNvSpPr>
            <a:spLocks noGrp="1"/>
          </p:cNvSpPr>
          <p:nvPr>
            <p:ph type="sldNum" sz="quarter" idx="12"/>
          </p:nvPr>
        </p:nvSpPr>
        <p:spPr/>
        <p:txBody>
          <a:bodyPr/>
          <a:lstStyle/>
          <a:p>
            <a:fld id="{8F34DD00-9460-4ACA-BCB3-0658FCE44E65}" type="slidenum">
              <a:rPr lang="en-MY" smtClean="0"/>
              <a:t>‹#›</a:t>
            </a:fld>
            <a:endParaRPr lang="en-MY"/>
          </a:p>
        </p:txBody>
      </p:sp>
    </p:spTree>
    <p:extLst>
      <p:ext uri="{BB962C8B-B14F-4D97-AF65-F5344CB8AC3E}">
        <p14:creationId xmlns:p14="http://schemas.microsoft.com/office/powerpoint/2010/main" val="16629460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DE37C-26EE-4948-9A20-3DBAE703C578}"/>
              </a:ext>
            </a:extLst>
          </p:cNvPr>
          <p:cNvSpPr>
            <a:spLocks noGrp="1"/>
          </p:cNvSpPr>
          <p:nvPr>
            <p:ph type="title"/>
          </p:nvPr>
        </p:nvSpPr>
        <p:spPr/>
        <p:txBody>
          <a:bodyPr/>
          <a:lstStyle/>
          <a:p>
            <a:r>
              <a:rPr lang="en-US"/>
              <a:t>Click to edit Master title style</a:t>
            </a:r>
            <a:endParaRPr lang="en-MY"/>
          </a:p>
        </p:txBody>
      </p:sp>
      <p:sp>
        <p:nvSpPr>
          <p:cNvPr id="3" name="Content Placeholder 2">
            <a:extLst>
              <a:ext uri="{FF2B5EF4-FFF2-40B4-BE49-F238E27FC236}">
                <a16:creationId xmlns:a16="http://schemas.microsoft.com/office/drawing/2014/main" id="{15190919-10DA-4C94-94A2-B626FEF14EA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Content Placeholder 3">
            <a:extLst>
              <a:ext uri="{FF2B5EF4-FFF2-40B4-BE49-F238E27FC236}">
                <a16:creationId xmlns:a16="http://schemas.microsoft.com/office/drawing/2014/main" id="{8DFEBF1E-2D84-45DF-B5BB-0E2763603C1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5" name="Date Placeholder 4">
            <a:extLst>
              <a:ext uri="{FF2B5EF4-FFF2-40B4-BE49-F238E27FC236}">
                <a16:creationId xmlns:a16="http://schemas.microsoft.com/office/drawing/2014/main" id="{EC92D782-8146-4E42-B2D0-C95B22ADCEDF}"/>
              </a:ext>
            </a:extLst>
          </p:cNvPr>
          <p:cNvSpPr>
            <a:spLocks noGrp="1"/>
          </p:cNvSpPr>
          <p:nvPr>
            <p:ph type="dt" sz="half" idx="10"/>
          </p:nvPr>
        </p:nvSpPr>
        <p:spPr/>
        <p:txBody>
          <a:bodyPr/>
          <a:lstStyle/>
          <a:p>
            <a:fld id="{7DF1DF14-9231-416D-98D1-D49883AFE354}" type="datetimeFigureOut">
              <a:rPr lang="en-MY" smtClean="0"/>
              <a:t>13/1/2023</a:t>
            </a:fld>
            <a:endParaRPr lang="en-MY"/>
          </a:p>
        </p:txBody>
      </p:sp>
      <p:sp>
        <p:nvSpPr>
          <p:cNvPr id="6" name="Footer Placeholder 5">
            <a:extLst>
              <a:ext uri="{FF2B5EF4-FFF2-40B4-BE49-F238E27FC236}">
                <a16:creationId xmlns:a16="http://schemas.microsoft.com/office/drawing/2014/main" id="{33802B87-75C3-40CC-8AD2-BBC81CF793E8}"/>
              </a:ext>
            </a:extLst>
          </p:cNvPr>
          <p:cNvSpPr>
            <a:spLocks noGrp="1"/>
          </p:cNvSpPr>
          <p:nvPr>
            <p:ph type="ftr" sz="quarter" idx="11"/>
          </p:nvPr>
        </p:nvSpPr>
        <p:spPr/>
        <p:txBody>
          <a:bodyPr/>
          <a:lstStyle/>
          <a:p>
            <a:endParaRPr lang="en-MY"/>
          </a:p>
        </p:txBody>
      </p:sp>
      <p:sp>
        <p:nvSpPr>
          <p:cNvPr id="7" name="Slide Number Placeholder 6">
            <a:extLst>
              <a:ext uri="{FF2B5EF4-FFF2-40B4-BE49-F238E27FC236}">
                <a16:creationId xmlns:a16="http://schemas.microsoft.com/office/drawing/2014/main" id="{C8C53218-6FEF-4586-A3EA-5FC35C86F1D5}"/>
              </a:ext>
            </a:extLst>
          </p:cNvPr>
          <p:cNvSpPr>
            <a:spLocks noGrp="1"/>
          </p:cNvSpPr>
          <p:nvPr>
            <p:ph type="sldNum" sz="quarter" idx="12"/>
          </p:nvPr>
        </p:nvSpPr>
        <p:spPr/>
        <p:txBody>
          <a:bodyPr/>
          <a:lstStyle/>
          <a:p>
            <a:fld id="{962BD2D0-9020-43F0-9627-4A4BC8FEE218}" type="slidenum">
              <a:rPr lang="en-MY" smtClean="0"/>
              <a:t>‹#›</a:t>
            </a:fld>
            <a:endParaRPr lang="en-MY"/>
          </a:p>
        </p:txBody>
      </p:sp>
    </p:spTree>
    <p:extLst>
      <p:ext uri="{BB962C8B-B14F-4D97-AF65-F5344CB8AC3E}">
        <p14:creationId xmlns:p14="http://schemas.microsoft.com/office/powerpoint/2010/main" val="345576556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8F2559-1FC0-4478-B791-F8B30966F585}"/>
              </a:ext>
            </a:extLst>
          </p:cNvPr>
          <p:cNvSpPr>
            <a:spLocks noGrp="1"/>
          </p:cNvSpPr>
          <p:nvPr>
            <p:ph type="title"/>
          </p:nvPr>
        </p:nvSpPr>
        <p:spPr/>
        <p:txBody>
          <a:bodyPr/>
          <a:lstStyle/>
          <a:p>
            <a:r>
              <a:rPr lang="en-US"/>
              <a:t>Click to edit Master title style</a:t>
            </a:r>
            <a:endParaRPr lang="en-MY"/>
          </a:p>
        </p:txBody>
      </p:sp>
      <p:sp>
        <p:nvSpPr>
          <p:cNvPr id="3" name="Content Placeholder 2">
            <a:extLst>
              <a:ext uri="{FF2B5EF4-FFF2-40B4-BE49-F238E27FC236}">
                <a16:creationId xmlns:a16="http://schemas.microsoft.com/office/drawing/2014/main" id="{9D5A43C5-C13D-4553-8702-38394D452F3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Content Placeholder 3">
            <a:extLst>
              <a:ext uri="{FF2B5EF4-FFF2-40B4-BE49-F238E27FC236}">
                <a16:creationId xmlns:a16="http://schemas.microsoft.com/office/drawing/2014/main" id="{64F0F270-56B2-4792-B38A-E6A4D7455BB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5" name="Date Placeholder 4">
            <a:extLst>
              <a:ext uri="{FF2B5EF4-FFF2-40B4-BE49-F238E27FC236}">
                <a16:creationId xmlns:a16="http://schemas.microsoft.com/office/drawing/2014/main" id="{BDFD8C7E-E300-403D-849B-1B521DACBD61}"/>
              </a:ext>
            </a:extLst>
          </p:cNvPr>
          <p:cNvSpPr>
            <a:spLocks noGrp="1"/>
          </p:cNvSpPr>
          <p:nvPr>
            <p:ph type="dt" sz="half" idx="10"/>
          </p:nvPr>
        </p:nvSpPr>
        <p:spPr/>
        <p:txBody>
          <a:bodyPr/>
          <a:lstStyle/>
          <a:p>
            <a:fld id="{054A6A80-5264-4848-8CA6-96ED35941B24}" type="datetimeFigureOut">
              <a:rPr lang="en-MY" smtClean="0"/>
              <a:t>13/1/2023</a:t>
            </a:fld>
            <a:endParaRPr lang="en-MY"/>
          </a:p>
        </p:txBody>
      </p:sp>
      <p:sp>
        <p:nvSpPr>
          <p:cNvPr id="6" name="Footer Placeholder 5">
            <a:extLst>
              <a:ext uri="{FF2B5EF4-FFF2-40B4-BE49-F238E27FC236}">
                <a16:creationId xmlns:a16="http://schemas.microsoft.com/office/drawing/2014/main" id="{D5E12228-E708-4973-9027-A6272BE5F4D5}"/>
              </a:ext>
            </a:extLst>
          </p:cNvPr>
          <p:cNvSpPr>
            <a:spLocks noGrp="1"/>
          </p:cNvSpPr>
          <p:nvPr>
            <p:ph type="ftr" sz="quarter" idx="11"/>
          </p:nvPr>
        </p:nvSpPr>
        <p:spPr/>
        <p:txBody>
          <a:bodyPr/>
          <a:lstStyle/>
          <a:p>
            <a:endParaRPr lang="en-MY"/>
          </a:p>
        </p:txBody>
      </p:sp>
      <p:sp>
        <p:nvSpPr>
          <p:cNvPr id="7" name="Slide Number Placeholder 6">
            <a:extLst>
              <a:ext uri="{FF2B5EF4-FFF2-40B4-BE49-F238E27FC236}">
                <a16:creationId xmlns:a16="http://schemas.microsoft.com/office/drawing/2014/main" id="{E7D27007-A7EE-4C2A-A3BC-0098423520A4}"/>
              </a:ext>
            </a:extLst>
          </p:cNvPr>
          <p:cNvSpPr>
            <a:spLocks noGrp="1"/>
          </p:cNvSpPr>
          <p:nvPr>
            <p:ph type="sldNum" sz="quarter" idx="12"/>
          </p:nvPr>
        </p:nvSpPr>
        <p:spPr/>
        <p:txBody>
          <a:bodyPr/>
          <a:lstStyle/>
          <a:p>
            <a:fld id="{8F34DD00-9460-4ACA-BCB3-0658FCE44E65}" type="slidenum">
              <a:rPr lang="en-MY" smtClean="0"/>
              <a:t>‹#›</a:t>
            </a:fld>
            <a:endParaRPr lang="en-MY"/>
          </a:p>
        </p:txBody>
      </p:sp>
    </p:spTree>
    <p:extLst>
      <p:ext uri="{BB962C8B-B14F-4D97-AF65-F5344CB8AC3E}">
        <p14:creationId xmlns:p14="http://schemas.microsoft.com/office/powerpoint/2010/main" val="7671764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CE19BF-672D-49E2-BD11-AB01AB619A10}"/>
              </a:ext>
            </a:extLst>
          </p:cNvPr>
          <p:cNvSpPr>
            <a:spLocks noGrp="1"/>
          </p:cNvSpPr>
          <p:nvPr>
            <p:ph type="title"/>
          </p:nvPr>
        </p:nvSpPr>
        <p:spPr>
          <a:xfrm>
            <a:off x="839788" y="365125"/>
            <a:ext cx="10515600" cy="1325563"/>
          </a:xfrm>
        </p:spPr>
        <p:txBody>
          <a:bodyPr/>
          <a:lstStyle/>
          <a:p>
            <a:r>
              <a:rPr lang="en-US"/>
              <a:t>Click to edit Master title style</a:t>
            </a:r>
            <a:endParaRPr lang="en-MY"/>
          </a:p>
        </p:txBody>
      </p:sp>
      <p:sp>
        <p:nvSpPr>
          <p:cNvPr id="3" name="Text Placeholder 2">
            <a:extLst>
              <a:ext uri="{FF2B5EF4-FFF2-40B4-BE49-F238E27FC236}">
                <a16:creationId xmlns:a16="http://schemas.microsoft.com/office/drawing/2014/main" id="{854FD5B9-D05F-4A08-BAE6-A4DE6E408C8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59370FC-6C58-4736-92B1-69078596426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5" name="Text Placeholder 4">
            <a:extLst>
              <a:ext uri="{FF2B5EF4-FFF2-40B4-BE49-F238E27FC236}">
                <a16:creationId xmlns:a16="http://schemas.microsoft.com/office/drawing/2014/main" id="{E0301063-BF7B-46CC-9065-8A93179F67C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9038F0A-F643-4348-BA1A-F9DC589FF63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7" name="Date Placeholder 6">
            <a:extLst>
              <a:ext uri="{FF2B5EF4-FFF2-40B4-BE49-F238E27FC236}">
                <a16:creationId xmlns:a16="http://schemas.microsoft.com/office/drawing/2014/main" id="{6A961EC9-0AF1-4120-B309-01722E9F26F9}"/>
              </a:ext>
            </a:extLst>
          </p:cNvPr>
          <p:cNvSpPr>
            <a:spLocks noGrp="1"/>
          </p:cNvSpPr>
          <p:nvPr>
            <p:ph type="dt" sz="half" idx="10"/>
          </p:nvPr>
        </p:nvSpPr>
        <p:spPr/>
        <p:txBody>
          <a:bodyPr/>
          <a:lstStyle/>
          <a:p>
            <a:fld id="{7DF1DF14-9231-416D-98D1-D49883AFE354}" type="datetimeFigureOut">
              <a:rPr lang="en-MY" smtClean="0"/>
              <a:t>13/1/2023</a:t>
            </a:fld>
            <a:endParaRPr lang="en-MY"/>
          </a:p>
        </p:txBody>
      </p:sp>
      <p:sp>
        <p:nvSpPr>
          <p:cNvPr id="8" name="Footer Placeholder 7">
            <a:extLst>
              <a:ext uri="{FF2B5EF4-FFF2-40B4-BE49-F238E27FC236}">
                <a16:creationId xmlns:a16="http://schemas.microsoft.com/office/drawing/2014/main" id="{5AA8E9E2-7917-481D-A447-AE413CCAD640}"/>
              </a:ext>
            </a:extLst>
          </p:cNvPr>
          <p:cNvSpPr>
            <a:spLocks noGrp="1"/>
          </p:cNvSpPr>
          <p:nvPr>
            <p:ph type="ftr" sz="quarter" idx="11"/>
          </p:nvPr>
        </p:nvSpPr>
        <p:spPr/>
        <p:txBody>
          <a:bodyPr/>
          <a:lstStyle/>
          <a:p>
            <a:endParaRPr lang="en-MY"/>
          </a:p>
        </p:txBody>
      </p:sp>
      <p:sp>
        <p:nvSpPr>
          <p:cNvPr id="9" name="Slide Number Placeholder 8">
            <a:extLst>
              <a:ext uri="{FF2B5EF4-FFF2-40B4-BE49-F238E27FC236}">
                <a16:creationId xmlns:a16="http://schemas.microsoft.com/office/drawing/2014/main" id="{78136335-B642-4955-B643-CFEBA598E956}"/>
              </a:ext>
            </a:extLst>
          </p:cNvPr>
          <p:cNvSpPr>
            <a:spLocks noGrp="1"/>
          </p:cNvSpPr>
          <p:nvPr>
            <p:ph type="sldNum" sz="quarter" idx="12"/>
          </p:nvPr>
        </p:nvSpPr>
        <p:spPr/>
        <p:txBody>
          <a:bodyPr/>
          <a:lstStyle/>
          <a:p>
            <a:fld id="{962BD2D0-9020-43F0-9627-4A4BC8FEE218}" type="slidenum">
              <a:rPr lang="en-MY" smtClean="0"/>
              <a:t>‹#›</a:t>
            </a:fld>
            <a:endParaRPr lang="en-MY"/>
          </a:p>
        </p:txBody>
      </p:sp>
    </p:spTree>
    <p:extLst>
      <p:ext uri="{BB962C8B-B14F-4D97-AF65-F5344CB8AC3E}">
        <p14:creationId xmlns:p14="http://schemas.microsoft.com/office/powerpoint/2010/main" val="142257833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8EB59-6DDF-4E79-B9F7-E7B4A671578E}"/>
              </a:ext>
            </a:extLst>
          </p:cNvPr>
          <p:cNvSpPr>
            <a:spLocks noGrp="1"/>
          </p:cNvSpPr>
          <p:nvPr>
            <p:ph type="title"/>
          </p:nvPr>
        </p:nvSpPr>
        <p:spPr>
          <a:xfrm>
            <a:off x="839788" y="365125"/>
            <a:ext cx="10515600" cy="1325563"/>
          </a:xfrm>
        </p:spPr>
        <p:txBody>
          <a:bodyPr/>
          <a:lstStyle/>
          <a:p>
            <a:r>
              <a:rPr lang="en-US"/>
              <a:t>Click to edit Master title style</a:t>
            </a:r>
            <a:endParaRPr lang="en-MY"/>
          </a:p>
        </p:txBody>
      </p:sp>
      <p:sp>
        <p:nvSpPr>
          <p:cNvPr id="3" name="Text Placeholder 2">
            <a:extLst>
              <a:ext uri="{FF2B5EF4-FFF2-40B4-BE49-F238E27FC236}">
                <a16:creationId xmlns:a16="http://schemas.microsoft.com/office/drawing/2014/main" id="{5BC0A46A-142C-432D-B0DE-90F856F6232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B990928-9EDE-4E2B-B13C-F5EFAEC7A80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5" name="Text Placeholder 4">
            <a:extLst>
              <a:ext uri="{FF2B5EF4-FFF2-40B4-BE49-F238E27FC236}">
                <a16:creationId xmlns:a16="http://schemas.microsoft.com/office/drawing/2014/main" id="{5551A3F2-992B-42F0-B8E0-2AC3ED89FC6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4649F11-E319-475A-A325-171B2BE2FE3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7" name="Date Placeholder 6">
            <a:extLst>
              <a:ext uri="{FF2B5EF4-FFF2-40B4-BE49-F238E27FC236}">
                <a16:creationId xmlns:a16="http://schemas.microsoft.com/office/drawing/2014/main" id="{DACAA7D1-5AF1-461D-A60C-8BC00588633F}"/>
              </a:ext>
            </a:extLst>
          </p:cNvPr>
          <p:cNvSpPr>
            <a:spLocks noGrp="1"/>
          </p:cNvSpPr>
          <p:nvPr>
            <p:ph type="dt" sz="half" idx="10"/>
          </p:nvPr>
        </p:nvSpPr>
        <p:spPr/>
        <p:txBody>
          <a:bodyPr/>
          <a:lstStyle/>
          <a:p>
            <a:fld id="{054A6A80-5264-4848-8CA6-96ED35941B24}" type="datetimeFigureOut">
              <a:rPr lang="en-MY" smtClean="0"/>
              <a:t>13/1/2023</a:t>
            </a:fld>
            <a:endParaRPr lang="en-MY"/>
          </a:p>
        </p:txBody>
      </p:sp>
      <p:sp>
        <p:nvSpPr>
          <p:cNvPr id="8" name="Footer Placeholder 7">
            <a:extLst>
              <a:ext uri="{FF2B5EF4-FFF2-40B4-BE49-F238E27FC236}">
                <a16:creationId xmlns:a16="http://schemas.microsoft.com/office/drawing/2014/main" id="{D90AB90B-D2FB-4CF1-A849-BFB51CFDC9C5}"/>
              </a:ext>
            </a:extLst>
          </p:cNvPr>
          <p:cNvSpPr>
            <a:spLocks noGrp="1"/>
          </p:cNvSpPr>
          <p:nvPr>
            <p:ph type="ftr" sz="quarter" idx="11"/>
          </p:nvPr>
        </p:nvSpPr>
        <p:spPr/>
        <p:txBody>
          <a:bodyPr/>
          <a:lstStyle/>
          <a:p>
            <a:endParaRPr lang="en-MY"/>
          </a:p>
        </p:txBody>
      </p:sp>
      <p:sp>
        <p:nvSpPr>
          <p:cNvPr id="9" name="Slide Number Placeholder 8">
            <a:extLst>
              <a:ext uri="{FF2B5EF4-FFF2-40B4-BE49-F238E27FC236}">
                <a16:creationId xmlns:a16="http://schemas.microsoft.com/office/drawing/2014/main" id="{08AA267B-77BA-4925-9F4D-E32A48422FE5}"/>
              </a:ext>
            </a:extLst>
          </p:cNvPr>
          <p:cNvSpPr>
            <a:spLocks noGrp="1"/>
          </p:cNvSpPr>
          <p:nvPr>
            <p:ph type="sldNum" sz="quarter" idx="12"/>
          </p:nvPr>
        </p:nvSpPr>
        <p:spPr/>
        <p:txBody>
          <a:bodyPr/>
          <a:lstStyle/>
          <a:p>
            <a:fld id="{8F34DD00-9460-4ACA-BCB3-0658FCE44E65}" type="slidenum">
              <a:rPr lang="en-MY" smtClean="0"/>
              <a:t>‹#›</a:t>
            </a:fld>
            <a:endParaRPr lang="en-MY"/>
          </a:p>
        </p:txBody>
      </p:sp>
    </p:spTree>
    <p:extLst>
      <p:ext uri="{BB962C8B-B14F-4D97-AF65-F5344CB8AC3E}">
        <p14:creationId xmlns:p14="http://schemas.microsoft.com/office/powerpoint/2010/main" val="24184491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80896-8DE4-4E01-A5B4-177A2C03CD5D}"/>
              </a:ext>
            </a:extLst>
          </p:cNvPr>
          <p:cNvSpPr>
            <a:spLocks noGrp="1"/>
          </p:cNvSpPr>
          <p:nvPr>
            <p:ph type="title"/>
          </p:nvPr>
        </p:nvSpPr>
        <p:spPr/>
        <p:txBody>
          <a:bodyPr/>
          <a:lstStyle/>
          <a:p>
            <a:r>
              <a:rPr lang="en-US"/>
              <a:t>Click to edit Master title style</a:t>
            </a:r>
            <a:endParaRPr lang="en-MY"/>
          </a:p>
        </p:txBody>
      </p:sp>
      <p:sp>
        <p:nvSpPr>
          <p:cNvPr id="3" name="Date Placeholder 2">
            <a:extLst>
              <a:ext uri="{FF2B5EF4-FFF2-40B4-BE49-F238E27FC236}">
                <a16:creationId xmlns:a16="http://schemas.microsoft.com/office/drawing/2014/main" id="{3B8FAF4A-38D4-466A-9850-772471E8912D}"/>
              </a:ext>
            </a:extLst>
          </p:cNvPr>
          <p:cNvSpPr>
            <a:spLocks noGrp="1"/>
          </p:cNvSpPr>
          <p:nvPr>
            <p:ph type="dt" sz="half" idx="10"/>
          </p:nvPr>
        </p:nvSpPr>
        <p:spPr/>
        <p:txBody>
          <a:bodyPr/>
          <a:lstStyle/>
          <a:p>
            <a:fld id="{7DF1DF14-9231-416D-98D1-D49883AFE354}" type="datetimeFigureOut">
              <a:rPr lang="en-MY" smtClean="0"/>
              <a:t>13/1/2023</a:t>
            </a:fld>
            <a:endParaRPr lang="en-MY"/>
          </a:p>
        </p:txBody>
      </p:sp>
      <p:sp>
        <p:nvSpPr>
          <p:cNvPr id="4" name="Footer Placeholder 3">
            <a:extLst>
              <a:ext uri="{FF2B5EF4-FFF2-40B4-BE49-F238E27FC236}">
                <a16:creationId xmlns:a16="http://schemas.microsoft.com/office/drawing/2014/main" id="{D442A347-D8E0-4A50-ACC8-E2EBD2FF070A}"/>
              </a:ext>
            </a:extLst>
          </p:cNvPr>
          <p:cNvSpPr>
            <a:spLocks noGrp="1"/>
          </p:cNvSpPr>
          <p:nvPr>
            <p:ph type="ftr" sz="quarter" idx="11"/>
          </p:nvPr>
        </p:nvSpPr>
        <p:spPr/>
        <p:txBody>
          <a:bodyPr/>
          <a:lstStyle/>
          <a:p>
            <a:endParaRPr lang="en-MY"/>
          </a:p>
        </p:txBody>
      </p:sp>
      <p:sp>
        <p:nvSpPr>
          <p:cNvPr id="5" name="Slide Number Placeholder 4">
            <a:extLst>
              <a:ext uri="{FF2B5EF4-FFF2-40B4-BE49-F238E27FC236}">
                <a16:creationId xmlns:a16="http://schemas.microsoft.com/office/drawing/2014/main" id="{CF9BC48C-471D-4938-9E10-BD92103B919F}"/>
              </a:ext>
            </a:extLst>
          </p:cNvPr>
          <p:cNvSpPr>
            <a:spLocks noGrp="1"/>
          </p:cNvSpPr>
          <p:nvPr>
            <p:ph type="sldNum" sz="quarter" idx="12"/>
          </p:nvPr>
        </p:nvSpPr>
        <p:spPr/>
        <p:txBody>
          <a:bodyPr/>
          <a:lstStyle/>
          <a:p>
            <a:fld id="{962BD2D0-9020-43F0-9627-4A4BC8FEE218}" type="slidenum">
              <a:rPr lang="en-MY" smtClean="0"/>
              <a:t>‹#›</a:t>
            </a:fld>
            <a:endParaRPr lang="en-MY"/>
          </a:p>
        </p:txBody>
      </p:sp>
    </p:spTree>
    <p:extLst>
      <p:ext uri="{BB962C8B-B14F-4D97-AF65-F5344CB8AC3E}">
        <p14:creationId xmlns:p14="http://schemas.microsoft.com/office/powerpoint/2010/main" val="284680735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5D20E-472A-4ABE-A8ED-AC7E84E3535D}"/>
              </a:ext>
            </a:extLst>
          </p:cNvPr>
          <p:cNvSpPr>
            <a:spLocks noGrp="1"/>
          </p:cNvSpPr>
          <p:nvPr>
            <p:ph type="title"/>
          </p:nvPr>
        </p:nvSpPr>
        <p:spPr/>
        <p:txBody>
          <a:bodyPr/>
          <a:lstStyle/>
          <a:p>
            <a:r>
              <a:rPr lang="en-US"/>
              <a:t>Click to edit Master title style</a:t>
            </a:r>
            <a:endParaRPr lang="en-MY"/>
          </a:p>
        </p:txBody>
      </p:sp>
      <p:sp>
        <p:nvSpPr>
          <p:cNvPr id="3" name="Date Placeholder 2">
            <a:extLst>
              <a:ext uri="{FF2B5EF4-FFF2-40B4-BE49-F238E27FC236}">
                <a16:creationId xmlns:a16="http://schemas.microsoft.com/office/drawing/2014/main" id="{83EFB7F0-F3AF-47F4-861D-8546C1E90935}"/>
              </a:ext>
            </a:extLst>
          </p:cNvPr>
          <p:cNvSpPr>
            <a:spLocks noGrp="1"/>
          </p:cNvSpPr>
          <p:nvPr>
            <p:ph type="dt" sz="half" idx="10"/>
          </p:nvPr>
        </p:nvSpPr>
        <p:spPr/>
        <p:txBody>
          <a:bodyPr/>
          <a:lstStyle/>
          <a:p>
            <a:fld id="{054A6A80-5264-4848-8CA6-96ED35941B24}" type="datetimeFigureOut">
              <a:rPr lang="en-MY" smtClean="0"/>
              <a:t>13/1/2023</a:t>
            </a:fld>
            <a:endParaRPr lang="en-MY"/>
          </a:p>
        </p:txBody>
      </p:sp>
      <p:sp>
        <p:nvSpPr>
          <p:cNvPr id="4" name="Footer Placeholder 3">
            <a:extLst>
              <a:ext uri="{FF2B5EF4-FFF2-40B4-BE49-F238E27FC236}">
                <a16:creationId xmlns:a16="http://schemas.microsoft.com/office/drawing/2014/main" id="{577FBB99-A920-4474-8D19-B135B6466C51}"/>
              </a:ext>
            </a:extLst>
          </p:cNvPr>
          <p:cNvSpPr>
            <a:spLocks noGrp="1"/>
          </p:cNvSpPr>
          <p:nvPr>
            <p:ph type="ftr" sz="quarter" idx="11"/>
          </p:nvPr>
        </p:nvSpPr>
        <p:spPr/>
        <p:txBody>
          <a:bodyPr/>
          <a:lstStyle/>
          <a:p>
            <a:endParaRPr lang="en-MY"/>
          </a:p>
        </p:txBody>
      </p:sp>
      <p:sp>
        <p:nvSpPr>
          <p:cNvPr id="5" name="Slide Number Placeholder 4">
            <a:extLst>
              <a:ext uri="{FF2B5EF4-FFF2-40B4-BE49-F238E27FC236}">
                <a16:creationId xmlns:a16="http://schemas.microsoft.com/office/drawing/2014/main" id="{D21D5CF3-B43A-4744-A6DC-54CE33047097}"/>
              </a:ext>
            </a:extLst>
          </p:cNvPr>
          <p:cNvSpPr>
            <a:spLocks noGrp="1"/>
          </p:cNvSpPr>
          <p:nvPr>
            <p:ph type="sldNum" sz="quarter" idx="12"/>
          </p:nvPr>
        </p:nvSpPr>
        <p:spPr/>
        <p:txBody>
          <a:bodyPr/>
          <a:lstStyle/>
          <a:p>
            <a:fld id="{8F34DD00-9460-4ACA-BCB3-0658FCE44E65}" type="slidenum">
              <a:rPr lang="en-MY" smtClean="0"/>
              <a:t>‹#›</a:t>
            </a:fld>
            <a:endParaRPr lang="en-MY"/>
          </a:p>
        </p:txBody>
      </p:sp>
    </p:spTree>
    <p:extLst>
      <p:ext uri="{BB962C8B-B14F-4D97-AF65-F5344CB8AC3E}">
        <p14:creationId xmlns:p14="http://schemas.microsoft.com/office/powerpoint/2010/main" val="9512039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AC483FE-136C-44A0-818B-BD9F8009BBBC}"/>
              </a:ext>
            </a:extLst>
          </p:cNvPr>
          <p:cNvSpPr>
            <a:spLocks noGrp="1"/>
          </p:cNvSpPr>
          <p:nvPr>
            <p:ph type="dt" sz="half" idx="10"/>
          </p:nvPr>
        </p:nvSpPr>
        <p:spPr/>
        <p:txBody>
          <a:bodyPr/>
          <a:lstStyle/>
          <a:p>
            <a:fld id="{7DF1DF14-9231-416D-98D1-D49883AFE354}" type="datetimeFigureOut">
              <a:rPr lang="en-MY" smtClean="0"/>
              <a:t>13/1/2023</a:t>
            </a:fld>
            <a:endParaRPr lang="en-MY"/>
          </a:p>
        </p:txBody>
      </p:sp>
      <p:sp>
        <p:nvSpPr>
          <p:cNvPr id="3" name="Footer Placeholder 2">
            <a:extLst>
              <a:ext uri="{FF2B5EF4-FFF2-40B4-BE49-F238E27FC236}">
                <a16:creationId xmlns:a16="http://schemas.microsoft.com/office/drawing/2014/main" id="{3C77BA8E-C293-4A5D-8CBF-7DB24B70D453}"/>
              </a:ext>
            </a:extLst>
          </p:cNvPr>
          <p:cNvSpPr>
            <a:spLocks noGrp="1"/>
          </p:cNvSpPr>
          <p:nvPr>
            <p:ph type="ftr" sz="quarter" idx="11"/>
          </p:nvPr>
        </p:nvSpPr>
        <p:spPr/>
        <p:txBody>
          <a:bodyPr/>
          <a:lstStyle/>
          <a:p>
            <a:endParaRPr lang="en-MY"/>
          </a:p>
        </p:txBody>
      </p:sp>
      <p:sp>
        <p:nvSpPr>
          <p:cNvPr id="4" name="Slide Number Placeholder 3">
            <a:extLst>
              <a:ext uri="{FF2B5EF4-FFF2-40B4-BE49-F238E27FC236}">
                <a16:creationId xmlns:a16="http://schemas.microsoft.com/office/drawing/2014/main" id="{9A76247A-2D5F-45EB-8E77-99BB203E188C}"/>
              </a:ext>
            </a:extLst>
          </p:cNvPr>
          <p:cNvSpPr>
            <a:spLocks noGrp="1"/>
          </p:cNvSpPr>
          <p:nvPr>
            <p:ph type="sldNum" sz="quarter" idx="12"/>
          </p:nvPr>
        </p:nvSpPr>
        <p:spPr/>
        <p:txBody>
          <a:bodyPr/>
          <a:lstStyle/>
          <a:p>
            <a:fld id="{962BD2D0-9020-43F0-9627-4A4BC8FEE218}" type="slidenum">
              <a:rPr lang="en-MY" smtClean="0"/>
              <a:t>‹#›</a:t>
            </a:fld>
            <a:endParaRPr lang="en-MY"/>
          </a:p>
        </p:txBody>
      </p:sp>
    </p:spTree>
    <p:extLst>
      <p:ext uri="{BB962C8B-B14F-4D97-AF65-F5344CB8AC3E}">
        <p14:creationId xmlns:p14="http://schemas.microsoft.com/office/powerpoint/2010/main" val="237439651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1FDFF46-96AF-4D63-85BC-8888F2E64BC5}"/>
              </a:ext>
            </a:extLst>
          </p:cNvPr>
          <p:cNvSpPr>
            <a:spLocks noGrp="1"/>
          </p:cNvSpPr>
          <p:nvPr>
            <p:ph type="dt" sz="half" idx="10"/>
          </p:nvPr>
        </p:nvSpPr>
        <p:spPr/>
        <p:txBody>
          <a:bodyPr/>
          <a:lstStyle/>
          <a:p>
            <a:fld id="{054A6A80-5264-4848-8CA6-96ED35941B24}" type="datetimeFigureOut">
              <a:rPr lang="en-MY" smtClean="0"/>
              <a:t>13/1/2023</a:t>
            </a:fld>
            <a:endParaRPr lang="en-MY"/>
          </a:p>
        </p:txBody>
      </p:sp>
      <p:sp>
        <p:nvSpPr>
          <p:cNvPr id="3" name="Footer Placeholder 2">
            <a:extLst>
              <a:ext uri="{FF2B5EF4-FFF2-40B4-BE49-F238E27FC236}">
                <a16:creationId xmlns:a16="http://schemas.microsoft.com/office/drawing/2014/main" id="{2DCC1A2A-E713-43CD-BDC5-C28CEA93FA2F}"/>
              </a:ext>
            </a:extLst>
          </p:cNvPr>
          <p:cNvSpPr>
            <a:spLocks noGrp="1"/>
          </p:cNvSpPr>
          <p:nvPr>
            <p:ph type="ftr" sz="quarter" idx="11"/>
          </p:nvPr>
        </p:nvSpPr>
        <p:spPr/>
        <p:txBody>
          <a:bodyPr/>
          <a:lstStyle/>
          <a:p>
            <a:endParaRPr lang="en-MY"/>
          </a:p>
        </p:txBody>
      </p:sp>
      <p:sp>
        <p:nvSpPr>
          <p:cNvPr id="4" name="Slide Number Placeholder 3">
            <a:extLst>
              <a:ext uri="{FF2B5EF4-FFF2-40B4-BE49-F238E27FC236}">
                <a16:creationId xmlns:a16="http://schemas.microsoft.com/office/drawing/2014/main" id="{CB25FBE7-AF27-4BA5-A81C-FCA9D6A77431}"/>
              </a:ext>
            </a:extLst>
          </p:cNvPr>
          <p:cNvSpPr>
            <a:spLocks noGrp="1"/>
          </p:cNvSpPr>
          <p:nvPr>
            <p:ph type="sldNum" sz="quarter" idx="12"/>
          </p:nvPr>
        </p:nvSpPr>
        <p:spPr/>
        <p:txBody>
          <a:bodyPr/>
          <a:lstStyle/>
          <a:p>
            <a:fld id="{8F34DD00-9460-4ACA-BCB3-0658FCE44E65}" type="slidenum">
              <a:rPr lang="en-MY" smtClean="0"/>
              <a:t>‹#›</a:t>
            </a:fld>
            <a:endParaRPr lang="en-MY"/>
          </a:p>
        </p:txBody>
      </p:sp>
    </p:spTree>
    <p:extLst>
      <p:ext uri="{BB962C8B-B14F-4D97-AF65-F5344CB8AC3E}">
        <p14:creationId xmlns:p14="http://schemas.microsoft.com/office/powerpoint/2010/main" val="2221811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80436-783A-4FD0-8021-010A49C4EF0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MY"/>
          </a:p>
        </p:txBody>
      </p:sp>
      <p:sp>
        <p:nvSpPr>
          <p:cNvPr id="3" name="Content Placeholder 2">
            <a:extLst>
              <a:ext uri="{FF2B5EF4-FFF2-40B4-BE49-F238E27FC236}">
                <a16:creationId xmlns:a16="http://schemas.microsoft.com/office/drawing/2014/main" id="{B3101A4F-5577-4729-BED8-C06CE1198CC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Text Placeholder 3">
            <a:extLst>
              <a:ext uri="{FF2B5EF4-FFF2-40B4-BE49-F238E27FC236}">
                <a16:creationId xmlns:a16="http://schemas.microsoft.com/office/drawing/2014/main" id="{DD1D961C-6F20-47E0-9995-25B6A46663D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CAA2FDC-4363-4855-B7C1-86B0887F77C4}"/>
              </a:ext>
            </a:extLst>
          </p:cNvPr>
          <p:cNvSpPr>
            <a:spLocks noGrp="1"/>
          </p:cNvSpPr>
          <p:nvPr>
            <p:ph type="dt" sz="half" idx="10"/>
          </p:nvPr>
        </p:nvSpPr>
        <p:spPr/>
        <p:txBody>
          <a:bodyPr/>
          <a:lstStyle/>
          <a:p>
            <a:fld id="{7DF1DF14-9231-416D-98D1-D49883AFE354}" type="datetimeFigureOut">
              <a:rPr lang="en-MY" smtClean="0"/>
              <a:t>13/1/2023</a:t>
            </a:fld>
            <a:endParaRPr lang="en-MY"/>
          </a:p>
        </p:txBody>
      </p:sp>
      <p:sp>
        <p:nvSpPr>
          <p:cNvPr id="6" name="Footer Placeholder 5">
            <a:extLst>
              <a:ext uri="{FF2B5EF4-FFF2-40B4-BE49-F238E27FC236}">
                <a16:creationId xmlns:a16="http://schemas.microsoft.com/office/drawing/2014/main" id="{5DE1B56C-EE6C-4299-B97A-1A4E4D1F2B83}"/>
              </a:ext>
            </a:extLst>
          </p:cNvPr>
          <p:cNvSpPr>
            <a:spLocks noGrp="1"/>
          </p:cNvSpPr>
          <p:nvPr>
            <p:ph type="ftr" sz="quarter" idx="11"/>
          </p:nvPr>
        </p:nvSpPr>
        <p:spPr/>
        <p:txBody>
          <a:bodyPr/>
          <a:lstStyle/>
          <a:p>
            <a:endParaRPr lang="en-MY"/>
          </a:p>
        </p:txBody>
      </p:sp>
      <p:sp>
        <p:nvSpPr>
          <p:cNvPr id="7" name="Slide Number Placeholder 6">
            <a:extLst>
              <a:ext uri="{FF2B5EF4-FFF2-40B4-BE49-F238E27FC236}">
                <a16:creationId xmlns:a16="http://schemas.microsoft.com/office/drawing/2014/main" id="{91B2BF20-797C-49A5-BC4E-DF539D8B11F3}"/>
              </a:ext>
            </a:extLst>
          </p:cNvPr>
          <p:cNvSpPr>
            <a:spLocks noGrp="1"/>
          </p:cNvSpPr>
          <p:nvPr>
            <p:ph type="sldNum" sz="quarter" idx="12"/>
          </p:nvPr>
        </p:nvSpPr>
        <p:spPr/>
        <p:txBody>
          <a:bodyPr/>
          <a:lstStyle/>
          <a:p>
            <a:fld id="{962BD2D0-9020-43F0-9627-4A4BC8FEE218}" type="slidenum">
              <a:rPr lang="en-MY" smtClean="0"/>
              <a:t>‹#›</a:t>
            </a:fld>
            <a:endParaRPr lang="en-MY"/>
          </a:p>
        </p:txBody>
      </p:sp>
    </p:spTree>
    <p:extLst>
      <p:ext uri="{BB962C8B-B14F-4D97-AF65-F5344CB8AC3E}">
        <p14:creationId xmlns:p14="http://schemas.microsoft.com/office/powerpoint/2010/main" val="256114743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37E19-B9DF-44FD-B8C8-E98ED27D3B4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MY"/>
          </a:p>
        </p:txBody>
      </p:sp>
      <p:sp>
        <p:nvSpPr>
          <p:cNvPr id="3" name="Content Placeholder 2">
            <a:extLst>
              <a:ext uri="{FF2B5EF4-FFF2-40B4-BE49-F238E27FC236}">
                <a16:creationId xmlns:a16="http://schemas.microsoft.com/office/drawing/2014/main" id="{61777A0D-B9CE-4F37-8F56-DEDBE7870AD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Text Placeholder 3">
            <a:extLst>
              <a:ext uri="{FF2B5EF4-FFF2-40B4-BE49-F238E27FC236}">
                <a16:creationId xmlns:a16="http://schemas.microsoft.com/office/drawing/2014/main" id="{549EE969-91D1-4592-9EF8-5C6E48EBDD9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C3928A3-0C6D-4ECD-8D59-B26DB6F68AA4}"/>
              </a:ext>
            </a:extLst>
          </p:cNvPr>
          <p:cNvSpPr>
            <a:spLocks noGrp="1"/>
          </p:cNvSpPr>
          <p:nvPr>
            <p:ph type="dt" sz="half" idx="10"/>
          </p:nvPr>
        </p:nvSpPr>
        <p:spPr/>
        <p:txBody>
          <a:bodyPr/>
          <a:lstStyle/>
          <a:p>
            <a:fld id="{054A6A80-5264-4848-8CA6-96ED35941B24}" type="datetimeFigureOut">
              <a:rPr lang="en-MY" smtClean="0"/>
              <a:t>13/1/2023</a:t>
            </a:fld>
            <a:endParaRPr lang="en-MY"/>
          </a:p>
        </p:txBody>
      </p:sp>
      <p:sp>
        <p:nvSpPr>
          <p:cNvPr id="6" name="Footer Placeholder 5">
            <a:extLst>
              <a:ext uri="{FF2B5EF4-FFF2-40B4-BE49-F238E27FC236}">
                <a16:creationId xmlns:a16="http://schemas.microsoft.com/office/drawing/2014/main" id="{A7DCDD72-6742-4EE6-87A8-3F0BC8DBD2A5}"/>
              </a:ext>
            </a:extLst>
          </p:cNvPr>
          <p:cNvSpPr>
            <a:spLocks noGrp="1"/>
          </p:cNvSpPr>
          <p:nvPr>
            <p:ph type="ftr" sz="quarter" idx="11"/>
          </p:nvPr>
        </p:nvSpPr>
        <p:spPr/>
        <p:txBody>
          <a:bodyPr/>
          <a:lstStyle/>
          <a:p>
            <a:endParaRPr lang="en-MY"/>
          </a:p>
        </p:txBody>
      </p:sp>
      <p:sp>
        <p:nvSpPr>
          <p:cNvPr id="7" name="Slide Number Placeholder 6">
            <a:extLst>
              <a:ext uri="{FF2B5EF4-FFF2-40B4-BE49-F238E27FC236}">
                <a16:creationId xmlns:a16="http://schemas.microsoft.com/office/drawing/2014/main" id="{C50AC5D4-7EE1-4AAD-87A4-85D74FA99B2F}"/>
              </a:ext>
            </a:extLst>
          </p:cNvPr>
          <p:cNvSpPr>
            <a:spLocks noGrp="1"/>
          </p:cNvSpPr>
          <p:nvPr>
            <p:ph type="sldNum" sz="quarter" idx="12"/>
          </p:nvPr>
        </p:nvSpPr>
        <p:spPr/>
        <p:txBody>
          <a:bodyPr/>
          <a:lstStyle/>
          <a:p>
            <a:fld id="{8F34DD00-9460-4ACA-BCB3-0658FCE44E65}" type="slidenum">
              <a:rPr lang="en-MY" smtClean="0"/>
              <a:t>‹#›</a:t>
            </a:fld>
            <a:endParaRPr lang="en-MY"/>
          </a:p>
        </p:txBody>
      </p:sp>
    </p:spTree>
    <p:extLst>
      <p:ext uri="{BB962C8B-B14F-4D97-AF65-F5344CB8AC3E}">
        <p14:creationId xmlns:p14="http://schemas.microsoft.com/office/powerpoint/2010/main" val="22283378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E7FFB-326A-E393-0AF8-69E3A391BBCF}"/>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D44A3FF1-C9EE-06EC-5088-91A716CDF17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360A45B7-C62C-5218-5AF1-D0E1F2297707}"/>
              </a:ext>
            </a:extLst>
          </p:cNvPr>
          <p:cNvSpPr>
            <a:spLocks noGrp="1"/>
          </p:cNvSpPr>
          <p:nvPr>
            <p:ph type="dt" sz="half" idx="10"/>
          </p:nvPr>
        </p:nvSpPr>
        <p:spPr/>
        <p:txBody>
          <a:bodyPr/>
          <a:lstStyle/>
          <a:p>
            <a:fld id="{1E32E15C-1ABB-4FCE-A664-E12BA74059BF}" type="datetimeFigureOut">
              <a:rPr lang="en-IN" smtClean="0"/>
              <a:t>13-01-2023</a:t>
            </a:fld>
            <a:endParaRPr lang="en-IN"/>
          </a:p>
        </p:txBody>
      </p:sp>
      <p:sp>
        <p:nvSpPr>
          <p:cNvPr id="5" name="Footer Placeholder 4">
            <a:extLst>
              <a:ext uri="{FF2B5EF4-FFF2-40B4-BE49-F238E27FC236}">
                <a16:creationId xmlns:a16="http://schemas.microsoft.com/office/drawing/2014/main" id="{6B2E20D9-80E5-F636-B556-06C1B09AAC18}"/>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2B6249D-5E63-61C5-4E96-243AA317D10D}"/>
              </a:ext>
            </a:extLst>
          </p:cNvPr>
          <p:cNvSpPr>
            <a:spLocks noGrp="1"/>
          </p:cNvSpPr>
          <p:nvPr>
            <p:ph type="sldNum" sz="quarter" idx="12"/>
          </p:nvPr>
        </p:nvSpPr>
        <p:spPr/>
        <p:txBody>
          <a:bodyPr/>
          <a:lstStyle/>
          <a:p>
            <a:fld id="{B4B60327-AE25-4737-85CF-0B04EF4FAC0C}" type="slidenum">
              <a:rPr lang="en-IN" smtClean="0"/>
              <a:t>‹#›</a:t>
            </a:fld>
            <a:endParaRPr lang="en-IN"/>
          </a:p>
        </p:txBody>
      </p:sp>
    </p:spTree>
    <p:extLst>
      <p:ext uri="{BB962C8B-B14F-4D97-AF65-F5344CB8AC3E}">
        <p14:creationId xmlns:p14="http://schemas.microsoft.com/office/powerpoint/2010/main" val="12106054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3F5E00-8E12-4A4E-B865-63277A0F9BD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MY"/>
          </a:p>
        </p:txBody>
      </p:sp>
      <p:sp>
        <p:nvSpPr>
          <p:cNvPr id="3" name="Picture Placeholder 2">
            <a:extLst>
              <a:ext uri="{FF2B5EF4-FFF2-40B4-BE49-F238E27FC236}">
                <a16:creationId xmlns:a16="http://schemas.microsoft.com/office/drawing/2014/main" id="{7154A864-5155-409D-AEB6-3BF28154F3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MY"/>
          </a:p>
        </p:txBody>
      </p:sp>
      <p:sp>
        <p:nvSpPr>
          <p:cNvPr id="4" name="Text Placeholder 3">
            <a:extLst>
              <a:ext uri="{FF2B5EF4-FFF2-40B4-BE49-F238E27FC236}">
                <a16:creationId xmlns:a16="http://schemas.microsoft.com/office/drawing/2014/main" id="{9B8E815D-C772-4A3B-B612-00A724269C1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5D2ADC7-1344-4F47-AA83-2AA68D11BC52}"/>
              </a:ext>
            </a:extLst>
          </p:cNvPr>
          <p:cNvSpPr>
            <a:spLocks noGrp="1"/>
          </p:cNvSpPr>
          <p:nvPr>
            <p:ph type="dt" sz="half" idx="10"/>
          </p:nvPr>
        </p:nvSpPr>
        <p:spPr/>
        <p:txBody>
          <a:bodyPr/>
          <a:lstStyle/>
          <a:p>
            <a:fld id="{7DF1DF14-9231-416D-98D1-D49883AFE354}" type="datetimeFigureOut">
              <a:rPr lang="en-MY" smtClean="0"/>
              <a:t>13/1/2023</a:t>
            </a:fld>
            <a:endParaRPr lang="en-MY"/>
          </a:p>
        </p:txBody>
      </p:sp>
      <p:sp>
        <p:nvSpPr>
          <p:cNvPr id="6" name="Footer Placeholder 5">
            <a:extLst>
              <a:ext uri="{FF2B5EF4-FFF2-40B4-BE49-F238E27FC236}">
                <a16:creationId xmlns:a16="http://schemas.microsoft.com/office/drawing/2014/main" id="{A0B19B0B-1E5C-4B50-8B6B-74FB71FD6045}"/>
              </a:ext>
            </a:extLst>
          </p:cNvPr>
          <p:cNvSpPr>
            <a:spLocks noGrp="1"/>
          </p:cNvSpPr>
          <p:nvPr>
            <p:ph type="ftr" sz="quarter" idx="11"/>
          </p:nvPr>
        </p:nvSpPr>
        <p:spPr/>
        <p:txBody>
          <a:bodyPr/>
          <a:lstStyle/>
          <a:p>
            <a:endParaRPr lang="en-MY"/>
          </a:p>
        </p:txBody>
      </p:sp>
      <p:sp>
        <p:nvSpPr>
          <p:cNvPr id="7" name="Slide Number Placeholder 6">
            <a:extLst>
              <a:ext uri="{FF2B5EF4-FFF2-40B4-BE49-F238E27FC236}">
                <a16:creationId xmlns:a16="http://schemas.microsoft.com/office/drawing/2014/main" id="{B94C3917-B2BD-453D-B1E4-FCFEB32B11AC}"/>
              </a:ext>
            </a:extLst>
          </p:cNvPr>
          <p:cNvSpPr>
            <a:spLocks noGrp="1"/>
          </p:cNvSpPr>
          <p:nvPr>
            <p:ph type="sldNum" sz="quarter" idx="12"/>
          </p:nvPr>
        </p:nvSpPr>
        <p:spPr/>
        <p:txBody>
          <a:bodyPr/>
          <a:lstStyle/>
          <a:p>
            <a:fld id="{962BD2D0-9020-43F0-9627-4A4BC8FEE218}" type="slidenum">
              <a:rPr lang="en-MY" smtClean="0"/>
              <a:t>‹#›</a:t>
            </a:fld>
            <a:endParaRPr lang="en-MY"/>
          </a:p>
        </p:txBody>
      </p:sp>
    </p:spTree>
    <p:extLst>
      <p:ext uri="{BB962C8B-B14F-4D97-AF65-F5344CB8AC3E}">
        <p14:creationId xmlns:p14="http://schemas.microsoft.com/office/powerpoint/2010/main" val="121010699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9B9F4-2B73-4F42-83CD-907F6B00EB3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MY"/>
          </a:p>
        </p:txBody>
      </p:sp>
      <p:sp>
        <p:nvSpPr>
          <p:cNvPr id="3" name="Picture Placeholder 2">
            <a:extLst>
              <a:ext uri="{FF2B5EF4-FFF2-40B4-BE49-F238E27FC236}">
                <a16:creationId xmlns:a16="http://schemas.microsoft.com/office/drawing/2014/main" id="{D356FC55-7ECF-4F7B-8F5E-1B6C2A75D2C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MY"/>
          </a:p>
        </p:txBody>
      </p:sp>
      <p:sp>
        <p:nvSpPr>
          <p:cNvPr id="4" name="Text Placeholder 3">
            <a:extLst>
              <a:ext uri="{FF2B5EF4-FFF2-40B4-BE49-F238E27FC236}">
                <a16:creationId xmlns:a16="http://schemas.microsoft.com/office/drawing/2014/main" id="{C59FFC8B-6B68-4C30-830D-9628A8D140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A1DF30-58D3-4BE9-9332-FCE34C95BD71}"/>
              </a:ext>
            </a:extLst>
          </p:cNvPr>
          <p:cNvSpPr>
            <a:spLocks noGrp="1"/>
          </p:cNvSpPr>
          <p:nvPr>
            <p:ph type="dt" sz="half" idx="10"/>
          </p:nvPr>
        </p:nvSpPr>
        <p:spPr/>
        <p:txBody>
          <a:bodyPr/>
          <a:lstStyle/>
          <a:p>
            <a:fld id="{054A6A80-5264-4848-8CA6-96ED35941B24}" type="datetimeFigureOut">
              <a:rPr lang="en-MY" smtClean="0"/>
              <a:t>13/1/2023</a:t>
            </a:fld>
            <a:endParaRPr lang="en-MY"/>
          </a:p>
        </p:txBody>
      </p:sp>
      <p:sp>
        <p:nvSpPr>
          <p:cNvPr id="6" name="Footer Placeholder 5">
            <a:extLst>
              <a:ext uri="{FF2B5EF4-FFF2-40B4-BE49-F238E27FC236}">
                <a16:creationId xmlns:a16="http://schemas.microsoft.com/office/drawing/2014/main" id="{4533D320-EA63-4B99-A456-2C563661D62A}"/>
              </a:ext>
            </a:extLst>
          </p:cNvPr>
          <p:cNvSpPr>
            <a:spLocks noGrp="1"/>
          </p:cNvSpPr>
          <p:nvPr>
            <p:ph type="ftr" sz="quarter" idx="11"/>
          </p:nvPr>
        </p:nvSpPr>
        <p:spPr/>
        <p:txBody>
          <a:bodyPr/>
          <a:lstStyle/>
          <a:p>
            <a:endParaRPr lang="en-MY"/>
          </a:p>
        </p:txBody>
      </p:sp>
      <p:sp>
        <p:nvSpPr>
          <p:cNvPr id="7" name="Slide Number Placeholder 6">
            <a:extLst>
              <a:ext uri="{FF2B5EF4-FFF2-40B4-BE49-F238E27FC236}">
                <a16:creationId xmlns:a16="http://schemas.microsoft.com/office/drawing/2014/main" id="{2E377F70-0A8F-4CE4-8B57-44D9E139A243}"/>
              </a:ext>
            </a:extLst>
          </p:cNvPr>
          <p:cNvSpPr>
            <a:spLocks noGrp="1"/>
          </p:cNvSpPr>
          <p:nvPr>
            <p:ph type="sldNum" sz="quarter" idx="12"/>
          </p:nvPr>
        </p:nvSpPr>
        <p:spPr/>
        <p:txBody>
          <a:bodyPr/>
          <a:lstStyle/>
          <a:p>
            <a:fld id="{8F34DD00-9460-4ACA-BCB3-0658FCE44E65}" type="slidenum">
              <a:rPr lang="en-MY" smtClean="0"/>
              <a:t>‹#›</a:t>
            </a:fld>
            <a:endParaRPr lang="en-MY"/>
          </a:p>
        </p:txBody>
      </p:sp>
    </p:spTree>
    <p:extLst>
      <p:ext uri="{BB962C8B-B14F-4D97-AF65-F5344CB8AC3E}">
        <p14:creationId xmlns:p14="http://schemas.microsoft.com/office/powerpoint/2010/main" val="9415892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1055F-B4C7-4083-B890-197C4D21AD2B}"/>
              </a:ext>
            </a:extLst>
          </p:cNvPr>
          <p:cNvSpPr>
            <a:spLocks noGrp="1"/>
          </p:cNvSpPr>
          <p:nvPr>
            <p:ph type="title"/>
          </p:nvPr>
        </p:nvSpPr>
        <p:spPr/>
        <p:txBody>
          <a:bodyPr/>
          <a:lstStyle/>
          <a:p>
            <a:r>
              <a:rPr lang="en-US"/>
              <a:t>Click to edit Master title style</a:t>
            </a:r>
            <a:endParaRPr lang="en-MY"/>
          </a:p>
        </p:txBody>
      </p:sp>
      <p:sp>
        <p:nvSpPr>
          <p:cNvPr id="3" name="Vertical Text Placeholder 2">
            <a:extLst>
              <a:ext uri="{FF2B5EF4-FFF2-40B4-BE49-F238E27FC236}">
                <a16:creationId xmlns:a16="http://schemas.microsoft.com/office/drawing/2014/main" id="{BBE06FA4-5816-4AB0-AE38-91BF938AA0D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a:extLst>
              <a:ext uri="{FF2B5EF4-FFF2-40B4-BE49-F238E27FC236}">
                <a16:creationId xmlns:a16="http://schemas.microsoft.com/office/drawing/2014/main" id="{E71A5646-78BE-47E5-8FBE-8D4B1501D739}"/>
              </a:ext>
            </a:extLst>
          </p:cNvPr>
          <p:cNvSpPr>
            <a:spLocks noGrp="1"/>
          </p:cNvSpPr>
          <p:nvPr>
            <p:ph type="dt" sz="half" idx="10"/>
          </p:nvPr>
        </p:nvSpPr>
        <p:spPr/>
        <p:txBody>
          <a:bodyPr/>
          <a:lstStyle/>
          <a:p>
            <a:fld id="{7DF1DF14-9231-416D-98D1-D49883AFE354}" type="datetimeFigureOut">
              <a:rPr lang="en-MY" smtClean="0"/>
              <a:t>13/1/2023</a:t>
            </a:fld>
            <a:endParaRPr lang="en-MY"/>
          </a:p>
        </p:txBody>
      </p:sp>
      <p:sp>
        <p:nvSpPr>
          <p:cNvPr id="5" name="Footer Placeholder 4">
            <a:extLst>
              <a:ext uri="{FF2B5EF4-FFF2-40B4-BE49-F238E27FC236}">
                <a16:creationId xmlns:a16="http://schemas.microsoft.com/office/drawing/2014/main" id="{9B11F638-4E62-4907-A34D-62F2A6C2C82B}"/>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9887124D-2AC5-486A-9BE0-E2066B98DF0E}"/>
              </a:ext>
            </a:extLst>
          </p:cNvPr>
          <p:cNvSpPr>
            <a:spLocks noGrp="1"/>
          </p:cNvSpPr>
          <p:nvPr>
            <p:ph type="sldNum" sz="quarter" idx="12"/>
          </p:nvPr>
        </p:nvSpPr>
        <p:spPr/>
        <p:txBody>
          <a:bodyPr/>
          <a:lstStyle/>
          <a:p>
            <a:fld id="{962BD2D0-9020-43F0-9627-4A4BC8FEE218}" type="slidenum">
              <a:rPr lang="en-MY" smtClean="0"/>
              <a:t>‹#›</a:t>
            </a:fld>
            <a:endParaRPr lang="en-MY"/>
          </a:p>
        </p:txBody>
      </p:sp>
    </p:spTree>
    <p:extLst>
      <p:ext uri="{BB962C8B-B14F-4D97-AF65-F5344CB8AC3E}">
        <p14:creationId xmlns:p14="http://schemas.microsoft.com/office/powerpoint/2010/main" val="146099370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4EEFE-C242-4662-BF1A-E41B0F1F3896}"/>
              </a:ext>
            </a:extLst>
          </p:cNvPr>
          <p:cNvSpPr>
            <a:spLocks noGrp="1"/>
          </p:cNvSpPr>
          <p:nvPr>
            <p:ph type="title"/>
          </p:nvPr>
        </p:nvSpPr>
        <p:spPr/>
        <p:txBody>
          <a:bodyPr/>
          <a:lstStyle/>
          <a:p>
            <a:r>
              <a:rPr lang="en-US"/>
              <a:t>Click to edit Master title style</a:t>
            </a:r>
            <a:endParaRPr lang="en-MY"/>
          </a:p>
        </p:txBody>
      </p:sp>
      <p:sp>
        <p:nvSpPr>
          <p:cNvPr id="3" name="Content Placeholder 2">
            <a:extLst>
              <a:ext uri="{FF2B5EF4-FFF2-40B4-BE49-F238E27FC236}">
                <a16:creationId xmlns:a16="http://schemas.microsoft.com/office/drawing/2014/main" id="{33D57406-FE6B-49C4-8589-9BB3D59E8EA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a:extLst>
              <a:ext uri="{FF2B5EF4-FFF2-40B4-BE49-F238E27FC236}">
                <a16:creationId xmlns:a16="http://schemas.microsoft.com/office/drawing/2014/main" id="{C65E3D15-82BB-4621-AD50-671F17A64DB3}"/>
              </a:ext>
            </a:extLst>
          </p:cNvPr>
          <p:cNvSpPr>
            <a:spLocks noGrp="1"/>
          </p:cNvSpPr>
          <p:nvPr>
            <p:ph type="dt" sz="half" idx="10"/>
          </p:nvPr>
        </p:nvSpPr>
        <p:spPr/>
        <p:txBody>
          <a:bodyPr/>
          <a:lstStyle/>
          <a:p>
            <a:fld id="{E152F814-A5A9-4915-BA2C-D498CBB3B7CE}" type="datetimeFigureOut">
              <a:rPr lang="en-MY" smtClean="0"/>
              <a:t>13/1/2023</a:t>
            </a:fld>
            <a:endParaRPr lang="en-MY"/>
          </a:p>
        </p:txBody>
      </p:sp>
      <p:sp>
        <p:nvSpPr>
          <p:cNvPr id="5" name="Footer Placeholder 4">
            <a:extLst>
              <a:ext uri="{FF2B5EF4-FFF2-40B4-BE49-F238E27FC236}">
                <a16:creationId xmlns:a16="http://schemas.microsoft.com/office/drawing/2014/main" id="{78F89760-5DDA-49EA-9EB9-D2C39483A8B5}"/>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6F9EF33A-3152-417C-91F3-3AFE173ACAA4}"/>
              </a:ext>
            </a:extLst>
          </p:cNvPr>
          <p:cNvSpPr>
            <a:spLocks noGrp="1"/>
          </p:cNvSpPr>
          <p:nvPr>
            <p:ph type="sldNum" sz="quarter" idx="12"/>
          </p:nvPr>
        </p:nvSpPr>
        <p:spPr/>
        <p:txBody>
          <a:bodyPr/>
          <a:lstStyle/>
          <a:p>
            <a:fld id="{3854563D-E486-48D4-A129-56097E180FBF}" type="slidenum">
              <a:rPr lang="en-MY" smtClean="0"/>
              <a:t>‹#›</a:t>
            </a:fld>
            <a:endParaRPr lang="en-MY"/>
          </a:p>
        </p:txBody>
      </p:sp>
    </p:spTree>
    <p:extLst>
      <p:ext uri="{BB962C8B-B14F-4D97-AF65-F5344CB8AC3E}">
        <p14:creationId xmlns:p14="http://schemas.microsoft.com/office/powerpoint/2010/main" val="253134262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96E929-22C7-4F5B-963C-A8D039F56935}"/>
              </a:ext>
            </a:extLst>
          </p:cNvPr>
          <p:cNvSpPr>
            <a:spLocks noGrp="1"/>
          </p:cNvSpPr>
          <p:nvPr>
            <p:ph type="title"/>
          </p:nvPr>
        </p:nvSpPr>
        <p:spPr/>
        <p:txBody>
          <a:bodyPr/>
          <a:lstStyle/>
          <a:p>
            <a:r>
              <a:rPr lang="en-US"/>
              <a:t>Click to edit Master title style</a:t>
            </a:r>
            <a:endParaRPr lang="en-MY"/>
          </a:p>
        </p:txBody>
      </p:sp>
      <p:sp>
        <p:nvSpPr>
          <p:cNvPr id="3" name="Vertical Text Placeholder 2">
            <a:extLst>
              <a:ext uri="{FF2B5EF4-FFF2-40B4-BE49-F238E27FC236}">
                <a16:creationId xmlns:a16="http://schemas.microsoft.com/office/drawing/2014/main" id="{0CC0241C-C031-4816-AEC4-2DD3EAA619D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a:extLst>
              <a:ext uri="{FF2B5EF4-FFF2-40B4-BE49-F238E27FC236}">
                <a16:creationId xmlns:a16="http://schemas.microsoft.com/office/drawing/2014/main" id="{4DEE678A-F490-4B4C-9A53-92D0A5982358}"/>
              </a:ext>
            </a:extLst>
          </p:cNvPr>
          <p:cNvSpPr>
            <a:spLocks noGrp="1"/>
          </p:cNvSpPr>
          <p:nvPr>
            <p:ph type="dt" sz="half" idx="10"/>
          </p:nvPr>
        </p:nvSpPr>
        <p:spPr/>
        <p:txBody>
          <a:bodyPr/>
          <a:lstStyle/>
          <a:p>
            <a:fld id="{054A6A80-5264-4848-8CA6-96ED35941B24}" type="datetimeFigureOut">
              <a:rPr lang="en-MY" smtClean="0"/>
              <a:t>13/1/2023</a:t>
            </a:fld>
            <a:endParaRPr lang="en-MY"/>
          </a:p>
        </p:txBody>
      </p:sp>
      <p:sp>
        <p:nvSpPr>
          <p:cNvPr id="5" name="Footer Placeholder 4">
            <a:extLst>
              <a:ext uri="{FF2B5EF4-FFF2-40B4-BE49-F238E27FC236}">
                <a16:creationId xmlns:a16="http://schemas.microsoft.com/office/drawing/2014/main" id="{D771FA35-7D98-4DED-AF14-B57664EBAAF8}"/>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79D2C8C0-43EA-4E62-B458-01182F01118C}"/>
              </a:ext>
            </a:extLst>
          </p:cNvPr>
          <p:cNvSpPr>
            <a:spLocks noGrp="1"/>
          </p:cNvSpPr>
          <p:nvPr>
            <p:ph type="sldNum" sz="quarter" idx="12"/>
          </p:nvPr>
        </p:nvSpPr>
        <p:spPr/>
        <p:txBody>
          <a:bodyPr/>
          <a:lstStyle/>
          <a:p>
            <a:fld id="{8F34DD00-9460-4ACA-BCB3-0658FCE44E65}" type="slidenum">
              <a:rPr lang="en-MY" smtClean="0"/>
              <a:t>‹#›</a:t>
            </a:fld>
            <a:endParaRPr lang="en-MY"/>
          </a:p>
        </p:txBody>
      </p:sp>
    </p:spTree>
    <p:extLst>
      <p:ext uri="{BB962C8B-B14F-4D97-AF65-F5344CB8AC3E}">
        <p14:creationId xmlns:p14="http://schemas.microsoft.com/office/powerpoint/2010/main" val="975644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581EDCA-6CBE-472A-B137-BDE5190A6DC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MY"/>
          </a:p>
        </p:txBody>
      </p:sp>
      <p:sp>
        <p:nvSpPr>
          <p:cNvPr id="3" name="Vertical Text Placeholder 2">
            <a:extLst>
              <a:ext uri="{FF2B5EF4-FFF2-40B4-BE49-F238E27FC236}">
                <a16:creationId xmlns:a16="http://schemas.microsoft.com/office/drawing/2014/main" id="{00EABAE7-3EF1-41C0-9804-7F6D8B61A48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a:extLst>
              <a:ext uri="{FF2B5EF4-FFF2-40B4-BE49-F238E27FC236}">
                <a16:creationId xmlns:a16="http://schemas.microsoft.com/office/drawing/2014/main" id="{52DD4677-5AF4-42D2-BAA1-85CEB46FB76D}"/>
              </a:ext>
            </a:extLst>
          </p:cNvPr>
          <p:cNvSpPr>
            <a:spLocks noGrp="1"/>
          </p:cNvSpPr>
          <p:nvPr>
            <p:ph type="dt" sz="half" idx="10"/>
          </p:nvPr>
        </p:nvSpPr>
        <p:spPr/>
        <p:txBody>
          <a:bodyPr/>
          <a:lstStyle/>
          <a:p>
            <a:fld id="{7DF1DF14-9231-416D-98D1-D49883AFE354}" type="datetimeFigureOut">
              <a:rPr lang="en-MY" smtClean="0"/>
              <a:t>13/1/2023</a:t>
            </a:fld>
            <a:endParaRPr lang="en-MY"/>
          </a:p>
        </p:txBody>
      </p:sp>
      <p:sp>
        <p:nvSpPr>
          <p:cNvPr id="5" name="Footer Placeholder 4">
            <a:extLst>
              <a:ext uri="{FF2B5EF4-FFF2-40B4-BE49-F238E27FC236}">
                <a16:creationId xmlns:a16="http://schemas.microsoft.com/office/drawing/2014/main" id="{229E4F1D-53A1-4AD1-9391-FDC3E571D28F}"/>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B1BC30F5-9CCE-4222-9609-46874E5847B9}"/>
              </a:ext>
            </a:extLst>
          </p:cNvPr>
          <p:cNvSpPr>
            <a:spLocks noGrp="1"/>
          </p:cNvSpPr>
          <p:nvPr>
            <p:ph type="sldNum" sz="quarter" idx="12"/>
          </p:nvPr>
        </p:nvSpPr>
        <p:spPr/>
        <p:txBody>
          <a:bodyPr/>
          <a:lstStyle/>
          <a:p>
            <a:fld id="{962BD2D0-9020-43F0-9627-4A4BC8FEE218}" type="slidenum">
              <a:rPr lang="en-MY" smtClean="0"/>
              <a:t>‹#›</a:t>
            </a:fld>
            <a:endParaRPr lang="en-MY"/>
          </a:p>
        </p:txBody>
      </p:sp>
    </p:spTree>
    <p:extLst>
      <p:ext uri="{BB962C8B-B14F-4D97-AF65-F5344CB8AC3E}">
        <p14:creationId xmlns:p14="http://schemas.microsoft.com/office/powerpoint/2010/main" val="26537526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DA11665-1E11-4AAC-9041-0D266D71008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MY"/>
          </a:p>
        </p:txBody>
      </p:sp>
      <p:sp>
        <p:nvSpPr>
          <p:cNvPr id="3" name="Vertical Text Placeholder 2">
            <a:extLst>
              <a:ext uri="{FF2B5EF4-FFF2-40B4-BE49-F238E27FC236}">
                <a16:creationId xmlns:a16="http://schemas.microsoft.com/office/drawing/2014/main" id="{2008A9CE-AEDD-4628-8D34-E8AC5E1B156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a:extLst>
              <a:ext uri="{FF2B5EF4-FFF2-40B4-BE49-F238E27FC236}">
                <a16:creationId xmlns:a16="http://schemas.microsoft.com/office/drawing/2014/main" id="{7F993887-B34C-470A-99AD-C9E16B0943E7}"/>
              </a:ext>
            </a:extLst>
          </p:cNvPr>
          <p:cNvSpPr>
            <a:spLocks noGrp="1"/>
          </p:cNvSpPr>
          <p:nvPr>
            <p:ph type="dt" sz="half" idx="10"/>
          </p:nvPr>
        </p:nvSpPr>
        <p:spPr/>
        <p:txBody>
          <a:bodyPr/>
          <a:lstStyle/>
          <a:p>
            <a:fld id="{054A6A80-5264-4848-8CA6-96ED35941B24}" type="datetimeFigureOut">
              <a:rPr lang="en-MY" smtClean="0"/>
              <a:t>13/1/2023</a:t>
            </a:fld>
            <a:endParaRPr lang="en-MY"/>
          </a:p>
        </p:txBody>
      </p:sp>
      <p:sp>
        <p:nvSpPr>
          <p:cNvPr id="5" name="Footer Placeholder 4">
            <a:extLst>
              <a:ext uri="{FF2B5EF4-FFF2-40B4-BE49-F238E27FC236}">
                <a16:creationId xmlns:a16="http://schemas.microsoft.com/office/drawing/2014/main" id="{5514B5DF-9026-4417-843F-4CB0A25138D9}"/>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F57C50A4-DD25-4C8E-86FE-12C7B2A0260D}"/>
              </a:ext>
            </a:extLst>
          </p:cNvPr>
          <p:cNvSpPr>
            <a:spLocks noGrp="1"/>
          </p:cNvSpPr>
          <p:nvPr>
            <p:ph type="sldNum" sz="quarter" idx="12"/>
          </p:nvPr>
        </p:nvSpPr>
        <p:spPr/>
        <p:txBody>
          <a:bodyPr/>
          <a:lstStyle/>
          <a:p>
            <a:fld id="{8F34DD00-9460-4ACA-BCB3-0658FCE44E65}" type="slidenum">
              <a:rPr lang="en-MY" smtClean="0"/>
              <a:t>‹#›</a:t>
            </a:fld>
            <a:endParaRPr lang="en-MY"/>
          </a:p>
        </p:txBody>
      </p:sp>
    </p:spTree>
    <p:extLst>
      <p:ext uri="{BB962C8B-B14F-4D97-AF65-F5344CB8AC3E}">
        <p14:creationId xmlns:p14="http://schemas.microsoft.com/office/powerpoint/2010/main" val="20761046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035563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8"/>
        <p:cNvGrpSpPr/>
        <p:nvPr/>
      </p:nvGrpSpPr>
      <p:grpSpPr>
        <a:xfrm>
          <a:off x="0" y="0"/>
          <a:ext cx="0" cy="0"/>
          <a:chOff x="0" y="0"/>
          <a:chExt cx="0" cy="0"/>
        </a:xfrm>
      </p:grpSpPr>
      <p:grpSp>
        <p:nvGrpSpPr>
          <p:cNvPr id="9" name="Google Shape;9;p2"/>
          <p:cNvGrpSpPr/>
          <p:nvPr/>
        </p:nvGrpSpPr>
        <p:grpSpPr>
          <a:xfrm>
            <a:off x="-132666" y="0"/>
            <a:ext cx="12373732" cy="6857917"/>
            <a:chOff x="-99500" y="0"/>
            <a:chExt cx="9280299" cy="5143438"/>
          </a:xfrm>
        </p:grpSpPr>
        <p:sp>
          <p:nvSpPr>
            <p:cNvPr id="10" name="Google Shape;10;p2"/>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 name="Google Shape;11;p2"/>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 name="Google Shape;12;p2"/>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 name="Google Shape;13;p2"/>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 name="Google Shape;14;p2"/>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 name="Google Shape;15;p2"/>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 name="Google Shape;16;p2"/>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 name="Google Shape;17;p2"/>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 name="Google Shape;18;p2"/>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 name="Google Shape;19;p2"/>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0" name="Google Shape;20;p2"/>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1" name="Google Shape;21;p2"/>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 name="Google Shape;22;p2"/>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 name="Google Shape;23;p2"/>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 name="Google Shape;24;p2"/>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 name="Google Shape;25;p2"/>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6" name="Google Shape;26;p2"/>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7" name="Google Shape;27;p2"/>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8" name="Google Shape;28;p2"/>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9" name="Google Shape;29;p2"/>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0" name="Google Shape;30;p2"/>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1" name="Google Shape;31;p2"/>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2" name="Google Shape;32;p2"/>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3" name="Google Shape;33;p2"/>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4" name="Google Shape;34;p2"/>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5" name="Google Shape;35;p2"/>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6" name="Google Shape;36;p2"/>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7" name="Google Shape;37;p2"/>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8" name="Google Shape;38;p2"/>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9" name="Google Shape;39;p2"/>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0" name="Google Shape;40;p2"/>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 name="Google Shape;41;p2"/>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2" name="Google Shape;42;p2"/>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3" name="Google Shape;43;p2"/>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4" name="Google Shape;44;p2"/>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5" name="Google Shape;45;p2"/>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6" name="Google Shape;46;p2"/>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7" name="Google Shape;47;p2"/>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8" name="Google Shape;48;p2"/>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9" name="Google Shape;49;p2"/>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0" name="Google Shape;50;p2"/>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1" name="Google Shape;51;p2"/>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2" name="Google Shape;52;p2"/>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53" name="Google Shape;53;p2"/>
          <p:cNvSpPr txBox="1">
            <a:spLocks noGrp="1"/>
          </p:cNvSpPr>
          <p:nvPr>
            <p:ph type="ctrTitle"/>
          </p:nvPr>
        </p:nvSpPr>
        <p:spPr>
          <a:xfrm>
            <a:off x="960000" y="1899548"/>
            <a:ext cx="10272000" cy="2115200"/>
          </a:xfrm>
          <a:prstGeom prst="rect">
            <a:avLst/>
          </a:prstGeom>
        </p:spPr>
        <p:txBody>
          <a:bodyPr spcFirstLastPara="1" wrap="square" lIns="91425" tIns="91425" rIns="91425" bIns="91425" anchor="ctr" anchorCtr="0">
            <a:noAutofit/>
          </a:bodyPr>
          <a:lstStyle>
            <a:lvl1pPr lvl="0" algn="ctr">
              <a:spcBef>
                <a:spcPts val="0"/>
              </a:spcBef>
              <a:spcAft>
                <a:spcPts val="0"/>
              </a:spcAft>
              <a:buSzPts val="5200"/>
              <a:buNone/>
              <a:defRPr sz="7733" b="1">
                <a:solidFill>
                  <a:schemeClr val="dk2"/>
                </a:solidFill>
              </a:defRPr>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54" name="Google Shape;54;p2"/>
          <p:cNvSpPr txBox="1">
            <a:spLocks noGrp="1"/>
          </p:cNvSpPr>
          <p:nvPr>
            <p:ph type="subTitle" idx="1"/>
          </p:nvPr>
        </p:nvSpPr>
        <p:spPr>
          <a:xfrm>
            <a:off x="960000" y="4178463"/>
            <a:ext cx="10272000" cy="566000"/>
          </a:xfrm>
          <a:prstGeom prst="rect">
            <a:avLst/>
          </a:prstGeom>
        </p:spPr>
        <p:txBody>
          <a:bodyPr spcFirstLastPara="1" wrap="square" lIns="91425" tIns="91425" rIns="91425" bIns="91425" anchor="ctr" anchorCtr="0">
            <a:noAutofit/>
          </a:bodyPr>
          <a:lstStyle>
            <a:lvl1pPr lvl="0" algn="ctr">
              <a:lnSpc>
                <a:spcPct val="100000"/>
              </a:lnSpc>
              <a:spcBef>
                <a:spcPts val="0"/>
              </a:spcBef>
              <a:spcAft>
                <a:spcPts val="0"/>
              </a:spcAft>
              <a:buSzPts val="2800"/>
              <a:buNone/>
              <a:defRPr sz="3200" b="1">
                <a:latin typeface="Odibee Sans"/>
                <a:ea typeface="Odibee Sans"/>
                <a:cs typeface="Odibee Sans"/>
                <a:sym typeface="Odibee Sans"/>
              </a:defRPr>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55" name="Google Shape;55;p2"/>
          <p:cNvSpPr txBox="1">
            <a:spLocks noGrp="1"/>
          </p:cNvSpPr>
          <p:nvPr>
            <p:ph type="subTitle" idx="2"/>
          </p:nvPr>
        </p:nvSpPr>
        <p:spPr>
          <a:xfrm>
            <a:off x="9273800" y="333567"/>
            <a:ext cx="1958000" cy="905200"/>
          </a:xfrm>
          <a:prstGeom prst="rect">
            <a:avLst/>
          </a:prstGeom>
        </p:spPr>
        <p:txBody>
          <a:bodyPr spcFirstLastPara="1" wrap="square" lIns="91425" tIns="91425" rIns="91425" bIns="91425" anchor="ctr" anchorCtr="0">
            <a:noAutofit/>
          </a:bodyPr>
          <a:lstStyle>
            <a:lvl1pPr lvl="0" algn="r" rtl="0">
              <a:lnSpc>
                <a:spcPct val="100000"/>
              </a:lnSpc>
              <a:spcBef>
                <a:spcPts val="0"/>
              </a:spcBef>
              <a:spcAft>
                <a:spcPts val="0"/>
              </a:spcAft>
              <a:buSzPts val="2000"/>
              <a:buNone/>
              <a:defRPr sz="3200" b="1">
                <a:latin typeface="Odibee Sans"/>
                <a:ea typeface="Odibee Sans"/>
                <a:cs typeface="Odibee Sans"/>
                <a:sym typeface="Odibee Sans"/>
              </a:defRPr>
            </a:lvl1pPr>
            <a:lvl2pPr lvl="1" algn="ctr" rtl="0">
              <a:lnSpc>
                <a:spcPct val="100000"/>
              </a:lnSpc>
              <a:spcBef>
                <a:spcPts val="0"/>
              </a:spcBef>
              <a:spcAft>
                <a:spcPts val="0"/>
              </a:spcAft>
              <a:buSzPts val="2000"/>
              <a:buNone/>
              <a:defRPr sz="2667"/>
            </a:lvl2pPr>
            <a:lvl3pPr lvl="2" algn="ctr" rtl="0">
              <a:lnSpc>
                <a:spcPct val="100000"/>
              </a:lnSpc>
              <a:spcBef>
                <a:spcPts val="0"/>
              </a:spcBef>
              <a:spcAft>
                <a:spcPts val="0"/>
              </a:spcAft>
              <a:buSzPts val="2000"/>
              <a:buNone/>
              <a:defRPr sz="2667"/>
            </a:lvl3pPr>
            <a:lvl4pPr lvl="3" algn="ctr" rtl="0">
              <a:lnSpc>
                <a:spcPct val="100000"/>
              </a:lnSpc>
              <a:spcBef>
                <a:spcPts val="0"/>
              </a:spcBef>
              <a:spcAft>
                <a:spcPts val="0"/>
              </a:spcAft>
              <a:buSzPts val="2000"/>
              <a:buNone/>
              <a:defRPr sz="2667"/>
            </a:lvl4pPr>
            <a:lvl5pPr lvl="4" algn="ctr" rtl="0">
              <a:lnSpc>
                <a:spcPct val="100000"/>
              </a:lnSpc>
              <a:spcBef>
                <a:spcPts val="0"/>
              </a:spcBef>
              <a:spcAft>
                <a:spcPts val="0"/>
              </a:spcAft>
              <a:buSzPts val="2000"/>
              <a:buNone/>
              <a:defRPr sz="2667"/>
            </a:lvl5pPr>
            <a:lvl6pPr lvl="5" algn="ctr" rtl="0">
              <a:lnSpc>
                <a:spcPct val="100000"/>
              </a:lnSpc>
              <a:spcBef>
                <a:spcPts val="0"/>
              </a:spcBef>
              <a:spcAft>
                <a:spcPts val="0"/>
              </a:spcAft>
              <a:buSzPts val="2000"/>
              <a:buNone/>
              <a:defRPr sz="2667"/>
            </a:lvl6pPr>
            <a:lvl7pPr lvl="6" algn="ctr" rtl="0">
              <a:lnSpc>
                <a:spcPct val="100000"/>
              </a:lnSpc>
              <a:spcBef>
                <a:spcPts val="0"/>
              </a:spcBef>
              <a:spcAft>
                <a:spcPts val="0"/>
              </a:spcAft>
              <a:buSzPts val="2000"/>
              <a:buNone/>
              <a:defRPr sz="2667"/>
            </a:lvl7pPr>
            <a:lvl8pPr lvl="7" algn="ctr" rtl="0">
              <a:lnSpc>
                <a:spcPct val="100000"/>
              </a:lnSpc>
              <a:spcBef>
                <a:spcPts val="0"/>
              </a:spcBef>
              <a:spcAft>
                <a:spcPts val="0"/>
              </a:spcAft>
              <a:buSzPts val="2000"/>
              <a:buNone/>
              <a:defRPr sz="2667"/>
            </a:lvl8pPr>
            <a:lvl9pPr lvl="8" algn="ctr" rtl="0">
              <a:lnSpc>
                <a:spcPct val="100000"/>
              </a:lnSpc>
              <a:spcBef>
                <a:spcPts val="0"/>
              </a:spcBef>
              <a:spcAft>
                <a:spcPts val="0"/>
              </a:spcAft>
              <a:buSzPts val="2000"/>
              <a:buNone/>
              <a:defRPr sz="2667"/>
            </a:lvl9pPr>
          </a:lstStyle>
          <a:p>
            <a:endParaRPr/>
          </a:p>
        </p:txBody>
      </p:sp>
      <p:sp>
        <p:nvSpPr>
          <p:cNvPr id="56" name="Google Shape;56;p2"/>
          <p:cNvSpPr/>
          <p:nvPr/>
        </p:nvSpPr>
        <p:spPr>
          <a:xfrm>
            <a:off x="781184" y="-1458616"/>
            <a:ext cx="1532000" cy="30536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57" name="Google Shape;57;p2"/>
          <p:cNvSpPr/>
          <p:nvPr/>
        </p:nvSpPr>
        <p:spPr>
          <a:xfrm>
            <a:off x="951348" y="47615"/>
            <a:ext cx="1166797" cy="929835"/>
          </a:xfrm>
          <a:custGeom>
            <a:avLst/>
            <a:gdLst/>
            <a:ahLst/>
            <a:cxnLst/>
            <a:rect l="l" t="t" r="r" b="b"/>
            <a:pathLst>
              <a:path w="26230" h="20903" extrusionOk="0">
                <a:moveTo>
                  <a:pt x="20529" y="298"/>
                </a:moveTo>
                <a:cubicBezTo>
                  <a:pt x="20662" y="298"/>
                  <a:pt x="20797" y="312"/>
                  <a:pt x="20931" y="341"/>
                </a:cubicBezTo>
                <a:cubicBezTo>
                  <a:pt x="21419" y="448"/>
                  <a:pt x="21848" y="745"/>
                  <a:pt x="22122" y="1174"/>
                </a:cubicBezTo>
                <a:cubicBezTo>
                  <a:pt x="25884" y="7020"/>
                  <a:pt x="24182" y="14842"/>
                  <a:pt x="18336" y="18605"/>
                </a:cubicBezTo>
                <a:cubicBezTo>
                  <a:pt x="16300" y="19914"/>
                  <a:pt x="13942" y="20617"/>
                  <a:pt x="11537" y="20617"/>
                </a:cubicBezTo>
                <a:cubicBezTo>
                  <a:pt x="10644" y="20617"/>
                  <a:pt x="9727" y="20510"/>
                  <a:pt x="8846" y="20319"/>
                </a:cubicBezTo>
                <a:cubicBezTo>
                  <a:pt x="5548" y="19605"/>
                  <a:pt x="2727" y="17652"/>
                  <a:pt x="905" y="14819"/>
                </a:cubicBezTo>
                <a:cubicBezTo>
                  <a:pt x="345" y="13937"/>
                  <a:pt x="595" y="12759"/>
                  <a:pt x="1476" y="12199"/>
                </a:cubicBezTo>
                <a:cubicBezTo>
                  <a:pt x="1786" y="11997"/>
                  <a:pt x="2143" y="11902"/>
                  <a:pt x="2500" y="11902"/>
                </a:cubicBezTo>
                <a:cubicBezTo>
                  <a:pt x="2631" y="11902"/>
                  <a:pt x="2762" y="11913"/>
                  <a:pt x="2905" y="11949"/>
                </a:cubicBezTo>
                <a:cubicBezTo>
                  <a:pt x="3393" y="12056"/>
                  <a:pt x="3822" y="12342"/>
                  <a:pt x="4096" y="12771"/>
                </a:cubicBezTo>
                <a:cubicBezTo>
                  <a:pt x="5370" y="14747"/>
                  <a:pt x="7334" y="16116"/>
                  <a:pt x="9644" y="16616"/>
                </a:cubicBezTo>
                <a:cubicBezTo>
                  <a:pt x="10275" y="16754"/>
                  <a:pt x="10912" y="16822"/>
                  <a:pt x="11544" y="16822"/>
                </a:cubicBezTo>
                <a:cubicBezTo>
                  <a:pt x="13214" y="16822"/>
                  <a:pt x="14854" y="16347"/>
                  <a:pt x="16288" y="15414"/>
                </a:cubicBezTo>
                <a:cubicBezTo>
                  <a:pt x="20384" y="12783"/>
                  <a:pt x="21574" y="7318"/>
                  <a:pt x="18943" y="3222"/>
                </a:cubicBezTo>
                <a:cubicBezTo>
                  <a:pt x="18371" y="2341"/>
                  <a:pt x="18621" y="1162"/>
                  <a:pt x="19503" y="603"/>
                </a:cubicBezTo>
                <a:cubicBezTo>
                  <a:pt x="19816" y="402"/>
                  <a:pt x="20167" y="298"/>
                  <a:pt x="20529" y="298"/>
                </a:cubicBezTo>
                <a:close/>
                <a:moveTo>
                  <a:pt x="20512" y="0"/>
                </a:moveTo>
                <a:cubicBezTo>
                  <a:pt x="20101" y="0"/>
                  <a:pt x="19700" y="121"/>
                  <a:pt x="19348" y="352"/>
                </a:cubicBezTo>
                <a:cubicBezTo>
                  <a:pt x="18324" y="1007"/>
                  <a:pt x="18038" y="2365"/>
                  <a:pt x="18693" y="3377"/>
                </a:cubicBezTo>
                <a:cubicBezTo>
                  <a:pt x="21229" y="7330"/>
                  <a:pt x="20086" y="12616"/>
                  <a:pt x="16133" y="15164"/>
                </a:cubicBezTo>
                <a:cubicBezTo>
                  <a:pt x="14738" y="16065"/>
                  <a:pt x="13148" y="16525"/>
                  <a:pt x="11527" y="16525"/>
                </a:cubicBezTo>
                <a:cubicBezTo>
                  <a:pt x="10920" y="16525"/>
                  <a:pt x="10310" y="16460"/>
                  <a:pt x="9704" y="16331"/>
                </a:cubicBezTo>
                <a:cubicBezTo>
                  <a:pt x="7477" y="15842"/>
                  <a:pt x="5572" y="14521"/>
                  <a:pt x="4346" y="12604"/>
                </a:cubicBezTo>
                <a:cubicBezTo>
                  <a:pt x="4024" y="12116"/>
                  <a:pt x="3536" y="11771"/>
                  <a:pt x="2965" y="11651"/>
                </a:cubicBezTo>
                <a:cubicBezTo>
                  <a:pt x="2807" y="11619"/>
                  <a:pt x="2649" y="11602"/>
                  <a:pt x="2491" y="11602"/>
                </a:cubicBezTo>
                <a:cubicBezTo>
                  <a:pt x="2078" y="11602"/>
                  <a:pt x="1672" y="11716"/>
                  <a:pt x="1310" y="11949"/>
                </a:cubicBezTo>
                <a:cubicBezTo>
                  <a:pt x="298" y="12604"/>
                  <a:pt x="0" y="13961"/>
                  <a:pt x="655" y="14973"/>
                </a:cubicBezTo>
                <a:cubicBezTo>
                  <a:pt x="2524" y="17878"/>
                  <a:pt x="5406" y="19879"/>
                  <a:pt x="8775" y="20605"/>
                </a:cubicBezTo>
                <a:cubicBezTo>
                  <a:pt x="9692" y="20807"/>
                  <a:pt x="10620" y="20903"/>
                  <a:pt x="11537" y="20903"/>
                </a:cubicBezTo>
                <a:cubicBezTo>
                  <a:pt x="14002" y="20903"/>
                  <a:pt x="16407" y="20200"/>
                  <a:pt x="18502" y="18843"/>
                </a:cubicBezTo>
                <a:cubicBezTo>
                  <a:pt x="24491" y="14997"/>
                  <a:pt x="26230" y="6996"/>
                  <a:pt x="22372" y="1007"/>
                </a:cubicBezTo>
                <a:cubicBezTo>
                  <a:pt x="22050" y="519"/>
                  <a:pt x="21562" y="174"/>
                  <a:pt x="20991" y="55"/>
                </a:cubicBezTo>
                <a:cubicBezTo>
                  <a:pt x="20831" y="18"/>
                  <a:pt x="20671" y="0"/>
                  <a:pt x="20512" y="0"/>
                </a:cubicBezTo>
                <a:close/>
              </a:path>
            </a:pathLst>
          </a:cu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58" name="Google Shape;58;p2"/>
          <p:cNvSpPr/>
          <p:nvPr/>
        </p:nvSpPr>
        <p:spPr>
          <a:xfrm>
            <a:off x="833736" y="54199"/>
            <a:ext cx="1150961" cy="916891"/>
          </a:xfrm>
          <a:custGeom>
            <a:avLst/>
            <a:gdLst/>
            <a:ahLst/>
            <a:cxnLst/>
            <a:rect l="l" t="t" r="r" b="b"/>
            <a:pathLst>
              <a:path w="25874" h="20612" extrusionOk="0">
                <a:moveTo>
                  <a:pt x="20350" y="1"/>
                </a:moveTo>
                <a:cubicBezTo>
                  <a:pt x="19973" y="1"/>
                  <a:pt x="19591" y="105"/>
                  <a:pt x="19253" y="324"/>
                </a:cubicBezTo>
                <a:cubicBezTo>
                  <a:pt x="18301" y="931"/>
                  <a:pt x="18027" y="2205"/>
                  <a:pt x="18634" y="3145"/>
                </a:cubicBezTo>
                <a:cubicBezTo>
                  <a:pt x="21230" y="7170"/>
                  <a:pt x="20063" y="12551"/>
                  <a:pt x="16039" y="15135"/>
                </a:cubicBezTo>
                <a:cubicBezTo>
                  <a:pt x="14617" y="16053"/>
                  <a:pt x="13001" y="16524"/>
                  <a:pt x="11354" y="16524"/>
                </a:cubicBezTo>
                <a:cubicBezTo>
                  <a:pt x="10738" y="16524"/>
                  <a:pt x="10118" y="16458"/>
                  <a:pt x="9502" y="16326"/>
                </a:cubicBezTo>
                <a:cubicBezTo>
                  <a:pt x="7240" y="15837"/>
                  <a:pt x="5299" y="14492"/>
                  <a:pt x="4049" y="12539"/>
                </a:cubicBezTo>
                <a:cubicBezTo>
                  <a:pt x="3654" y="11932"/>
                  <a:pt x="2998" y="11601"/>
                  <a:pt x="2331" y="11601"/>
                </a:cubicBezTo>
                <a:cubicBezTo>
                  <a:pt x="1951" y="11601"/>
                  <a:pt x="1568" y="11708"/>
                  <a:pt x="1227" y="11932"/>
                </a:cubicBezTo>
                <a:cubicBezTo>
                  <a:pt x="275" y="12539"/>
                  <a:pt x="1" y="13801"/>
                  <a:pt x="608" y="14754"/>
                </a:cubicBezTo>
                <a:cubicBezTo>
                  <a:pt x="2454" y="17611"/>
                  <a:pt x="5299" y="19588"/>
                  <a:pt x="8633" y="20314"/>
                </a:cubicBezTo>
                <a:cubicBezTo>
                  <a:pt x="9538" y="20517"/>
                  <a:pt x="10455" y="20612"/>
                  <a:pt x="11371" y="20612"/>
                </a:cubicBezTo>
                <a:cubicBezTo>
                  <a:pt x="13788" y="20612"/>
                  <a:pt x="16158" y="19921"/>
                  <a:pt x="18241" y="18576"/>
                </a:cubicBezTo>
                <a:cubicBezTo>
                  <a:pt x="24159" y="14766"/>
                  <a:pt x="25873" y="6860"/>
                  <a:pt x="22075" y="943"/>
                </a:cubicBezTo>
                <a:cubicBezTo>
                  <a:pt x="21686" y="333"/>
                  <a:pt x="21024" y="1"/>
                  <a:pt x="20350" y="1"/>
                </a:cubicBezTo>
                <a:close/>
              </a:path>
            </a:pathLst>
          </a:cu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59" name="Google Shape;59;p2"/>
          <p:cNvSpPr/>
          <p:nvPr/>
        </p:nvSpPr>
        <p:spPr>
          <a:xfrm>
            <a:off x="1605429" y="1210317"/>
            <a:ext cx="217168" cy="384692"/>
          </a:xfrm>
          <a:custGeom>
            <a:avLst/>
            <a:gdLst/>
            <a:ahLst/>
            <a:cxnLst/>
            <a:rect l="l" t="t" r="r" b="b"/>
            <a:pathLst>
              <a:path w="4882" h="8648" extrusionOk="0">
                <a:moveTo>
                  <a:pt x="821" y="0"/>
                </a:moveTo>
                <a:cubicBezTo>
                  <a:pt x="654" y="0"/>
                  <a:pt x="486" y="55"/>
                  <a:pt x="346" y="170"/>
                </a:cubicBezTo>
                <a:cubicBezTo>
                  <a:pt x="167" y="313"/>
                  <a:pt x="84" y="527"/>
                  <a:pt x="84" y="742"/>
                </a:cubicBezTo>
                <a:cubicBezTo>
                  <a:pt x="84" y="908"/>
                  <a:pt x="131" y="1075"/>
                  <a:pt x="250" y="1218"/>
                </a:cubicBezTo>
                <a:lnTo>
                  <a:pt x="3060" y="4623"/>
                </a:lnTo>
                <a:lnTo>
                  <a:pt x="298" y="7373"/>
                </a:lnTo>
                <a:cubicBezTo>
                  <a:pt x="12" y="7671"/>
                  <a:pt x="0" y="8135"/>
                  <a:pt x="298" y="8433"/>
                </a:cubicBezTo>
                <a:cubicBezTo>
                  <a:pt x="441" y="8576"/>
                  <a:pt x="631" y="8647"/>
                  <a:pt x="822" y="8647"/>
                </a:cubicBezTo>
                <a:cubicBezTo>
                  <a:pt x="1012" y="8647"/>
                  <a:pt x="1203" y="8576"/>
                  <a:pt x="1346" y="8433"/>
                </a:cubicBezTo>
                <a:lnTo>
                  <a:pt x="4584" y="5194"/>
                </a:lnTo>
                <a:cubicBezTo>
                  <a:pt x="4858" y="4933"/>
                  <a:pt x="4882" y="4492"/>
                  <a:pt x="4632" y="4206"/>
                </a:cubicBezTo>
                <a:lnTo>
                  <a:pt x="1393" y="265"/>
                </a:lnTo>
                <a:cubicBezTo>
                  <a:pt x="1246" y="91"/>
                  <a:pt x="1035" y="0"/>
                  <a:pt x="821" y="0"/>
                </a:cubicBezTo>
                <a:close/>
              </a:path>
            </a:pathLst>
          </a:cu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60" name="Google Shape;60;p2"/>
          <p:cNvSpPr/>
          <p:nvPr/>
        </p:nvSpPr>
        <p:spPr>
          <a:xfrm>
            <a:off x="1271761" y="1210317"/>
            <a:ext cx="217168" cy="384692"/>
          </a:xfrm>
          <a:custGeom>
            <a:avLst/>
            <a:gdLst/>
            <a:ahLst/>
            <a:cxnLst/>
            <a:rect l="l" t="t" r="r" b="b"/>
            <a:pathLst>
              <a:path w="4882" h="8648" extrusionOk="0">
                <a:moveTo>
                  <a:pt x="821" y="0"/>
                </a:moveTo>
                <a:cubicBezTo>
                  <a:pt x="655" y="0"/>
                  <a:pt x="486" y="55"/>
                  <a:pt x="346" y="170"/>
                </a:cubicBezTo>
                <a:cubicBezTo>
                  <a:pt x="167" y="313"/>
                  <a:pt x="72" y="527"/>
                  <a:pt x="72" y="742"/>
                </a:cubicBezTo>
                <a:cubicBezTo>
                  <a:pt x="72" y="908"/>
                  <a:pt x="131" y="1075"/>
                  <a:pt x="238" y="1218"/>
                </a:cubicBezTo>
                <a:lnTo>
                  <a:pt x="3060" y="4623"/>
                </a:lnTo>
                <a:lnTo>
                  <a:pt x="298" y="7373"/>
                </a:lnTo>
                <a:cubicBezTo>
                  <a:pt x="0" y="7671"/>
                  <a:pt x="0" y="8135"/>
                  <a:pt x="298" y="8433"/>
                </a:cubicBezTo>
                <a:cubicBezTo>
                  <a:pt x="441" y="8576"/>
                  <a:pt x="628" y="8647"/>
                  <a:pt x="817" y="8647"/>
                </a:cubicBezTo>
                <a:cubicBezTo>
                  <a:pt x="1006" y="8647"/>
                  <a:pt x="1197" y="8576"/>
                  <a:pt x="1346" y="8433"/>
                </a:cubicBezTo>
                <a:lnTo>
                  <a:pt x="4584" y="5194"/>
                </a:lnTo>
                <a:cubicBezTo>
                  <a:pt x="4858" y="4933"/>
                  <a:pt x="4882" y="4492"/>
                  <a:pt x="4632" y="4206"/>
                </a:cubicBezTo>
                <a:lnTo>
                  <a:pt x="1393" y="265"/>
                </a:lnTo>
                <a:cubicBezTo>
                  <a:pt x="1246" y="91"/>
                  <a:pt x="1035" y="0"/>
                  <a:pt x="821" y="0"/>
                </a:cubicBezTo>
                <a:close/>
              </a:path>
            </a:pathLst>
          </a:cu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61" name="Google Shape;61;p2"/>
          <p:cNvSpPr/>
          <p:nvPr/>
        </p:nvSpPr>
        <p:spPr>
          <a:xfrm>
            <a:off x="1438573" y="1210317"/>
            <a:ext cx="217212" cy="384692"/>
          </a:xfrm>
          <a:custGeom>
            <a:avLst/>
            <a:gdLst/>
            <a:ahLst/>
            <a:cxnLst/>
            <a:rect l="l" t="t" r="r" b="b"/>
            <a:pathLst>
              <a:path w="4883" h="8648" extrusionOk="0">
                <a:moveTo>
                  <a:pt x="822" y="0"/>
                </a:moveTo>
                <a:cubicBezTo>
                  <a:pt x="655" y="0"/>
                  <a:pt x="487" y="55"/>
                  <a:pt x="346" y="170"/>
                </a:cubicBezTo>
                <a:cubicBezTo>
                  <a:pt x="168" y="313"/>
                  <a:pt x="72" y="527"/>
                  <a:pt x="72" y="742"/>
                </a:cubicBezTo>
                <a:cubicBezTo>
                  <a:pt x="72" y="908"/>
                  <a:pt x="132" y="1075"/>
                  <a:pt x="251" y="1218"/>
                </a:cubicBezTo>
                <a:lnTo>
                  <a:pt x="3061" y="4623"/>
                </a:lnTo>
                <a:lnTo>
                  <a:pt x="298" y="7373"/>
                </a:lnTo>
                <a:cubicBezTo>
                  <a:pt x="1" y="7671"/>
                  <a:pt x="1" y="8135"/>
                  <a:pt x="298" y="8433"/>
                </a:cubicBezTo>
                <a:cubicBezTo>
                  <a:pt x="441" y="8576"/>
                  <a:pt x="629" y="8647"/>
                  <a:pt x="818" y="8647"/>
                </a:cubicBezTo>
                <a:cubicBezTo>
                  <a:pt x="1007" y="8647"/>
                  <a:pt x="1197" y="8576"/>
                  <a:pt x="1346" y="8433"/>
                </a:cubicBezTo>
                <a:lnTo>
                  <a:pt x="4585" y="5194"/>
                </a:lnTo>
                <a:cubicBezTo>
                  <a:pt x="4859" y="4933"/>
                  <a:pt x="4882" y="4492"/>
                  <a:pt x="4632" y="4206"/>
                </a:cubicBezTo>
                <a:lnTo>
                  <a:pt x="1394" y="265"/>
                </a:lnTo>
                <a:cubicBezTo>
                  <a:pt x="1247" y="91"/>
                  <a:pt x="1035" y="0"/>
                  <a:pt x="822" y="0"/>
                </a:cubicBezTo>
                <a:close/>
              </a:path>
            </a:pathLst>
          </a:cu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62" name="Google Shape;62;p2"/>
          <p:cNvSpPr/>
          <p:nvPr/>
        </p:nvSpPr>
        <p:spPr>
          <a:xfrm>
            <a:off x="4685733" y="-583900"/>
            <a:ext cx="1630000" cy="1630000"/>
          </a:xfrm>
          <a:prstGeom prst="donut">
            <a:avLst>
              <a:gd name="adj" fmla="val 25000"/>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63" name="Google Shape;63;p2"/>
          <p:cNvGrpSpPr/>
          <p:nvPr/>
        </p:nvGrpSpPr>
        <p:grpSpPr>
          <a:xfrm>
            <a:off x="259817" y="4306451"/>
            <a:ext cx="1806400" cy="2335167"/>
            <a:chOff x="194863" y="3229838"/>
            <a:chExt cx="1354800" cy="1751375"/>
          </a:xfrm>
        </p:grpSpPr>
        <p:sp>
          <p:nvSpPr>
            <p:cNvPr id="64" name="Google Shape;64;p2"/>
            <p:cNvSpPr/>
            <p:nvPr/>
          </p:nvSpPr>
          <p:spPr>
            <a:xfrm>
              <a:off x="194863" y="3229850"/>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5" name="Google Shape;65;p2"/>
            <p:cNvSpPr/>
            <p:nvPr/>
          </p:nvSpPr>
          <p:spPr>
            <a:xfrm>
              <a:off x="194863" y="3625841"/>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6" name="Google Shape;66;p2"/>
            <p:cNvSpPr/>
            <p:nvPr/>
          </p:nvSpPr>
          <p:spPr>
            <a:xfrm>
              <a:off x="194863" y="4021831"/>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7" name="Google Shape;67;p2"/>
            <p:cNvSpPr/>
            <p:nvPr/>
          </p:nvSpPr>
          <p:spPr>
            <a:xfrm>
              <a:off x="194863" y="4417822"/>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8" name="Google Shape;68;p2"/>
            <p:cNvSpPr/>
            <p:nvPr/>
          </p:nvSpPr>
          <p:spPr>
            <a:xfrm>
              <a:off x="194863" y="4813813"/>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9" name="Google Shape;69;p2"/>
            <p:cNvSpPr/>
            <p:nvPr/>
          </p:nvSpPr>
          <p:spPr>
            <a:xfrm>
              <a:off x="788563" y="3229838"/>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0" name="Google Shape;70;p2"/>
            <p:cNvSpPr/>
            <p:nvPr/>
          </p:nvSpPr>
          <p:spPr>
            <a:xfrm>
              <a:off x="788563" y="3625828"/>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1" name="Google Shape;71;p2"/>
            <p:cNvSpPr/>
            <p:nvPr/>
          </p:nvSpPr>
          <p:spPr>
            <a:xfrm>
              <a:off x="788563" y="4021819"/>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2" name="Google Shape;72;p2"/>
            <p:cNvSpPr/>
            <p:nvPr/>
          </p:nvSpPr>
          <p:spPr>
            <a:xfrm>
              <a:off x="788563" y="4417809"/>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3" name="Google Shape;73;p2"/>
            <p:cNvSpPr/>
            <p:nvPr/>
          </p:nvSpPr>
          <p:spPr>
            <a:xfrm>
              <a:off x="788563" y="4813800"/>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4" name="Google Shape;74;p2"/>
            <p:cNvSpPr/>
            <p:nvPr/>
          </p:nvSpPr>
          <p:spPr>
            <a:xfrm>
              <a:off x="1382263" y="3229838"/>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5" name="Google Shape;75;p2"/>
            <p:cNvSpPr/>
            <p:nvPr/>
          </p:nvSpPr>
          <p:spPr>
            <a:xfrm>
              <a:off x="1382263" y="3625828"/>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6" name="Google Shape;76;p2"/>
            <p:cNvSpPr/>
            <p:nvPr/>
          </p:nvSpPr>
          <p:spPr>
            <a:xfrm>
              <a:off x="1382263" y="4021819"/>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7" name="Google Shape;77;p2"/>
            <p:cNvSpPr/>
            <p:nvPr/>
          </p:nvSpPr>
          <p:spPr>
            <a:xfrm>
              <a:off x="1382263" y="4417809"/>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8" name="Google Shape;78;p2"/>
            <p:cNvSpPr/>
            <p:nvPr/>
          </p:nvSpPr>
          <p:spPr>
            <a:xfrm>
              <a:off x="1382263" y="4813800"/>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79" name="Google Shape;79;p2"/>
          <p:cNvSpPr/>
          <p:nvPr/>
        </p:nvSpPr>
        <p:spPr>
          <a:xfrm>
            <a:off x="9963206" y="5370131"/>
            <a:ext cx="208500" cy="207843"/>
          </a:xfrm>
          <a:custGeom>
            <a:avLst/>
            <a:gdLst/>
            <a:ahLst/>
            <a:cxnLst/>
            <a:rect l="l" t="t" r="r" b="b"/>
            <a:pathLst>
              <a:path w="3811" h="3799" extrusionOk="0">
                <a:moveTo>
                  <a:pt x="1906" y="0"/>
                </a:moveTo>
                <a:cubicBezTo>
                  <a:pt x="858" y="0"/>
                  <a:pt x="1" y="846"/>
                  <a:pt x="1" y="1893"/>
                </a:cubicBezTo>
                <a:cubicBezTo>
                  <a:pt x="1" y="2953"/>
                  <a:pt x="858" y="3798"/>
                  <a:pt x="1906" y="3798"/>
                </a:cubicBezTo>
                <a:cubicBezTo>
                  <a:pt x="2954" y="3798"/>
                  <a:pt x="3811" y="2953"/>
                  <a:pt x="3811" y="1893"/>
                </a:cubicBezTo>
                <a:cubicBezTo>
                  <a:pt x="3811" y="846"/>
                  <a:pt x="2954" y="0"/>
                  <a:pt x="1906" y="0"/>
                </a:cubicBezTo>
                <a:close/>
              </a:path>
            </a:pathLst>
          </a:cu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80" name="Google Shape;80;p2"/>
          <p:cNvSpPr/>
          <p:nvPr/>
        </p:nvSpPr>
        <p:spPr>
          <a:xfrm>
            <a:off x="9221567" y="5034500"/>
            <a:ext cx="2822000" cy="1630000"/>
          </a:xfrm>
          <a:prstGeom prst="rect">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81" name="Google Shape;81;p2"/>
          <p:cNvGrpSpPr/>
          <p:nvPr/>
        </p:nvGrpSpPr>
        <p:grpSpPr>
          <a:xfrm>
            <a:off x="10426199" y="5059981"/>
            <a:ext cx="1577071" cy="1579040"/>
            <a:chOff x="5623313" y="1574950"/>
            <a:chExt cx="720650" cy="721550"/>
          </a:xfrm>
        </p:grpSpPr>
        <p:sp>
          <p:nvSpPr>
            <p:cNvPr id="82" name="Google Shape;82;p2"/>
            <p:cNvSpPr/>
            <p:nvPr/>
          </p:nvSpPr>
          <p:spPr>
            <a:xfrm>
              <a:off x="5967688" y="1574950"/>
              <a:ext cx="309300" cy="150650"/>
            </a:xfrm>
            <a:custGeom>
              <a:avLst/>
              <a:gdLst/>
              <a:ahLst/>
              <a:cxnLst/>
              <a:rect l="l" t="t" r="r" b="b"/>
              <a:pathLst>
                <a:path w="12372" h="6026" extrusionOk="0">
                  <a:moveTo>
                    <a:pt x="644" y="1"/>
                  </a:moveTo>
                  <a:cubicBezTo>
                    <a:pt x="429" y="1"/>
                    <a:pt x="215" y="13"/>
                    <a:pt x="1" y="25"/>
                  </a:cubicBezTo>
                  <a:lnTo>
                    <a:pt x="12371" y="6025"/>
                  </a:lnTo>
                  <a:cubicBezTo>
                    <a:pt x="11990" y="5490"/>
                    <a:pt x="11585" y="5002"/>
                    <a:pt x="11145" y="4525"/>
                  </a:cubicBezTo>
                  <a:lnTo>
                    <a:pt x="1941" y="60"/>
                  </a:lnTo>
                  <a:cubicBezTo>
                    <a:pt x="1513" y="25"/>
                    <a:pt x="1084" y="1"/>
                    <a:pt x="64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3" name="Google Shape;83;p2"/>
            <p:cNvSpPr/>
            <p:nvPr/>
          </p:nvSpPr>
          <p:spPr>
            <a:xfrm>
              <a:off x="5859638" y="1588050"/>
              <a:ext cx="467350" cy="235775"/>
            </a:xfrm>
            <a:custGeom>
              <a:avLst/>
              <a:gdLst/>
              <a:ahLst/>
              <a:cxnLst/>
              <a:rect l="l" t="t" r="r" b="b"/>
              <a:pathLst>
                <a:path w="18694" h="9431" extrusionOk="0">
                  <a:moveTo>
                    <a:pt x="1108" y="1"/>
                  </a:moveTo>
                  <a:cubicBezTo>
                    <a:pt x="739" y="108"/>
                    <a:pt x="358" y="227"/>
                    <a:pt x="1" y="358"/>
                  </a:cubicBezTo>
                  <a:lnTo>
                    <a:pt x="18693" y="9431"/>
                  </a:lnTo>
                  <a:cubicBezTo>
                    <a:pt x="18574" y="9061"/>
                    <a:pt x="18432" y="8692"/>
                    <a:pt x="18289" y="8335"/>
                  </a:cubicBezTo>
                  <a:lnTo>
                    <a:pt x="110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4" name="Google Shape;84;p2"/>
            <p:cNvSpPr/>
            <p:nvPr/>
          </p:nvSpPr>
          <p:spPr>
            <a:xfrm>
              <a:off x="5784938" y="1622300"/>
              <a:ext cx="558425" cy="283675"/>
            </a:xfrm>
            <a:custGeom>
              <a:avLst/>
              <a:gdLst/>
              <a:ahLst/>
              <a:cxnLst/>
              <a:rect l="l" t="t" r="r" b="b"/>
              <a:pathLst>
                <a:path w="22337" h="11347" extrusionOk="0">
                  <a:moveTo>
                    <a:pt x="810" y="0"/>
                  </a:moveTo>
                  <a:cubicBezTo>
                    <a:pt x="536" y="155"/>
                    <a:pt x="262" y="321"/>
                    <a:pt x="0" y="500"/>
                  </a:cubicBezTo>
                  <a:lnTo>
                    <a:pt x="22336" y="11347"/>
                  </a:lnTo>
                  <a:cubicBezTo>
                    <a:pt x="22313" y="11025"/>
                    <a:pt x="22277" y="10704"/>
                    <a:pt x="22229" y="10394"/>
                  </a:cubicBezTo>
                  <a:lnTo>
                    <a:pt x="81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5" name="Google Shape;85;p2"/>
            <p:cNvSpPr/>
            <p:nvPr/>
          </p:nvSpPr>
          <p:spPr>
            <a:xfrm>
              <a:off x="5728088" y="1666650"/>
              <a:ext cx="615875" cy="312550"/>
            </a:xfrm>
            <a:custGeom>
              <a:avLst/>
              <a:gdLst/>
              <a:ahLst/>
              <a:cxnLst/>
              <a:rect l="l" t="t" r="r" b="b"/>
              <a:pathLst>
                <a:path w="24635" h="12502" extrusionOk="0">
                  <a:moveTo>
                    <a:pt x="631" y="0"/>
                  </a:moveTo>
                  <a:cubicBezTo>
                    <a:pt x="417" y="191"/>
                    <a:pt x="203" y="381"/>
                    <a:pt x="0" y="583"/>
                  </a:cubicBezTo>
                  <a:lnTo>
                    <a:pt x="24563" y="12502"/>
                  </a:lnTo>
                  <a:cubicBezTo>
                    <a:pt x="24598" y="12216"/>
                    <a:pt x="24622" y="11942"/>
                    <a:pt x="24634" y="11644"/>
                  </a:cubicBezTo>
                  <a:lnTo>
                    <a:pt x="63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6" name="Google Shape;86;p2"/>
            <p:cNvSpPr/>
            <p:nvPr/>
          </p:nvSpPr>
          <p:spPr>
            <a:xfrm>
              <a:off x="5684613" y="1717825"/>
              <a:ext cx="648625" cy="328350"/>
            </a:xfrm>
            <a:custGeom>
              <a:avLst/>
              <a:gdLst/>
              <a:ahLst/>
              <a:cxnLst/>
              <a:rect l="l" t="t" r="r" b="b"/>
              <a:pathLst>
                <a:path w="25945" h="13134" extrusionOk="0">
                  <a:moveTo>
                    <a:pt x="477" y="1"/>
                  </a:moveTo>
                  <a:cubicBezTo>
                    <a:pt x="310" y="215"/>
                    <a:pt x="156" y="430"/>
                    <a:pt x="1" y="656"/>
                  </a:cubicBezTo>
                  <a:lnTo>
                    <a:pt x="25718" y="13133"/>
                  </a:lnTo>
                  <a:cubicBezTo>
                    <a:pt x="25802" y="12883"/>
                    <a:pt x="25873" y="12622"/>
                    <a:pt x="25945" y="12360"/>
                  </a:cubicBezTo>
                  <a:lnTo>
                    <a:pt x="47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7" name="Google Shape;87;p2"/>
            <p:cNvSpPr/>
            <p:nvPr/>
          </p:nvSpPr>
          <p:spPr>
            <a:xfrm>
              <a:off x="5652463" y="1774675"/>
              <a:ext cx="657850" cy="333125"/>
            </a:xfrm>
            <a:custGeom>
              <a:avLst/>
              <a:gdLst/>
              <a:ahLst/>
              <a:cxnLst/>
              <a:rect l="l" t="t" r="r" b="b"/>
              <a:pathLst>
                <a:path w="26314" h="13325" extrusionOk="0">
                  <a:moveTo>
                    <a:pt x="346" y="1"/>
                  </a:moveTo>
                  <a:cubicBezTo>
                    <a:pt x="227" y="239"/>
                    <a:pt x="108" y="477"/>
                    <a:pt x="1" y="727"/>
                  </a:cubicBezTo>
                  <a:lnTo>
                    <a:pt x="25957" y="13324"/>
                  </a:lnTo>
                  <a:cubicBezTo>
                    <a:pt x="26088" y="13086"/>
                    <a:pt x="26207" y="12848"/>
                    <a:pt x="26314" y="12598"/>
                  </a:cubicBezTo>
                  <a:lnTo>
                    <a:pt x="34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8" name="Google Shape;88;p2"/>
            <p:cNvSpPr/>
            <p:nvPr/>
          </p:nvSpPr>
          <p:spPr>
            <a:xfrm>
              <a:off x="5631938" y="1836900"/>
              <a:ext cx="644450" cy="326550"/>
            </a:xfrm>
            <a:custGeom>
              <a:avLst/>
              <a:gdLst/>
              <a:ahLst/>
              <a:cxnLst/>
              <a:rect l="l" t="t" r="r" b="b"/>
              <a:pathLst>
                <a:path w="25778" h="13062" extrusionOk="0">
                  <a:moveTo>
                    <a:pt x="203" y="0"/>
                  </a:moveTo>
                  <a:cubicBezTo>
                    <a:pt x="119" y="262"/>
                    <a:pt x="60" y="536"/>
                    <a:pt x="0" y="798"/>
                  </a:cubicBezTo>
                  <a:lnTo>
                    <a:pt x="25277" y="13062"/>
                  </a:lnTo>
                  <a:cubicBezTo>
                    <a:pt x="25444" y="12859"/>
                    <a:pt x="25611" y="12633"/>
                    <a:pt x="25777" y="12419"/>
                  </a:cubicBezTo>
                  <a:lnTo>
                    <a:pt x="20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9" name="Google Shape;89;p2"/>
            <p:cNvSpPr/>
            <p:nvPr/>
          </p:nvSpPr>
          <p:spPr>
            <a:xfrm>
              <a:off x="5623313" y="1905050"/>
              <a:ext cx="607225" cy="308700"/>
            </a:xfrm>
            <a:custGeom>
              <a:avLst/>
              <a:gdLst/>
              <a:ahLst/>
              <a:cxnLst/>
              <a:rect l="l" t="t" r="r" b="b"/>
              <a:pathLst>
                <a:path w="24289" h="12348" extrusionOk="0">
                  <a:moveTo>
                    <a:pt x="48" y="1"/>
                  </a:moveTo>
                  <a:cubicBezTo>
                    <a:pt x="24" y="287"/>
                    <a:pt x="12" y="584"/>
                    <a:pt x="0" y="870"/>
                  </a:cubicBezTo>
                  <a:lnTo>
                    <a:pt x="23634" y="12348"/>
                  </a:lnTo>
                  <a:cubicBezTo>
                    <a:pt x="23860" y="12157"/>
                    <a:pt x="24075" y="11967"/>
                    <a:pt x="24289" y="11764"/>
                  </a:cubicBezTo>
                  <a:lnTo>
                    <a:pt x="48" y="1"/>
                  </a:lnTo>
                  <a:close/>
                </a:path>
              </a:pathLst>
            </a:custGeom>
            <a:solidFill>
              <a:srgbClr val="FFDE2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0" name="Google Shape;90;p2"/>
            <p:cNvSpPr/>
            <p:nvPr/>
          </p:nvSpPr>
          <p:spPr>
            <a:xfrm>
              <a:off x="5625688" y="1979775"/>
              <a:ext cx="545325" cy="276550"/>
            </a:xfrm>
            <a:custGeom>
              <a:avLst/>
              <a:gdLst/>
              <a:ahLst/>
              <a:cxnLst/>
              <a:rect l="l" t="t" r="r" b="b"/>
              <a:pathLst>
                <a:path w="21813" h="11062" extrusionOk="0">
                  <a:moveTo>
                    <a:pt x="0" y="0"/>
                  </a:moveTo>
                  <a:cubicBezTo>
                    <a:pt x="48" y="322"/>
                    <a:pt x="96" y="643"/>
                    <a:pt x="155" y="965"/>
                  </a:cubicBezTo>
                  <a:lnTo>
                    <a:pt x="20955" y="11061"/>
                  </a:lnTo>
                  <a:cubicBezTo>
                    <a:pt x="21253" y="10906"/>
                    <a:pt x="21539" y="10752"/>
                    <a:pt x="21813" y="10585"/>
                  </a:cubicBezTo>
                  <a:lnTo>
                    <a:pt x="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1" name="Google Shape;91;p2"/>
            <p:cNvSpPr/>
            <p:nvPr/>
          </p:nvSpPr>
          <p:spPr>
            <a:xfrm>
              <a:off x="5646513" y="2064000"/>
              <a:ext cx="445625" cy="224175"/>
            </a:xfrm>
            <a:custGeom>
              <a:avLst/>
              <a:gdLst/>
              <a:ahLst/>
              <a:cxnLst/>
              <a:rect l="l" t="t" r="r" b="b"/>
              <a:pathLst>
                <a:path w="17825" h="8967" extrusionOk="0">
                  <a:moveTo>
                    <a:pt x="1" y="1"/>
                  </a:moveTo>
                  <a:lnTo>
                    <a:pt x="1" y="1"/>
                  </a:lnTo>
                  <a:cubicBezTo>
                    <a:pt x="144" y="382"/>
                    <a:pt x="310" y="763"/>
                    <a:pt x="477" y="1120"/>
                  </a:cubicBezTo>
                  <a:lnTo>
                    <a:pt x="16634" y="8966"/>
                  </a:lnTo>
                  <a:cubicBezTo>
                    <a:pt x="17039" y="8871"/>
                    <a:pt x="17432" y="8764"/>
                    <a:pt x="17824" y="8645"/>
                  </a:cubicBezTo>
                  <a:lnTo>
                    <a:pt x="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2" name="Google Shape;92;p2"/>
            <p:cNvSpPr/>
            <p:nvPr/>
          </p:nvSpPr>
          <p:spPr>
            <a:xfrm>
              <a:off x="5707238" y="2167600"/>
              <a:ext cx="265550" cy="128900"/>
            </a:xfrm>
            <a:custGeom>
              <a:avLst/>
              <a:gdLst/>
              <a:ahLst/>
              <a:cxnLst/>
              <a:rect l="l" t="t" r="r" b="b"/>
              <a:pathLst>
                <a:path w="10622" h="5156" extrusionOk="0">
                  <a:moveTo>
                    <a:pt x="1" y="0"/>
                  </a:moveTo>
                  <a:lnTo>
                    <a:pt x="1" y="0"/>
                  </a:lnTo>
                  <a:cubicBezTo>
                    <a:pt x="525" y="619"/>
                    <a:pt x="1096" y="1191"/>
                    <a:pt x="1715" y="1727"/>
                  </a:cubicBezTo>
                  <a:lnTo>
                    <a:pt x="8228" y="4882"/>
                  </a:lnTo>
                  <a:cubicBezTo>
                    <a:pt x="9014" y="5037"/>
                    <a:pt x="9811" y="5132"/>
                    <a:pt x="10621" y="5156"/>
                  </a:cubicBezTo>
                  <a:lnTo>
                    <a:pt x="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93" name="Google Shape;93;p2"/>
          <p:cNvSpPr/>
          <p:nvPr/>
        </p:nvSpPr>
        <p:spPr>
          <a:xfrm>
            <a:off x="9533288" y="6041706"/>
            <a:ext cx="459947" cy="460604"/>
          </a:xfrm>
          <a:custGeom>
            <a:avLst/>
            <a:gdLst/>
            <a:ahLst/>
            <a:cxnLst/>
            <a:rect l="l" t="t" r="r" b="b"/>
            <a:pathLst>
              <a:path w="8407" h="8419" extrusionOk="0">
                <a:moveTo>
                  <a:pt x="1" y="1"/>
                </a:moveTo>
                <a:lnTo>
                  <a:pt x="1" y="8418"/>
                </a:lnTo>
                <a:lnTo>
                  <a:pt x="8406" y="8418"/>
                </a:lnTo>
                <a:lnTo>
                  <a:pt x="8406" y="1"/>
                </a:lnTo>
                <a:close/>
              </a:path>
            </a:pathLst>
          </a:cu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94" name="Google Shape;94;p2"/>
          <p:cNvSpPr/>
          <p:nvPr/>
        </p:nvSpPr>
        <p:spPr>
          <a:xfrm>
            <a:off x="9376979" y="5940765"/>
            <a:ext cx="476852" cy="476852"/>
          </a:xfrm>
          <a:custGeom>
            <a:avLst/>
            <a:gdLst/>
            <a:ahLst/>
            <a:cxnLst/>
            <a:rect l="l" t="t" r="r" b="b"/>
            <a:pathLst>
              <a:path w="8716" h="8716" extrusionOk="0">
                <a:moveTo>
                  <a:pt x="8418" y="298"/>
                </a:moveTo>
                <a:lnTo>
                  <a:pt x="8418" y="8418"/>
                </a:lnTo>
                <a:lnTo>
                  <a:pt x="298" y="8418"/>
                </a:lnTo>
                <a:lnTo>
                  <a:pt x="298" y="298"/>
                </a:lnTo>
                <a:close/>
                <a:moveTo>
                  <a:pt x="0" y="0"/>
                </a:moveTo>
                <a:lnTo>
                  <a:pt x="0" y="8715"/>
                </a:lnTo>
                <a:lnTo>
                  <a:pt x="8716" y="8715"/>
                </a:lnTo>
                <a:lnTo>
                  <a:pt x="8716" y="0"/>
                </a:lnTo>
                <a:close/>
              </a:path>
            </a:pathLst>
          </a:cu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95" name="Google Shape;95;p2"/>
          <p:cNvSpPr/>
          <p:nvPr/>
        </p:nvSpPr>
        <p:spPr>
          <a:xfrm>
            <a:off x="9478577" y="5334952"/>
            <a:ext cx="108819" cy="108819"/>
          </a:xfrm>
          <a:custGeom>
            <a:avLst/>
            <a:gdLst/>
            <a:ahLst/>
            <a:cxnLst/>
            <a:rect l="l" t="t" r="r" b="b"/>
            <a:pathLst>
              <a:path w="1989" h="1989" extrusionOk="0">
                <a:moveTo>
                  <a:pt x="1001" y="0"/>
                </a:moveTo>
                <a:cubicBezTo>
                  <a:pt x="441" y="0"/>
                  <a:pt x="1" y="441"/>
                  <a:pt x="1" y="989"/>
                </a:cubicBezTo>
                <a:cubicBezTo>
                  <a:pt x="1" y="1548"/>
                  <a:pt x="453" y="1989"/>
                  <a:pt x="1001" y="1989"/>
                </a:cubicBezTo>
                <a:cubicBezTo>
                  <a:pt x="1548" y="1989"/>
                  <a:pt x="1989" y="1548"/>
                  <a:pt x="1989" y="989"/>
                </a:cubicBezTo>
                <a:cubicBezTo>
                  <a:pt x="1989" y="441"/>
                  <a:pt x="1548" y="0"/>
                  <a:pt x="1001" y="0"/>
                </a:cubicBezTo>
                <a:close/>
              </a:path>
            </a:pathLst>
          </a:cu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96" name="Google Shape;96;p2"/>
          <p:cNvSpPr txBox="1">
            <a:spLocks noGrp="1"/>
          </p:cNvSpPr>
          <p:nvPr>
            <p:ph type="subTitle" idx="3"/>
          </p:nvPr>
        </p:nvSpPr>
        <p:spPr>
          <a:xfrm>
            <a:off x="960000" y="4837384"/>
            <a:ext cx="10272000" cy="4396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2800"/>
              <a:buNone/>
              <a:defRPr>
                <a:solidFill>
                  <a:srgbClr val="FF7DAC"/>
                </a:solidFill>
              </a:defRPr>
            </a:lvl1pPr>
            <a:lvl2pPr lvl="1" algn="ctr" rtl="0">
              <a:lnSpc>
                <a:spcPct val="100000"/>
              </a:lnSpc>
              <a:spcBef>
                <a:spcPts val="0"/>
              </a:spcBef>
              <a:spcAft>
                <a:spcPts val="0"/>
              </a:spcAft>
              <a:buSzPts val="2800"/>
              <a:buNone/>
              <a:defRPr sz="3733"/>
            </a:lvl2pPr>
            <a:lvl3pPr lvl="2" algn="ctr" rtl="0">
              <a:lnSpc>
                <a:spcPct val="100000"/>
              </a:lnSpc>
              <a:spcBef>
                <a:spcPts val="0"/>
              </a:spcBef>
              <a:spcAft>
                <a:spcPts val="0"/>
              </a:spcAft>
              <a:buSzPts val="2800"/>
              <a:buNone/>
              <a:defRPr sz="3733"/>
            </a:lvl3pPr>
            <a:lvl4pPr lvl="3" algn="ctr" rtl="0">
              <a:lnSpc>
                <a:spcPct val="100000"/>
              </a:lnSpc>
              <a:spcBef>
                <a:spcPts val="0"/>
              </a:spcBef>
              <a:spcAft>
                <a:spcPts val="0"/>
              </a:spcAft>
              <a:buSzPts val="2800"/>
              <a:buNone/>
              <a:defRPr sz="3733"/>
            </a:lvl4pPr>
            <a:lvl5pPr lvl="4" algn="ctr" rtl="0">
              <a:lnSpc>
                <a:spcPct val="100000"/>
              </a:lnSpc>
              <a:spcBef>
                <a:spcPts val="0"/>
              </a:spcBef>
              <a:spcAft>
                <a:spcPts val="0"/>
              </a:spcAft>
              <a:buSzPts val="2800"/>
              <a:buNone/>
              <a:defRPr sz="3733"/>
            </a:lvl5pPr>
            <a:lvl6pPr lvl="5" algn="ctr" rtl="0">
              <a:lnSpc>
                <a:spcPct val="100000"/>
              </a:lnSpc>
              <a:spcBef>
                <a:spcPts val="0"/>
              </a:spcBef>
              <a:spcAft>
                <a:spcPts val="0"/>
              </a:spcAft>
              <a:buSzPts val="2800"/>
              <a:buNone/>
              <a:defRPr sz="3733"/>
            </a:lvl6pPr>
            <a:lvl7pPr lvl="6" algn="ctr" rtl="0">
              <a:lnSpc>
                <a:spcPct val="100000"/>
              </a:lnSpc>
              <a:spcBef>
                <a:spcPts val="0"/>
              </a:spcBef>
              <a:spcAft>
                <a:spcPts val="0"/>
              </a:spcAft>
              <a:buSzPts val="2800"/>
              <a:buNone/>
              <a:defRPr sz="3733"/>
            </a:lvl7pPr>
            <a:lvl8pPr lvl="7" algn="ctr" rtl="0">
              <a:lnSpc>
                <a:spcPct val="100000"/>
              </a:lnSpc>
              <a:spcBef>
                <a:spcPts val="0"/>
              </a:spcBef>
              <a:spcAft>
                <a:spcPts val="0"/>
              </a:spcAft>
              <a:buSzPts val="2800"/>
              <a:buNone/>
              <a:defRPr sz="3733"/>
            </a:lvl8pPr>
            <a:lvl9pPr lvl="8" algn="ctr" rtl="0">
              <a:lnSpc>
                <a:spcPct val="100000"/>
              </a:lnSpc>
              <a:spcBef>
                <a:spcPts val="0"/>
              </a:spcBef>
              <a:spcAft>
                <a:spcPts val="0"/>
              </a:spcAft>
              <a:buSzPts val="2800"/>
              <a:buNone/>
              <a:defRPr sz="3733"/>
            </a:lvl9pPr>
          </a:lstStyle>
          <a:p>
            <a:endParaRPr/>
          </a:p>
        </p:txBody>
      </p:sp>
    </p:spTree>
    <p:extLst>
      <p:ext uri="{BB962C8B-B14F-4D97-AF65-F5344CB8AC3E}">
        <p14:creationId xmlns:p14="http://schemas.microsoft.com/office/powerpoint/2010/main" val="114161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97"/>
        <p:cNvGrpSpPr/>
        <p:nvPr/>
      </p:nvGrpSpPr>
      <p:grpSpPr>
        <a:xfrm>
          <a:off x="0" y="0"/>
          <a:ext cx="0" cy="0"/>
          <a:chOff x="0" y="0"/>
          <a:chExt cx="0" cy="0"/>
        </a:xfrm>
      </p:grpSpPr>
      <p:grpSp>
        <p:nvGrpSpPr>
          <p:cNvPr id="98" name="Google Shape;98;p3"/>
          <p:cNvGrpSpPr/>
          <p:nvPr/>
        </p:nvGrpSpPr>
        <p:grpSpPr>
          <a:xfrm>
            <a:off x="-132666" y="0"/>
            <a:ext cx="12373732" cy="6857917"/>
            <a:chOff x="-99500" y="0"/>
            <a:chExt cx="9280299" cy="5143438"/>
          </a:xfrm>
        </p:grpSpPr>
        <p:sp>
          <p:nvSpPr>
            <p:cNvPr id="99" name="Google Shape;99;p3"/>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0" name="Google Shape;100;p3"/>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1" name="Google Shape;101;p3"/>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2" name="Google Shape;102;p3"/>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3" name="Google Shape;103;p3"/>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4" name="Google Shape;104;p3"/>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5" name="Google Shape;105;p3"/>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6" name="Google Shape;106;p3"/>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7" name="Google Shape;107;p3"/>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8" name="Google Shape;108;p3"/>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9" name="Google Shape;109;p3"/>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0" name="Google Shape;110;p3"/>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1" name="Google Shape;111;p3"/>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2" name="Google Shape;112;p3"/>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3" name="Google Shape;113;p3"/>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4" name="Google Shape;114;p3"/>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5" name="Google Shape;115;p3"/>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6" name="Google Shape;116;p3"/>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7" name="Google Shape;117;p3"/>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8" name="Google Shape;118;p3"/>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9" name="Google Shape;119;p3"/>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0" name="Google Shape;120;p3"/>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1" name="Google Shape;121;p3"/>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2" name="Google Shape;122;p3"/>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3" name="Google Shape;123;p3"/>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4" name="Google Shape;124;p3"/>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5" name="Google Shape;125;p3"/>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6" name="Google Shape;126;p3"/>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7" name="Google Shape;127;p3"/>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8" name="Google Shape;128;p3"/>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9" name="Google Shape;129;p3"/>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0" name="Google Shape;130;p3"/>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1" name="Google Shape;131;p3"/>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2" name="Google Shape;132;p3"/>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3" name="Google Shape;133;p3"/>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4" name="Google Shape;134;p3"/>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5" name="Google Shape;135;p3"/>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6" name="Google Shape;136;p3"/>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7" name="Google Shape;137;p3"/>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8" name="Google Shape;138;p3"/>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9" name="Google Shape;139;p3"/>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0" name="Google Shape;140;p3"/>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1" name="Google Shape;141;p3"/>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42" name="Google Shape;142;p3"/>
          <p:cNvSpPr txBox="1">
            <a:spLocks noGrp="1"/>
          </p:cNvSpPr>
          <p:nvPr>
            <p:ph type="title"/>
          </p:nvPr>
        </p:nvSpPr>
        <p:spPr>
          <a:xfrm>
            <a:off x="960000" y="3063600"/>
            <a:ext cx="10272000" cy="11224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600"/>
              <a:buNone/>
              <a:defRPr sz="7733"/>
            </a:lvl1pPr>
            <a:lvl2pPr lvl="1" algn="ctr" rtl="0">
              <a:spcBef>
                <a:spcPts val="0"/>
              </a:spcBef>
              <a:spcAft>
                <a:spcPts val="0"/>
              </a:spcAft>
              <a:buSzPts val="3600"/>
              <a:buNone/>
              <a:defRPr sz="4800"/>
            </a:lvl2pPr>
            <a:lvl3pPr lvl="2" algn="ctr" rtl="0">
              <a:spcBef>
                <a:spcPts val="0"/>
              </a:spcBef>
              <a:spcAft>
                <a:spcPts val="0"/>
              </a:spcAft>
              <a:buSzPts val="3600"/>
              <a:buNone/>
              <a:defRPr sz="4800"/>
            </a:lvl3pPr>
            <a:lvl4pPr lvl="3" algn="ctr" rtl="0">
              <a:spcBef>
                <a:spcPts val="0"/>
              </a:spcBef>
              <a:spcAft>
                <a:spcPts val="0"/>
              </a:spcAft>
              <a:buSzPts val="3600"/>
              <a:buNone/>
              <a:defRPr sz="4800"/>
            </a:lvl4pPr>
            <a:lvl5pPr lvl="4" algn="ctr" rtl="0">
              <a:spcBef>
                <a:spcPts val="0"/>
              </a:spcBef>
              <a:spcAft>
                <a:spcPts val="0"/>
              </a:spcAft>
              <a:buSzPts val="3600"/>
              <a:buNone/>
              <a:defRPr sz="4800"/>
            </a:lvl5pPr>
            <a:lvl6pPr lvl="5" algn="ctr" rtl="0">
              <a:spcBef>
                <a:spcPts val="0"/>
              </a:spcBef>
              <a:spcAft>
                <a:spcPts val="0"/>
              </a:spcAft>
              <a:buSzPts val="3600"/>
              <a:buNone/>
              <a:defRPr sz="4800"/>
            </a:lvl6pPr>
            <a:lvl7pPr lvl="6" algn="ctr" rtl="0">
              <a:spcBef>
                <a:spcPts val="0"/>
              </a:spcBef>
              <a:spcAft>
                <a:spcPts val="0"/>
              </a:spcAft>
              <a:buSzPts val="3600"/>
              <a:buNone/>
              <a:defRPr sz="4800"/>
            </a:lvl7pPr>
            <a:lvl8pPr lvl="7" algn="ctr" rtl="0">
              <a:spcBef>
                <a:spcPts val="0"/>
              </a:spcBef>
              <a:spcAft>
                <a:spcPts val="0"/>
              </a:spcAft>
              <a:buSzPts val="3600"/>
              <a:buNone/>
              <a:defRPr sz="4800"/>
            </a:lvl8pPr>
            <a:lvl9pPr lvl="8" algn="ctr" rtl="0">
              <a:spcBef>
                <a:spcPts val="0"/>
              </a:spcBef>
              <a:spcAft>
                <a:spcPts val="0"/>
              </a:spcAft>
              <a:buSzPts val="3600"/>
              <a:buNone/>
              <a:defRPr sz="4800"/>
            </a:lvl9pPr>
          </a:lstStyle>
          <a:p>
            <a:endParaRPr/>
          </a:p>
        </p:txBody>
      </p:sp>
      <p:sp>
        <p:nvSpPr>
          <p:cNvPr id="143" name="Google Shape;143;p3"/>
          <p:cNvSpPr txBox="1">
            <a:spLocks noGrp="1"/>
          </p:cNvSpPr>
          <p:nvPr>
            <p:ph type="title" idx="2" hasCustomPrompt="1"/>
          </p:nvPr>
        </p:nvSpPr>
        <p:spPr>
          <a:xfrm>
            <a:off x="3995400" y="1867367"/>
            <a:ext cx="4201200" cy="11224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6000"/>
              <a:buNone/>
              <a:defRPr sz="10666"/>
            </a:lvl1pPr>
            <a:lvl2pPr lvl="1" algn="ctr" rtl="0">
              <a:spcBef>
                <a:spcPts val="0"/>
              </a:spcBef>
              <a:spcAft>
                <a:spcPts val="0"/>
              </a:spcAft>
              <a:buSzPts val="6000"/>
              <a:buNone/>
              <a:defRPr sz="8000"/>
            </a:lvl2pPr>
            <a:lvl3pPr lvl="2" algn="ctr" rtl="0">
              <a:spcBef>
                <a:spcPts val="0"/>
              </a:spcBef>
              <a:spcAft>
                <a:spcPts val="0"/>
              </a:spcAft>
              <a:buSzPts val="6000"/>
              <a:buNone/>
              <a:defRPr sz="8000"/>
            </a:lvl3pPr>
            <a:lvl4pPr lvl="3" algn="ctr" rtl="0">
              <a:spcBef>
                <a:spcPts val="0"/>
              </a:spcBef>
              <a:spcAft>
                <a:spcPts val="0"/>
              </a:spcAft>
              <a:buSzPts val="6000"/>
              <a:buNone/>
              <a:defRPr sz="8000"/>
            </a:lvl4pPr>
            <a:lvl5pPr lvl="4" algn="ctr" rtl="0">
              <a:spcBef>
                <a:spcPts val="0"/>
              </a:spcBef>
              <a:spcAft>
                <a:spcPts val="0"/>
              </a:spcAft>
              <a:buSzPts val="6000"/>
              <a:buNone/>
              <a:defRPr sz="8000"/>
            </a:lvl5pPr>
            <a:lvl6pPr lvl="5" algn="ctr" rtl="0">
              <a:spcBef>
                <a:spcPts val="0"/>
              </a:spcBef>
              <a:spcAft>
                <a:spcPts val="0"/>
              </a:spcAft>
              <a:buSzPts val="6000"/>
              <a:buNone/>
              <a:defRPr sz="8000"/>
            </a:lvl6pPr>
            <a:lvl7pPr lvl="6" algn="ctr" rtl="0">
              <a:spcBef>
                <a:spcPts val="0"/>
              </a:spcBef>
              <a:spcAft>
                <a:spcPts val="0"/>
              </a:spcAft>
              <a:buSzPts val="6000"/>
              <a:buNone/>
              <a:defRPr sz="8000"/>
            </a:lvl7pPr>
            <a:lvl8pPr lvl="7" algn="ctr" rtl="0">
              <a:spcBef>
                <a:spcPts val="0"/>
              </a:spcBef>
              <a:spcAft>
                <a:spcPts val="0"/>
              </a:spcAft>
              <a:buSzPts val="6000"/>
              <a:buNone/>
              <a:defRPr sz="8000"/>
            </a:lvl8pPr>
            <a:lvl9pPr lvl="8" algn="ctr" rtl="0">
              <a:spcBef>
                <a:spcPts val="0"/>
              </a:spcBef>
              <a:spcAft>
                <a:spcPts val="0"/>
              </a:spcAft>
              <a:buSzPts val="6000"/>
              <a:buNone/>
              <a:defRPr sz="8000"/>
            </a:lvl9pPr>
          </a:lstStyle>
          <a:p>
            <a:r>
              <a:t>xx%</a:t>
            </a:r>
          </a:p>
        </p:txBody>
      </p:sp>
      <p:sp>
        <p:nvSpPr>
          <p:cNvPr id="144" name="Google Shape;144;p3"/>
          <p:cNvSpPr txBox="1">
            <a:spLocks noGrp="1"/>
          </p:cNvSpPr>
          <p:nvPr>
            <p:ph type="subTitle" idx="1"/>
          </p:nvPr>
        </p:nvSpPr>
        <p:spPr>
          <a:xfrm>
            <a:off x="960000" y="4186000"/>
            <a:ext cx="10272000" cy="610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800"/>
              <a:buNone/>
              <a:defRPr sz="3200">
                <a:solidFill>
                  <a:schemeClr val="dk1"/>
                </a:solidFill>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grpSp>
        <p:nvGrpSpPr>
          <p:cNvPr id="145" name="Google Shape;145;p3"/>
          <p:cNvGrpSpPr/>
          <p:nvPr/>
        </p:nvGrpSpPr>
        <p:grpSpPr>
          <a:xfrm>
            <a:off x="3192379" y="5972901"/>
            <a:ext cx="978869" cy="951216"/>
            <a:chOff x="5109838" y="3156700"/>
            <a:chExt cx="306625" cy="297975"/>
          </a:xfrm>
        </p:grpSpPr>
        <p:sp>
          <p:nvSpPr>
            <p:cNvPr id="146" name="Google Shape;146;p3"/>
            <p:cNvSpPr/>
            <p:nvPr/>
          </p:nvSpPr>
          <p:spPr>
            <a:xfrm>
              <a:off x="5246763" y="3180825"/>
              <a:ext cx="65525" cy="273850"/>
            </a:xfrm>
            <a:custGeom>
              <a:avLst/>
              <a:gdLst/>
              <a:ahLst/>
              <a:cxnLst/>
              <a:rect l="l" t="t" r="r" b="b"/>
              <a:pathLst>
                <a:path w="2621" h="10954" extrusionOk="0">
                  <a:moveTo>
                    <a:pt x="1" y="0"/>
                  </a:moveTo>
                  <a:lnTo>
                    <a:pt x="1" y="10954"/>
                  </a:lnTo>
                  <a:lnTo>
                    <a:pt x="2620" y="10954"/>
                  </a:lnTo>
                  <a:lnTo>
                    <a:pt x="262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7" name="Google Shape;147;p3"/>
            <p:cNvSpPr/>
            <p:nvPr/>
          </p:nvSpPr>
          <p:spPr>
            <a:xfrm>
              <a:off x="5142888" y="3285000"/>
              <a:ext cx="273575" cy="65500"/>
            </a:xfrm>
            <a:custGeom>
              <a:avLst/>
              <a:gdLst/>
              <a:ahLst/>
              <a:cxnLst/>
              <a:rect l="l" t="t" r="r" b="b"/>
              <a:pathLst>
                <a:path w="10943" h="2620" extrusionOk="0">
                  <a:moveTo>
                    <a:pt x="0" y="0"/>
                  </a:moveTo>
                  <a:lnTo>
                    <a:pt x="0" y="2620"/>
                  </a:lnTo>
                  <a:lnTo>
                    <a:pt x="10942" y="2620"/>
                  </a:lnTo>
                  <a:lnTo>
                    <a:pt x="109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8" name="Google Shape;148;p3"/>
            <p:cNvSpPr/>
            <p:nvPr/>
          </p:nvSpPr>
          <p:spPr>
            <a:xfrm>
              <a:off x="5214038" y="3156700"/>
              <a:ext cx="65500" cy="273575"/>
            </a:xfrm>
            <a:custGeom>
              <a:avLst/>
              <a:gdLst/>
              <a:ahLst/>
              <a:cxnLst/>
              <a:rect l="l" t="t" r="r" b="b"/>
              <a:pathLst>
                <a:path w="2620" h="10943" extrusionOk="0">
                  <a:moveTo>
                    <a:pt x="0" y="1"/>
                  </a:moveTo>
                  <a:lnTo>
                    <a:pt x="0" y="10942"/>
                  </a:lnTo>
                  <a:lnTo>
                    <a:pt x="2619" y="10942"/>
                  </a:lnTo>
                  <a:lnTo>
                    <a:pt x="261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9" name="Google Shape;149;p3"/>
            <p:cNvSpPr/>
            <p:nvPr/>
          </p:nvSpPr>
          <p:spPr>
            <a:xfrm>
              <a:off x="5109838" y="3260575"/>
              <a:ext cx="273875" cy="65525"/>
            </a:xfrm>
            <a:custGeom>
              <a:avLst/>
              <a:gdLst/>
              <a:ahLst/>
              <a:cxnLst/>
              <a:rect l="l" t="t" r="r" b="b"/>
              <a:pathLst>
                <a:path w="10955" h="2621" extrusionOk="0">
                  <a:moveTo>
                    <a:pt x="1" y="1"/>
                  </a:moveTo>
                  <a:lnTo>
                    <a:pt x="1" y="2620"/>
                  </a:lnTo>
                  <a:lnTo>
                    <a:pt x="10955" y="2620"/>
                  </a:lnTo>
                  <a:lnTo>
                    <a:pt x="1095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50" name="Google Shape;150;p3"/>
          <p:cNvSpPr/>
          <p:nvPr/>
        </p:nvSpPr>
        <p:spPr>
          <a:xfrm>
            <a:off x="3814333" y="-202816"/>
            <a:ext cx="2932000" cy="14508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151" name="Google Shape;151;p3"/>
          <p:cNvGrpSpPr/>
          <p:nvPr/>
        </p:nvGrpSpPr>
        <p:grpSpPr>
          <a:xfrm>
            <a:off x="3259260" y="-90023"/>
            <a:ext cx="886984" cy="1225221"/>
            <a:chOff x="2673045" y="-67517"/>
            <a:chExt cx="665238" cy="918916"/>
          </a:xfrm>
        </p:grpSpPr>
        <p:sp>
          <p:nvSpPr>
            <p:cNvPr id="152" name="Google Shape;152;p3"/>
            <p:cNvSpPr/>
            <p:nvPr/>
          </p:nvSpPr>
          <p:spPr>
            <a:xfrm rot="-5400000">
              <a:off x="2594024" y="111691"/>
              <a:ext cx="823440" cy="655977"/>
            </a:xfrm>
            <a:custGeom>
              <a:avLst/>
              <a:gdLst/>
              <a:ahLst/>
              <a:cxnLst/>
              <a:rect l="l" t="t" r="r" b="b"/>
              <a:pathLst>
                <a:path w="25874" h="20612" extrusionOk="0">
                  <a:moveTo>
                    <a:pt x="20350" y="1"/>
                  </a:moveTo>
                  <a:cubicBezTo>
                    <a:pt x="19973" y="1"/>
                    <a:pt x="19591" y="105"/>
                    <a:pt x="19253" y="324"/>
                  </a:cubicBezTo>
                  <a:cubicBezTo>
                    <a:pt x="18301" y="931"/>
                    <a:pt x="18027" y="2205"/>
                    <a:pt x="18634" y="3145"/>
                  </a:cubicBezTo>
                  <a:cubicBezTo>
                    <a:pt x="21230" y="7170"/>
                    <a:pt x="20063" y="12551"/>
                    <a:pt x="16039" y="15135"/>
                  </a:cubicBezTo>
                  <a:cubicBezTo>
                    <a:pt x="14617" y="16053"/>
                    <a:pt x="13001" y="16524"/>
                    <a:pt x="11354" y="16524"/>
                  </a:cubicBezTo>
                  <a:cubicBezTo>
                    <a:pt x="10738" y="16524"/>
                    <a:pt x="10118" y="16458"/>
                    <a:pt x="9502" y="16326"/>
                  </a:cubicBezTo>
                  <a:cubicBezTo>
                    <a:pt x="7240" y="15837"/>
                    <a:pt x="5299" y="14492"/>
                    <a:pt x="4049" y="12539"/>
                  </a:cubicBezTo>
                  <a:cubicBezTo>
                    <a:pt x="3654" y="11932"/>
                    <a:pt x="2998" y="11601"/>
                    <a:pt x="2331" y="11601"/>
                  </a:cubicBezTo>
                  <a:cubicBezTo>
                    <a:pt x="1951" y="11601"/>
                    <a:pt x="1568" y="11708"/>
                    <a:pt x="1227" y="11932"/>
                  </a:cubicBezTo>
                  <a:cubicBezTo>
                    <a:pt x="275" y="12539"/>
                    <a:pt x="1" y="13801"/>
                    <a:pt x="608" y="14754"/>
                  </a:cubicBezTo>
                  <a:cubicBezTo>
                    <a:pt x="2454" y="17611"/>
                    <a:pt x="5299" y="19588"/>
                    <a:pt x="8633" y="20314"/>
                  </a:cubicBezTo>
                  <a:cubicBezTo>
                    <a:pt x="9538" y="20517"/>
                    <a:pt x="10455" y="20612"/>
                    <a:pt x="11371" y="20612"/>
                  </a:cubicBezTo>
                  <a:cubicBezTo>
                    <a:pt x="13788" y="20612"/>
                    <a:pt x="16158" y="19921"/>
                    <a:pt x="18241" y="18576"/>
                  </a:cubicBezTo>
                  <a:cubicBezTo>
                    <a:pt x="24159" y="14766"/>
                    <a:pt x="25873" y="6860"/>
                    <a:pt x="22075" y="943"/>
                  </a:cubicBezTo>
                  <a:cubicBezTo>
                    <a:pt x="21686" y="333"/>
                    <a:pt x="21024" y="1"/>
                    <a:pt x="203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3" name="Google Shape;153;p3"/>
            <p:cNvSpPr/>
            <p:nvPr/>
          </p:nvSpPr>
          <p:spPr>
            <a:xfrm rot="-5400000">
              <a:off x="2588279" y="17249"/>
              <a:ext cx="834770" cy="665238"/>
            </a:xfrm>
            <a:custGeom>
              <a:avLst/>
              <a:gdLst/>
              <a:ahLst/>
              <a:cxnLst/>
              <a:rect l="l" t="t" r="r" b="b"/>
              <a:pathLst>
                <a:path w="26230" h="20903" extrusionOk="0">
                  <a:moveTo>
                    <a:pt x="20529" y="298"/>
                  </a:moveTo>
                  <a:cubicBezTo>
                    <a:pt x="20662" y="298"/>
                    <a:pt x="20797" y="312"/>
                    <a:pt x="20931" y="341"/>
                  </a:cubicBezTo>
                  <a:cubicBezTo>
                    <a:pt x="21419" y="448"/>
                    <a:pt x="21848" y="745"/>
                    <a:pt x="22122" y="1174"/>
                  </a:cubicBezTo>
                  <a:cubicBezTo>
                    <a:pt x="25884" y="7020"/>
                    <a:pt x="24182" y="14842"/>
                    <a:pt x="18336" y="18605"/>
                  </a:cubicBezTo>
                  <a:cubicBezTo>
                    <a:pt x="16300" y="19914"/>
                    <a:pt x="13942" y="20617"/>
                    <a:pt x="11537" y="20617"/>
                  </a:cubicBezTo>
                  <a:cubicBezTo>
                    <a:pt x="10644" y="20617"/>
                    <a:pt x="9727" y="20510"/>
                    <a:pt x="8846" y="20319"/>
                  </a:cubicBezTo>
                  <a:cubicBezTo>
                    <a:pt x="5548" y="19605"/>
                    <a:pt x="2727" y="17652"/>
                    <a:pt x="905" y="14819"/>
                  </a:cubicBezTo>
                  <a:cubicBezTo>
                    <a:pt x="345" y="13937"/>
                    <a:pt x="595" y="12759"/>
                    <a:pt x="1476" y="12199"/>
                  </a:cubicBezTo>
                  <a:cubicBezTo>
                    <a:pt x="1786" y="11997"/>
                    <a:pt x="2143" y="11902"/>
                    <a:pt x="2500" y="11902"/>
                  </a:cubicBezTo>
                  <a:cubicBezTo>
                    <a:pt x="2631" y="11902"/>
                    <a:pt x="2762" y="11913"/>
                    <a:pt x="2905" y="11949"/>
                  </a:cubicBezTo>
                  <a:cubicBezTo>
                    <a:pt x="3393" y="12056"/>
                    <a:pt x="3822" y="12342"/>
                    <a:pt x="4096" y="12771"/>
                  </a:cubicBezTo>
                  <a:cubicBezTo>
                    <a:pt x="5370" y="14747"/>
                    <a:pt x="7334" y="16116"/>
                    <a:pt x="9644" y="16616"/>
                  </a:cubicBezTo>
                  <a:cubicBezTo>
                    <a:pt x="10275" y="16754"/>
                    <a:pt x="10912" y="16822"/>
                    <a:pt x="11544" y="16822"/>
                  </a:cubicBezTo>
                  <a:cubicBezTo>
                    <a:pt x="13214" y="16822"/>
                    <a:pt x="14854" y="16347"/>
                    <a:pt x="16288" y="15414"/>
                  </a:cubicBezTo>
                  <a:cubicBezTo>
                    <a:pt x="20384" y="12783"/>
                    <a:pt x="21574" y="7318"/>
                    <a:pt x="18943" y="3222"/>
                  </a:cubicBezTo>
                  <a:cubicBezTo>
                    <a:pt x="18371" y="2341"/>
                    <a:pt x="18621" y="1162"/>
                    <a:pt x="19503" y="603"/>
                  </a:cubicBezTo>
                  <a:cubicBezTo>
                    <a:pt x="19816" y="402"/>
                    <a:pt x="20167" y="298"/>
                    <a:pt x="20529" y="298"/>
                  </a:cubicBezTo>
                  <a:close/>
                  <a:moveTo>
                    <a:pt x="20512" y="0"/>
                  </a:moveTo>
                  <a:cubicBezTo>
                    <a:pt x="20101" y="0"/>
                    <a:pt x="19700" y="121"/>
                    <a:pt x="19348" y="352"/>
                  </a:cubicBezTo>
                  <a:cubicBezTo>
                    <a:pt x="18324" y="1007"/>
                    <a:pt x="18038" y="2365"/>
                    <a:pt x="18693" y="3377"/>
                  </a:cubicBezTo>
                  <a:cubicBezTo>
                    <a:pt x="21229" y="7330"/>
                    <a:pt x="20086" y="12616"/>
                    <a:pt x="16133" y="15164"/>
                  </a:cubicBezTo>
                  <a:cubicBezTo>
                    <a:pt x="14738" y="16065"/>
                    <a:pt x="13148" y="16525"/>
                    <a:pt x="11527" y="16525"/>
                  </a:cubicBezTo>
                  <a:cubicBezTo>
                    <a:pt x="10920" y="16525"/>
                    <a:pt x="10310" y="16460"/>
                    <a:pt x="9704" y="16331"/>
                  </a:cubicBezTo>
                  <a:cubicBezTo>
                    <a:pt x="7477" y="15842"/>
                    <a:pt x="5572" y="14521"/>
                    <a:pt x="4346" y="12604"/>
                  </a:cubicBezTo>
                  <a:cubicBezTo>
                    <a:pt x="4024" y="12116"/>
                    <a:pt x="3536" y="11771"/>
                    <a:pt x="2965" y="11651"/>
                  </a:cubicBezTo>
                  <a:cubicBezTo>
                    <a:pt x="2807" y="11619"/>
                    <a:pt x="2649" y="11602"/>
                    <a:pt x="2491" y="11602"/>
                  </a:cubicBezTo>
                  <a:cubicBezTo>
                    <a:pt x="2078" y="11602"/>
                    <a:pt x="1672" y="11716"/>
                    <a:pt x="1310" y="11949"/>
                  </a:cubicBezTo>
                  <a:cubicBezTo>
                    <a:pt x="298" y="12604"/>
                    <a:pt x="0" y="13961"/>
                    <a:pt x="655" y="14973"/>
                  </a:cubicBezTo>
                  <a:cubicBezTo>
                    <a:pt x="2524" y="17878"/>
                    <a:pt x="5406" y="19879"/>
                    <a:pt x="8775" y="20605"/>
                  </a:cubicBezTo>
                  <a:cubicBezTo>
                    <a:pt x="9692" y="20807"/>
                    <a:pt x="10620" y="20903"/>
                    <a:pt x="11537" y="20903"/>
                  </a:cubicBezTo>
                  <a:cubicBezTo>
                    <a:pt x="14002" y="20903"/>
                    <a:pt x="16407" y="20200"/>
                    <a:pt x="18502" y="18843"/>
                  </a:cubicBezTo>
                  <a:cubicBezTo>
                    <a:pt x="24491" y="14997"/>
                    <a:pt x="26230" y="6996"/>
                    <a:pt x="22372" y="1007"/>
                  </a:cubicBezTo>
                  <a:cubicBezTo>
                    <a:pt x="22050" y="519"/>
                    <a:pt x="21562" y="174"/>
                    <a:pt x="20991" y="55"/>
                  </a:cubicBezTo>
                  <a:cubicBezTo>
                    <a:pt x="20831" y="18"/>
                    <a:pt x="20671" y="0"/>
                    <a:pt x="20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54" name="Google Shape;154;p3"/>
          <p:cNvSpPr/>
          <p:nvPr/>
        </p:nvSpPr>
        <p:spPr>
          <a:xfrm>
            <a:off x="7496967" y="5799533"/>
            <a:ext cx="1500000" cy="1298800"/>
          </a:xfrm>
          <a:prstGeom prst="rect">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155" name="Google Shape;155;p3"/>
          <p:cNvGrpSpPr/>
          <p:nvPr/>
        </p:nvGrpSpPr>
        <p:grpSpPr>
          <a:xfrm>
            <a:off x="6746349" y="5668548"/>
            <a:ext cx="1022400" cy="714065"/>
            <a:chOff x="5059762" y="4251410"/>
            <a:chExt cx="766800" cy="535549"/>
          </a:xfrm>
        </p:grpSpPr>
        <p:sp>
          <p:nvSpPr>
            <p:cNvPr id="156" name="Google Shape;156;p3"/>
            <p:cNvSpPr/>
            <p:nvPr/>
          </p:nvSpPr>
          <p:spPr>
            <a:xfrm>
              <a:off x="5524244" y="4251410"/>
              <a:ext cx="302318" cy="535549"/>
            </a:xfrm>
            <a:custGeom>
              <a:avLst/>
              <a:gdLst/>
              <a:ahLst/>
              <a:cxnLst/>
              <a:rect l="l" t="t" r="r" b="b"/>
              <a:pathLst>
                <a:path w="4882" h="8648" extrusionOk="0">
                  <a:moveTo>
                    <a:pt x="821" y="0"/>
                  </a:moveTo>
                  <a:cubicBezTo>
                    <a:pt x="654" y="0"/>
                    <a:pt x="486" y="55"/>
                    <a:pt x="346" y="170"/>
                  </a:cubicBezTo>
                  <a:cubicBezTo>
                    <a:pt x="167" y="313"/>
                    <a:pt x="84" y="527"/>
                    <a:pt x="84" y="742"/>
                  </a:cubicBezTo>
                  <a:cubicBezTo>
                    <a:pt x="84" y="908"/>
                    <a:pt x="131" y="1075"/>
                    <a:pt x="250" y="1218"/>
                  </a:cubicBezTo>
                  <a:lnTo>
                    <a:pt x="3060" y="4623"/>
                  </a:lnTo>
                  <a:lnTo>
                    <a:pt x="298" y="7373"/>
                  </a:lnTo>
                  <a:cubicBezTo>
                    <a:pt x="12" y="7671"/>
                    <a:pt x="0" y="8135"/>
                    <a:pt x="298" y="8433"/>
                  </a:cubicBezTo>
                  <a:cubicBezTo>
                    <a:pt x="441" y="8576"/>
                    <a:pt x="631" y="8647"/>
                    <a:pt x="822" y="8647"/>
                  </a:cubicBezTo>
                  <a:cubicBezTo>
                    <a:pt x="1012" y="8647"/>
                    <a:pt x="1203" y="8576"/>
                    <a:pt x="1346" y="8433"/>
                  </a:cubicBezTo>
                  <a:lnTo>
                    <a:pt x="4584" y="5194"/>
                  </a:lnTo>
                  <a:cubicBezTo>
                    <a:pt x="4858" y="4933"/>
                    <a:pt x="4882" y="4492"/>
                    <a:pt x="4632" y="4206"/>
                  </a:cubicBezTo>
                  <a:lnTo>
                    <a:pt x="1393" y="265"/>
                  </a:lnTo>
                  <a:cubicBezTo>
                    <a:pt x="1246" y="91"/>
                    <a:pt x="1035" y="0"/>
                    <a:pt x="82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7" name="Google Shape;157;p3"/>
            <p:cNvSpPr/>
            <p:nvPr/>
          </p:nvSpPr>
          <p:spPr>
            <a:xfrm>
              <a:off x="5291972" y="4251410"/>
              <a:ext cx="302380" cy="535549"/>
            </a:xfrm>
            <a:custGeom>
              <a:avLst/>
              <a:gdLst/>
              <a:ahLst/>
              <a:cxnLst/>
              <a:rect l="l" t="t" r="r" b="b"/>
              <a:pathLst>
                <a:path w="4883" h="8648" extrusionOk="0">
                  <a:moveTo>
                    <a:pt x="822" y="0"/>
                  </a:moveTo>
                  <a:cubicBezTo>
                    <a:pt x="655" y="0"/>
                    <a:pt x="487" y="55"/>
                    <a:pt x="346" y="170"/>
                  </a:cubicBezTo>
                  <a:cubicBezTo>
                    <a:pt x="168" y="313"/>
                    <a:pt x="72" y="527"/>
                    <a:pt x="72" y="742"/>
                  </a:cubicBezTo>
                  <a:cubicBezTo>
                    <a:pt x="72" y="908"/>
                    <a:pt x="132" y="1075"/>
                    <a:pt x="251" y="1218"/>
                  </a:cubicBezTo>
                  <a:lnTo>
                    <a:pt x="3061" y="4623"/>
                  </a:lnTo>
                  <a:lnTo>
                    <a:pt x="298" y="7373"/>
                  </a:lnTo>
                  <a:cubicBezTo>
                    <a:pt x="1" y="7671"/>
                    <a:pt x="1" y="8135"/>
                    <a:pt x="298" y="8433"/>
                  </a:cubicBezTo>
                  <a:cubicBezTo>
                    <a:pt x="441" y="8576"/>
                    <a:pt x="629" y="8647"/>
                    <a:pt x="818" y="8647"/>
                  </a:cubicBezTo>
                  <a:cubicBezTo>
                    <a:pt x="1007" y="8647"/>
                    <a:pt x="1197" y="8576"/>
                    <a:pt x="1346" y="8433"/>
                  </a:cubicBezTo>
                  <a:lnTo>
                    <a:pt x="4585" y="5194"/>
                  </a:lnTo>
                  <a:cubicBezTo>
                    <a:pt x="4859" y="4933"/>
                    <a:pt x="4882" y="4492"/>
                    <a:pt x="4632" y="4206"/>
                  </a:cubicBezTo>
                  <a:lnTo>
                    <a:pt x="1394" y="265"/>
                  </a:lnTo>
                  <a:cubicBezTo>
                    <a:pt x="1247" y="91"/>
                    <a:pt x="1035" y="0"/>
                    <a:pt x="82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8" name="Google Shape;158;p3"/>
            <p:cNvSpPr/>
            <p:nvPr/>
          </p:nvSpPr>
          <p:spPr>
            <a:xfrm>
              <a:off x="5059762" y="4251410"/>
              <a:ext cx="302318" cy="535549"/>
            </a:xfrm>
            <a:custGeom>
              <a:avLst/>
              <a:gdLst/>
              <a:ahLst/>
              <a:cxnLst/>
              <a:rect l="l" t="t" r="r" b="b"/>
              <a:pathLst>
                <a:path w="4882" h="8648" extrusionOk="0">
                  <a:moveTo>
                    <a:pt x="821" y="0"/>
                  </a:moveTo>
                  <a:cubicBezTo>
                    <a:pt x="655" y="0"/>
                    <a:pt x="486" y="55"/>
                    <a:pt x="346" y="170"/>
                  </a:cubicBezTo>
                  <a:cubicBezTo>
                    <a:pt x="167" y="313"/>
                    <a:pt x="72" y="527"/>
                    <a:pt x="72" y="742"/>
                  </a:cubicBezTo>
                  <a:cubicBezTo>
                    <a:pt x="72" y="908"/>
                    <a:pt x="131" y="1075"/>
                    <a:pt x="238" y="1218"/>
                  </a:cubicBezTo>
                  <a:lnTo>
                    <a:pt x="3060" y="4623"/>
                  </a:lnTo>
                  <a:lnTo>
                    <a:pt x="298" y="7373"/>
                  </a:lnTo>
                  <a:cubicBezTo>
                    <a:pt x="0" y="7671"/>
                    <a:pt x="0" y="8135"/>
                    <a:pt x="298" y="8433"/>
                  </a:cubicBezTo>
                  <a:cubicBezTo>
                    <a:pt x="441" y="8576"/>
                    <a:pt x="628" y="8647"/>
                    <a:pt x="817" y="8647"/>
                  </a:cubicBezTo>
                  <a:cubicBezTo>
                    <a:pt x="1006" y="8647"/>
                    <a:pt x="1197" y="8576"/>
                    <a:pt x="1346" y="8433"/>
                  </a:cubicBezTo>
                  <a:lnTo>
                    <a:pt x="4584" y="5194"/>
                  </a:lnTo>
                  <a:cubicBezTo>
                    <a:pt x="4858" y="4933"/>
                    <a:pt x="4882" y="4492"/>
                    <a:pt x="4632" y="4206"/>
                  </a:cubicBezTo>
                  <a:lnTo>
                    <a:pt x="1393" y="265"/>
                  </a:lnTo>
                  <a:cubicBezTo>
                    <a:pt x="1246" y="91"/>
                    <a:pt x="1035" y="0"/>
                    <a:pt x="82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25840188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59"/>
        <p:cNvGrpSpPr/>
        <p:nvPr/>
      </p:nvGrpSpPr>
      <p:grpSpPr>
        <a:xfrm>
          <a:off x="0" y="0"/>
          <a:ext cx="0" cy="0"/>
          <a:chOff x="0" y="0"/>
          <a:chExt cx="0" cy="0"/>
        </a:xfrm>
      </p:grpSpPr>
      <p:grpSp>
        <p:nvGrpSpPr>
          <p:cNvPr id="160" name="Google Shape;160;p4"/>
          <p:cNvGrpSpPr/>
          <p:nvPr/>
        </p:nvGrpSpPr>
        <p:grpSpPr>
          <a:xfrm>
            <a:off x="-132666" y="0"/>
            <a:ext cx="12373732" cy="6857917"/>
            <a:chOff x="-99500" y="0"/>
            <a:chExt cx="9280299" cy="5143438"/>
          </a:xfrm>
        </p:grpSpPr>
        <p:sp>
          <p:nvSpPr>
            <p:cNvPr id="161" name="Google Shape;161;p4"/>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2" name="Google Shape;162;p4"/>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3" name="Google Shape;163;p4"/>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4" name="Google Shape;164;p4"/>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5" name="Google Shape;165;p4"/>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6" name="Google Shape;166;p4"/>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7" name="Google Shape;167;p4"/>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8" name="Google Shape;168;p4"/>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9" name="Google Shape;169;p4"/>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0" name="Google Shape;170;p4"/>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1" name="Google Shape;171;p4"/>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2" name="Google Shape;172;p4"/>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3" name="Google Shape;173;p4"/>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4" name="Google Shape;174;p4"/>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5" name="Google Shape;175;p4"/>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6" name="Google Shape;176;p4"/>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7" name="Google Shape;177;p4"/>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8" name="Google Shape;178;p4"/>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9" name="Google Shape;179;p4"/>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0" name="Google Shape;180;p4"/>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1" name="Google Shape;181;p4"/>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2" name="Google Shape;182;p4"/>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3" name="Google Shape;183;p4"/>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4" name="Google Shape;184;p4"/>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5" name="Google Shape;185;p4"/>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6" name="Google Shape;186;p4"/>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7" name="Google Shape;187;p4"/>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8" name="Google Shape;188;p4"/>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9" name="Google Shape;189;p4"/>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0" name="Google Shape;190;p4"/>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1" name="Google Shape;191;p4"/>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2" name="Google Shape;192;p4"/>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3" name="Google Shape;193;p4"/>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4" name="Google Shape;194;p4"/>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5" name="Google Shape;195;p4"/>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6" name="Google Shape;196;p4"/>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7" name="Google Shape;197;p4"/>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8" name="Google Shape;198;p4"/>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9" name="Google Shape;199;p4"/>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00" name="Google Shape;200;p4"/>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01" name="Google Shape;201;p4"/>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02" name="Google Shape;202;p4"/>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03" name="Google Shape;203;p4"/>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204" name="Google Shape;204;p4"/>
          <p:cNvSpPr txBox="1">
            <a:spLocks noGrp="1"/>
          </p:cNvSpPr>
          <p:nvPr>
            <p:ph type="title"/>
          </p:nvPr>
        </p:nvSpPr>
        <p:spPr>
          <a:xfrm>
            <a:off x="960000" y="720000"/>
            <a:ext cx="10272000" cy="636800"/>
          </a:xfrm>
          <a:prstGeom prst="rect">
            <a:avLst/>
          </a:prstGeom>
        </p:spPr>
        <p:txBody>
          <a:bodyPr spcFirstLastPara="1" wrap="square" lIns="91425" tIns="91425" rIns="91425" bIns="91425" anchor="ctr" anchorCtr="0">
            <a:noAutofit/>
          </a:bodyPr>
          <a:lstStyle>
            <a:lvl1pPr lvl="0" algn="ctr">
              <a:spcBef>
                <a:spcPts val="0"/>
              </a:spcBef>
              <a:spcAft>
                <a:spcPts val="0"/>
              </a:spcAft>
              <a:buSzPts val="3500"/>
              <a:buNone/>
              <a:defRPr/>
            </a:lvl1pPr>
            <a:lvl2pPr lvl="1">
              <a:spcBef>
                <a:spcPts val="0"/>
              </a:spcBef>
              <a:spcAft>
                <a:spcPts val="0"/>
              </a:spcAft>
              <a:buSzPts val="3500"/>
              <a:buNone/>
              <a:defRPr/>
            </a:lvl2pPr>
            <a:lvl3pPr lvl="2">
              <a:spcBef>
                <a:spcPts val="0"/>
              </a:spcBef>
              <a:spcAft>
                <a:spcPts val="0"/>
              </a:spcAft>
              <a:buSzPts val="3500"/>
              <a:buNone/>
              <a:defRPr/>
            </a:lvl3pPr>
            <a:lvl4pPr lvl="3">
              <a:spcBef>
                <a:spcPts val="0"/>
              </a:spcBef>
              <a:spcAft>
                <a:spcPts val="0"/>
              </a:spcAft>
              <a:buSzPts val="3500"/>
              <a:buNone/>
              <a:defRPr/>
            </a:lvl4pPr>
            <a:lvl5pPr lvl="4">
              <a:spcBef>
                <a:spcPts val="0"/>
              </a:spcBef>
              <a:spcAft>
                <a:spcPts val="0"/>
              </a:spcAft>
              <a:buSzPts val="3500"/>
              <a:buNone/>
              <a:defRPr/>
            </a:lvl5pPr>
            <a:lvl6pPr lvl="5">
              <a:spcBef>
                <a:spcPts val="0"/>
              </a:spcBef>
              <a:spcAft>
                <a:spcPts val="0"/>
              </a:spcAft>
              <a:buSzPts val="3500"/>
              <a:buNone/>
              <a:defRPr/>
            </a:lvl6pPr>
            <a:lvl7pPr lvl="6">
              <a:spcBef>
                <a:spcPts val="0"/>
              </a:spcBef>
              <a:spcAft>
                <a:spcPts val="0"/>
              </a:spcAft>
              <a:buSzPts val="3500"/>
              <a:buNone/>
              <a:defRPr/>
            </a:lvl7pPr>
            <a:lvl8pPr lvl="7">
              <a:spcBef>
                <a:spcPts val="0"/>
              </a:spcBef>
              <a:spcAft>
                <a:spcPts val="0"/>
              </a:spcAft>
              <a:buSzPts val="3500"/>
              <a:buNone/>
              <a:defRPr/>
            </a:lvl8pPr>
            <a:lvl9pPr lvl="8">
              <a:spcBef>
                <a:spcPts val="0"/>
              </a:spcBef>
              <a:spcAft>
                <a:spcPts val="0"/>
              </a:spcAft>
              <a:buSzPts val="3500"/>
              <a:buNone/>
              <a:defRPr/>
            </a:lvl9pPr>
          </a:lstStyle>
          <a:p>
            <a:endParaRPr/>
          </a:p>
        </p:txBody>
      </p:sp>
      <p:sp>
        <p:nvSpPr>
          <p:cNvPr id="205" name="Google Shape;205;p4"/>
          <p:cNvSpPr txBox="1">
            <a:spLocks noGrp="1"/>
          </p:cNvSpPr>
          <p:nvPr>
            <p:ph type="body" idx="1"/>
          </p:nvPr>
        </p:nvSpPr>
        <p:spPr>
          <a:xfrm>
            <a:off x="960000" y="1536633"/>
            <a:ext cx="10272000" cy="4555200"/>
          </a:xfrm>
          <a:prstGeom prst="rect">
            <a:avLst/>
          </a:prstGeom>
        </p:spPr>
        <p:txBody>
          <a:bodyPr spcFirstLastPara="1" wrap="square" lIns="91425" tIns="91425" rIns="91425" bIns="91425" anchor="t" anchorCtr="0">
            <a:noAutofit/>
          </a:bodyPr>
          <a:lstStyle>
            <a:lvl1pPr marL="609585" lvl="0" indent="-406390">
              <a:lnSpc>
                <a:spcPct val="100000"/>
              </a:lnSpc>
              <a:spcBef>
                <a:spcPts val="0"/>
              </a:spcBef>
              <a:spcAft>
                <a:spcPts val="0"/>
              </a:spcAft>
              <a:buClr>
                <a:srgbClr val="434343"/>
              </a:buClr>
              <a:buSzPts val="1200"/>
              <a:buAutoNum type="arabicPeriod"/>
              <a:defRPr sz="1600"/>
            </a:lvl1pPr>
            <a:lvl2pPr marL="1219170" lvl="1" indent="-406390">
              <a:spcBef>
                <a:spcPts val="0"/>
              </a:spcBef>
              <a:spcAft>
                <a:spcPts val="0"/>
              </a:spcAft>
              <a:buClr>
                <a:srgbClr val="434343"/>
              </a:buClr>
              <a:buSzPts val="1200"/>
              <a:buFont typeface="Roboto Condensed Light"/>
              <a:buAutoNum type="alphaLcPeriod"/>
              <a:defRPr/>
            </a:lvl2pPr>
            <a:lvl3pPr marL="1828754" lvl="2" indent="-406390">
              <a:spcBef>
                <a:spcPts val="0"/>
              </a:spcBef>
              <a:spcAft>
                <a:spcPts val="0"/>
              </a:spcAft>
              <a:buClr>
                <a:srgbClr val="434343"/>
              </a:buClr>
              <a:buSzPts val="1200"/>
              <a:buFont typeface="Roboto Condensed Light"/>
              <a:buAutoNum type="romanLcPeriod"/>
              <a:defRPr/>
            </a:lvl3pPr>
            <a:lvl4pPr marL="2438339" lvl="3" indent="-406390">
              <a:spcBef>
                <a:spcPts val="0"/>
              </a:spcBef>
              <a:spcAft>
                <a:spcPts val="0"/>
              </a:spcAft>
              <a:buClr>
                <a:srgbClr val="434343"/>
              </a:buClr>
              <a:buSzPts val="1200"/>
              <a:buFont typeface="Roboto Condensed Light"/>
              <a:buAutoNum type="arabicPeriod"/>
              <a:defRPr/>
            </a:lvl4pPr>
            <a:lvl5pPr marL="3047924" lvl="4" indent="-406390">
              <a:spcBef>
                <a:spcPts val="0"/>
              </a:spcBef>
              <a:spcAft>
                <a:spcPts val="0"/>
              </a:spcAft>
              <a:buClr>
                <a:srgbClr val="434343"/>
              </a:buClr>
              <a:buSzPts val="1200"/>
              <a:buFont typeface="Roboto Condensed Light"/>
              <a:buAutoNum type="alphaLcPeriod"/>
              <a:defRPr/>
            </a:lvl5pPr>
            <a:lvl6pPr marL="3657509" lvl="5" indent="-406390">
              <a:spcBef>
                <a:spcPts val="0"/>
              </a:spcBef>
              <a:spcAft>
                <a:spcPts val="0"/>
              </a:spcAft>
              <a:buClr>
                <a:srgbClr val="434343"/>
              </a:buClr>
              <a:buSzPts val="1200"/>
              <a:buFont typeface="Roboto Condensed Light"/>
              <a:buAutoNum type="romanLcPeriod"/>
              <a:defRPr/>
            </a:lvl6pPr>
            <a:lvl7pPr marL="4267093" lvl="6" indent="-406390">
              <a:spcBef>
                <a:spcPts val="0"/>
              </a:spcBef>
              <a:spcAft>
                <a:spcPts val="0"/>
              </a:spcAft>
              <a:buClr>
                <a:srgbClr val="434343"/>
              </a:buClr>
              <a:buSzPts val="1200"/>
              <a:buFont typeface="Roboto Condensed Light"/>
              <a:buAutoNum type="arabicPeriod"/>
              <a:defRPr/>
            </a:lvl7pPr>
            <a:lvl8pPr marL="4876678" lvl="7" indent="-406390">
              <a:spcBef>
                <a:spcPts val="0"/>
              </a:spcBef>
              <a:spcAft>
                <a:spcPts val="0"/>
              </a:spcAft>
              <a:buClr>
                <a:srgbClr val="434343"/>
              </a:buClr>
              <a:buSzPts val="1200"/>
              <a:buFont typeface="Roboto Condensed Light"/>
              <a:buAutoNum type="alphaLcPeriod"/>
              <a:defRPr/>
            </a:lvl8pPr>
            <a:lvl9pPr marL="5486263" lvl="8" indent="-406390">
              <a:spcBef>
                <a:spcPts val="0"/>
              </a:spcBef>
              <a:spcAft>
                <a:spcPts val="0"/>
              </a:spcAft>
              <a:buClr>
                <a:srgbClr val="434343"/>
              </a:buClr>
              <a:buSzPts val="1200"/>
              <a:buFont typeface="Roboto Condensed Light"/>
              <a:buAutoNum type="romanLcPeriod"/>
              <a:defRPr/>
            </a:lvl9pPr>
          </a:lstStyle>
          <a:p>
            <a:endParaRPr/>
          </a:p>
        </p:txBody>
      </p:sp>
      <p:grpSp>
        <p:nvGrpSpPr>
          <p:cNvPr id="206" name="Google Shape;206;p4"/>
          <p:cNvGrpSpPr/>
          <p:nvPr/>
        </p:nvGrpSpPr>
        <p:grpSpPr>
          <a:xfrm>
            <a:off x="369101" y="338187"/>
            <a:ext cx="11409575" cy="6309840"/>
            <a:chOff x="276825" y="253640"/>
            <a:chExt cx="8557181" cy="4732380"/>
          </a:xfrm>
        </p:grpSpPr>
        <p:grpSp>
          <p:nvGrpSpPr>
            <p:cNvPr id="207" name="Google Shape;207;p4"/>
            <p:cNvGrpSpPr/>
            <p:nvPr/>
          </p:nvGrpSpPr>
          <p:grpSpPr>
            <a:xfrm>
              <a:off x="8013991" y="253640"/>
              <a:ext cx="820016" cy="572716"/>
              <a:chOff x="5059762" y="4251410"/>
              <a:chExt cx="766800" cy="535549"/>
            </a:xfrm>
          </p:grpSpPr>
          <p:sp>
            <p:nvSpPr>
              <p:cNvPr id="208" name="Google Shape;208;p4"/>
              <p:cNvSpPr/>
              <p:nvPr/>
            </p:nvSpPr>
            <p:spPr>
              <a:xfrm>
                <a:off x="5524244" y="4251410"/>
                <a:ext cx="302318" cy="535549"/>
              </a:xfrm>
              <a:custGeom>
                <a:avLst/>
                <a:gdLst/>
                <a:ahLst/>
                <a:cxnLst/>
                <a:rect l="l" t="t" r="r" b="b"/>
                <a:pathLst>
                  <a:path w="4882" h="8648" extrusionOk="0">
                    <a:moveTo>
                      <a:pt x="821" y="0"/>
                    </a:moveTo>
                    <a:cubicBezTo>
                      <a:pt x="654" y="0"/>
                      <a:pt x="486" y="55"/>
                      <a:pt x="346" y="170"/>
                    </a:cubicBezTo>
                    <a:cubicBezTo>
                      <a:pt x="167" y="313"/>
                      <a:pt x="84" y="527"/>
                      <a:pt x="84" y="742"/>
                    </a:cubicBezTo>
                    <a:cubicBezTo>
                      <a:pt x="84" y="908"/>
                      <a:pt x="131" y="1075"/>
                      <a:pt x="250" y="1218"/>
                    </a:cubicBezTo>
                    <a:lnTo>
                      <a:pt x="3060" y="4623"/>
                    </a:lnTo>
                    <a:lnTo>
                      <a:pt x="298" y="7373"/>
                    </a:lnTo>
                    <a:cubicBezTo>
                      <a:pt x="12" y="7671"/>
                      <a:pt x="0" y="8135"/>
                      <a:pt x="298" y="8433"/>
                    </a:cubicBezTo>
                    <a:cubicBezTo>
                      <a:pt x="441" y="8576"/>
                      <a:pt x="631" y="8647"/>
                      <a:pt x="822" y="8647"/>
                    </a:cubicBezTo>
                    <a:cubicBezTo>
                      <a:pt x="1012" y="8647"/>
                      <a:pt x="1203" y="8576"/>
                      <a:pt x="1346" y="8433"/>
                    </a:cubicBezTo>
                    <a:lnTo>
                      <a:pt x="4584" y="5194"/>
                    </a:lnTo>
                    <a:cubicBezTo>
                      <a:pt x="4858" y="4933"/>
                      <a:pt x="4882" y="4492"/>
                      <a:pt x="4632" y="4206"/>
                    </a:cubicBezTo>
                    <a:lnTo>
                      <a:pt x="1393" y="265"/>
                    </a:lnTo>
                    <a:cubicBezTo>
                      <a:pt x="1246" y="91"/>
                      <a:pt x="1035" y="0"/>
                      <a:pt x="82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09" name="Google Shape;209;p4"/>
              <p:cNvSpPr/>
              <p:nvPr/>
            </p:nvSpPr>
            <p:spPr>
              <a:xfrm>
                <a:off x="5291972" y="4251410"/>
                <a:ext cx="302380" cy="535549"/>
              </a:xfrm>
              <a:custGeom>
                <a:avLst/>
                <a:gdLst/>
                <a:ahLst/>
                <a:cxnLst/>
                <a:rect l="l" t="t" r="r" b="b"/>
                <a:pathLst>
                  <a:path w="4883" h="8648" extrusionOk="0">
                    <a:moveTo>
                      <a:pt x="822" y="0"/>
                    </a:moveTo>
                    <a:cubicBezTo>
                      <a:pt x="655" y="0"/>
                      <a:pt x="487" y="55"/>
                      <a:pt x="346" y="170"/>
                    </a:cubicBezTo>
                    <a:cubicBezTo>
                      <a:pt x="168" y="313"/>
                      <a:pt x="72" y="527"/>
                      <a:pt x="72" y="742"/>
                    </a:cubicBezTo>
                    <a:cubicBezTo>
                      <a:pt x="72" y="908"/>
                      <a:pt x="132" y="1075"/>
                      <a:pt x="251" y="1218"/>
                    </a:cubicBezTo>
                    <a:lnTo>
                      <a:pt x="3061" y="4623"/>
                    </a:lnTo>
                    <a:lnTo>
                      <a:pt x="298" y="7373"/>
                    </a:lnTo>
                    <a:cubicBezTo>
                      <a:pt x="1" y="7671"/>
                      <a:pt x="1" y="8135"/>
                      <a:pt x="298" y="8433"/>
                    </a:cubicBezTo>
                    <a:cubicBezTo>
                      <a:pt x="441" y="8576"/>
                      <a:pt x="629" y="8647"/>
                      <a:pt x="818" y="8647"/>
                    </a:cubicBezTo>
                    <a:cubicBezTo>
                      <a:pt x="1007" y="8647"/>
                      <a:pt x="1197" y="8576"/>
                      <a:pt x="1346" y="8433"/>
                    </a:cubicBezTo>
                    <a:lnTo>
                      <a:pt x="4585" y="5194"/>
                    </a:lnTo>
                    <a:cubicBezTo>
                      <a:pt x="4859" y="4933"/>
                      <a:pt x="4882" y="4492"/>
                      <a:pt x="4632" y="4206"/>
                    </a:cubicBezTo>
                    <a:lnTo>
                      <a:pt x="1394" y="265"/>
                    </a:lnTo>
                    <a:cubicBezTo>
                      <a:pt x="1247" y="91"/>
                      <a:pt x="1035" y="0"/>
                      <a:pt x="82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10" name="Google Shape;210;p4"/>
              <p:cNvSpPr/>
              <p:nvPr/>
            </p:nvSpPr>
            <p:spPr>
              <a:xfrm>
                <a:off x="5059762" y="4251410"/>
                <a:ext cx="302318" cy="535549"/>
              </a:xfrm>
              <a:custGeom>
                <a:avLst/>
                <a:gdLst/>
                <a:ahLst/>
                <a:cxnLst/>
                <a:rect l="l" t="t" r="r" b="b"/>
                <a:pathLst>
                  <a:path w="4882" h="8648" extrusionOk="0">
                    <a:moveTo>
                      <a:pt x="821" y="0"/>
                    </a:moveTo>
                    <a:cubicBezTo>
                      <a:pt x="655" y="0"/>
                      <a:pt x="486" y="55"/>
                      <a:pt x="346" y="170"/>
                    </a:cubicBezTo>
                    <a:cubicBezTo>
                      <a:pt x="167" y="313"/>
                      <a:pt x="72" y="527"/>
                      <a:pt x="72" y="742"/>
                    </a:cubicBezTo>
                    <a:cubicBezTo>
                      <a:pt x="72" y="908"/>
                      <a:pt x="131" y="1075"/>
                      <a:pt x="238" y="1218"/>
                    </a:cubicBezTo>
                    <a:lnTo>
                      <a:pt x="3060" y="4623"/>
                    </a:lnTo>
                    <a:lnTo>
                      <a:pt x="298" y="7373"/>
                    </a:lnTo>
                    <a:cubicBezTo>
                      <a:pt x="0" y="7671"/>
                      <a:pt x="0" y="8135"/>
                      <a:pt x="298" y="8433"/>
                    </a:cubicBezTo>
                    <a:cubicBezTo>
                      <a:pt x="441" y="8576"/>
                      <a:pt x="628" y="8647"/>
                      <a:pt x="817" y="8647"/>
                    </a:cubicBezTo>
                    <a:cubicBezTo>
                      <a:pt x="1006" y="8647"/>
                      <a:pt x="1197" y="8576"/>
                      <a:pt x="1346" y="8433"/>
                    </a:cubicBezTo>
                    <a:lnTo>
                      <a:pt x="4584" y="5194"/>
                    </a:lnTo>
                    <a:cubicBezTo>
                      <a:pt x="4858" y="4933"/>
                      <a:pt x="4882" y="4492"/>
                      <a:pt x="4632" y="4206"/>
                    </a:cubicBezTo>
                    <a:lnTo>
                      <a:pt x="1393" y="265"/>
                    </a:lnTo>
                    <a:cubicBezTo>
                      <a:pt x="1246" y="91"/>
                      <a:pt x="1035" y="0"/>
                      <a:pt x="82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211" name="Google Shape;211;p4"/>
            <p:cNvSpPr/>
            <p:nvPr/>
          </p:nvSpPr>
          <p:spPr>
            <a:xfrm rot="-10591970">
              <a:off x="301099" y="273644"/>
              <a:ext cx="686106" cy="823831"/>
            </a:xfrm>
            <a:custGeom>
              <a:avLst/>
              <a:gdLst/>
              <a:ahLst/>
              <a:cxnLst/>
              <a:rect l="l" t="t" r="r" b="b"/>
              <a:pathLst>
                <a:path w="16765" h="21444" extrusionOk="0">
                  <a:moveTo>
                    <a:pt x="16372" y="1"/>
                  </a:moveTo>
                  <a:cubicBezTo>
                    <a:pt x="6478" y="1929"/>
                    <a:pt x="1" y="11550"/>
                    <a:pt x="1930" y="21444"/>
                  </a:cubicBezTo>
                  <a:lnTo>
                    <a:pt x="3966" y="21039"/>
                  </a:lnTo>
                  <a:cubicBezTo>
                    <a:pt x="2263" y="12276"/>
                    <a:pt x="8002" y="3751"/>
                    <a:pt x="16765" y="2049"/>
                  </a:cubicBezTo>
                  <a:lnTo>
                    <a:pt x="1637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212" name="Google Shape;212;p4"/>
            <p:cNvGrpSpPr/>
            <p:nvPr/>
          </p:nvGrpSpPr>
          <p:grpSpPr>
            <a:xfrm>
              <a:off x="7965335" y="4290960"/>
              <a:ext cx="701082" cy="695060"/>
              <a:chOff x="8199075" y="707526"/>
              <a:chExt cx="698498" cy="692498"/>
            </a:xfrm>
          </p:grpSpPr>
          <p:sp>
            <p:nvSpPr>
              <p:cNvPr id="213" name="Google Shape;213;p4"/>
              <p:cNvSpPr/>
              <p:nvPr/>
            </p:nvSpPr>
            <p:spPr>
              <a:xfrm>
                <a:off x="8323973" y="832424"/>
                <a:ext cx="573600" cy="567600"/>
              </a:xfrm>
              <a:prstGeom prst="ellipse">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14" name="Google Shape;214;p4"/>
              <p:cNvSpPr/>
              <p:nvPr/>
            </p:nvSpPr>
            <p:spPr>
              <a:xfrm>
                <a:off x="8199075" y="707526"/>
                <a:ext cx="573600" cy="5676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spTree>
    <p:extLst>
      <p:ext uri="{BB962C8B-B14F-4D97-AF65-F5344CB8AC3E}">
        <p14:creationId xmlns:p14="http://schemas.microsoft.com/office/powerpoint/2010/main" val="3012529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15"/>
        <p:cNvGrpSpPr/>
        <p:nvPr/>
      </p:nvGrpSpPr>
      <p:grpSpPr>
        <a:xfrm>
          <a:off x="0" y="0"/>
          <a:ext cx="0" cy="0"/>
          <a:chOff x="0" y="0"/>
          <a:chExt cx="0" cy="0"/>
        </a:xfrm>
      </p:grpSpPr>
      <p:grpSp>
        <p:nvGrpSpPr>
          <p:cNvPr id="216" name="Google Shape;216;p5"/>
          <p:cNvGrpSpPr/>
          <p:nvPr/>
        </p:nvGrpSpPr>
        <p:grpSpPr>
          <a:xfrm>
            <a:off x="-132666" y="0"/>
            <a:ext cx="12373732" cy="6857917"/>
            <a:chOff x="-99500" y="0"/>
            <a:chExt cx="9280299" cy="5143438"/>
          </a:xfrm>
        </p:grpSpPr>
        <p:sp>
          <p:nvSpPr>
            <p:cNvPr id="217" name="Google Shape;217;p5"/>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18" name="Google Shape;218;p5"/>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19" name="Google Shape;219;p5"/>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0" name="Google Shape;220;p5"/>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1" name="Google Shape;221;p5"/>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2" name="Google Shape;222;p5"/>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3" name="Google Shape;223;p5"/>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4" name="Google Shape;224;p5"/>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5" name="Google Shape;225;p5"/>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6" name="Google Shape;226;p5"/>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7" name="Google Shape;227;p5"/>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8" name="Google Shape;228;p5"/>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9" name="Google Shape;229;p5"/>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0" name="Google Shape;230;p5"/>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1" name="Google Shape;231;p5"/>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2" name="Google Shape;232;p5"/>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3" name="Google Shape;233;p5"/>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4" name="Google Shape;234;p5"/>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5" name="Google Shape;235;p5"/>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6" name="Google Shape;236;p5"/>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7" name="Google Shape;237;p5"/>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8" name="Google Shape;238;p5"/>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9" name="Google Shape;239;p5"/>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0" name="Google Shape;240;p5"/>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1" name="Google Shape;241;p5"/>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2" name="Google Shape;242;p5"/>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3" name="Google Shape;243;p5"/>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4" name="Google Shape;244;p5"/>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5" name="Google Shape;245;p5"/>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6" name="Google Shape;246;p5"/>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7" name="Google Shape;247;p5"/>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8" name="Google Shape;248;p5"/>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9" name="Google Shape;249;p5"/>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0" name="Google Shape;250;p5"/>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1" name="Google Shape;251;p5"/>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2" name="Google Shape;252;p5"/>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3" name="Google Shape;253;p5"/>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4" name="Google Shape;254;p5"/>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5" name="Google Shape;255;p5"/>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6" name="Google Shape;256;p5"/>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7" name="Google Shape;257;p5"/>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8" name="Google Shape;258;p5"/>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9" name="Google Shape;259;p5"/>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260" name="Google Shape;260;p5"/>
          <p:cNvSpPr txBox="1">
            <a:spLocks noGrp="1"/>
          </p:cNvSpPr>
          <p:nvPr>
            <p:ph type="title"/>
          </p:nvPr>
        </p:nvSpPr>
        <p:spPr>
          <a:xfrm>
            <a:off x="960000" y="720000"/>
            <a:ext cx="10272000" cy="636800"/>
          </a:xfrm>
          <a:prstGeom prst="rect">
            <a:avLst/>
          </a:prstGeom>
        </p:spPr>
        <p:txBody>
          <a:bodyPr spcFirstLastPara="1" wrap="square" lIns="91425" tIns="91425" rIns="91425" bIns="91425" anchor="ctr" anchorCtr="0">
            <a:noAutofit/>
          </a:bodyPr>
          <a:lstStyle>
            <a:lvl1pPr lvl="0" algn="ctr">
              <a:spcBef>
                <a:spcPts val="0"/>
              </a:spcBef>
              <a:spcAft>
                <a:spcPts val="0"/>
              </a:spcAft>
              <a:buSzPts val="3500"/>
              <a:buNone/>
              <a:defRPr/>
            </a:lvl1pPr>
            <a:lvl2pPr lvl="1">
              <a:spcBef>
                <a:spcPts val="0"/>
              </a:spcBef>
              <a:spcAft>
                <a:spcPts val="0"/>
              </a:spcAft>
              <a:buSzPts val="3500"/>
              <a:buNone/>
              <a:defRPr/>
            </a:lvl2pPr>
            <a:lvl3pPr lvl="2">
              <a:spcBef>
                <a:spcPts val="0"/>
              </a:spcBef>
              <a:spcAft>
                <a:spcPts val="0"/>
              </a:spcAft>
              <a:buSzPts val="3500"/>
              <a:buNone/>
              <a:defRPr/>
            </a:lvl3pPr>
            <a:lvl4pPr lvl="3">
              <a:spcBef>
                <a:spcPts val="0"/>
              </a:spcBef>
              <a:spcAft>
                <a:spcPts val="0"/>
              </a:spcAft>
              <a:buSzPts val="3500"/>
              <a:buNone/>
              <a:defRPr/>
            </a:lvl4pPr>
            <a:lvl5pPr lvl="4">
              <a:spcBef>
                <a:spcPts val="0"/>
              </a:spcBef>
              <a:spcAft>
                <a:spcPts val="0"/>
              </a:spcAft>
              <a:buSzPts val="3500"/>
              <a:buNone/>
              <a:defRPr/>
            </a:lvl5pPr>
            <a:lvl6pPr lvl="5">
              <a:spcBef>
                <a:spcPts val="0"/>
              </a:spcBef>
              <a:spcAft>
                <a:spcPts val="0"/>
              </a:spcAft>
              <a:buSzPts val="3500"/>
              <a:buNone/>
              <a:defRPr/>
            </a:lvl6pPr>
            <a:lvl7pPr lvl="6">
              <a:spcBef>
                <a:spcPts val="0"/>
              </a:spcBef>
              <a:spcAft>
                <a:spcPts val="0"/>
              </a:spcAft>
              <a:buSzPts val="3500"/>
              <a:buNone/>
              <a:defRPr/>
            </a:lvl7pPr>
            <a:lvl8pPr lvl="7">
              <a:spcBef>
                <a:spcPts val="0"/>
              </a:spcBef>
              <a:spcAft>
                <a:spcPts val="0"/>
              </a:spcAft>
              <a:buSzPts val="3500"/>
              <a:buNone/>
              <a:defRPr/>
            </a:lvl8pPr>
            <a:lvl9pPr lvl="8">
              <a:spcBef>
                <a:spcPts val="0"/>
              </a:spcBef>
              <a:spcAft>
                <a:spcPts val="0"/>
              </a:spcAft>
              <a:buSzPts val="3500"/>
              <a:buNone/>
              <a:defRPr/>
            </a:lvl9pPr>
          </a:lstStyle>
          <a:p>
            <a:endParaRPr/>
          </a:p>
        </p:txBody>
      </p:sp>
      <p:sp>
        <p:nvSpPr>
          <p:cNvPr id="261" name="Google Shape;261;p5"/>
          <p:cNvSpPr txBox="1">
            <a:spLocks noGrp="1"/>
          </p:cNvSpPr>
          <p:nvPr>
            <p:ph type="subTitle" idx="1"/>
          </p:nvPr>
        </p:nvSpPr>
        <p:spPr>
          <a:xfrm>
            <a:off x="2224100" y="4345433"/>
            <a:ext cx="2870400" cy="6576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2500"/>
              <a:buFont typeface="Bebas Neue"/>
              <a:buNone/>
              <a:defRPr sz="3200" b="1">
                <a:solidFill>
                  <a:schemeClr val="dk1"/>
                </a:solidFill>
                <a:latin typeface="Bebas Neue"/>
                <a:ea typeface="Bebas Neue"/>
                <a:cs typeface="Bebas Neue"/>
                <a:sym typeface="Bebas Neue"/>
              </a:defRPr>
            </a:lvl1pPr>
            <a:lvl2pPr lvl="1" algn="ctr" rtl="0">
              <a:lnSpc>
                <a:spcPct val="100000"/>
              </a:lnSpc>
              <a:spcBef>
                <a:spcPts val="0"/>
              </a:spcBef>
              <a:spcAft>
                <a:spcPts val="0"/>
              </a:spcAft>
              <a:buSzPts val="2500"/>
              <a:buFont typeface="Bebas Neue"/>
              <a:buNone/>
              <a:defRPr sz="3333">
                <a:latin typeface="Bebas Neue"/>
                <a:ea typeface="Bebas Neue"/>
                <a:cs typeface="Bebas Neue"/>
                <a:sym typeface="Bebas Neue"/>
              </a:defRPr>
            </a:lvl2pPr>
            <a:lvl3pPr lvl="2" algn="ctr" rtl="0">
              <a:lnSpc>
                <a:spcPct val="100000"/>
              </a:lnSpc>
              <a:spcBef>
                <a:spcPts val="0"/>
              </a:spcBef>
              <a:spcAft>
                <a:spcPts val="0"/>
              </a:spcAft>
              <a:buSzPts val="2500"/>
              <a:buFont typeface="Bebas Neue"/>
              <a:buNone/>
              <a:defRPr sz="3333">
                <a:latin typeface="Bebas Neue"/>
                <a:ea typeface="Bebas Neue"/>
                <a:cs typeface="Bebas Neue"/>
                <a:sym typeface="Bebas Neue"/>
              </a:defRPr>
            </a:lvl3pPr>
            <a:lvl4pPr lvl="3" algn="ctr" rtl="0">
              <a:lnSpc>
                <a:spcPct val="100000"/>
              </a:lnSpc>
              <a:spcBef>
                <a:spcPts val="0"/>
              </a:spcBef>
              <a:spcAft>
                <a:spcPts val="0"/>
              </a:spcAft>
              <a:buSzPts val="2500"/>
              <a:buFont typeface="Bebas Neue"/>
              <a:buNone/>
              <a:defRPr sz="3333">
                <a:latin typeface="Bebas Neue"/>
                <a:ea typeface="Bebas Neue"/>
                <a:cs typeface="Bebas Neue"/>
                <a:sym typeface="Bebas Neue"/>
              </a:defRPr>
            </a:lvl4pPr>
            <a:lvl5pPr lvl="4" algn="ctr" rtl="0">
              <a:lnSpc>
                <a:spcPct val="100000"/>
              </a:lnSpc>
              <a:spcBef>
                <a:spcPts val="0"/>
              </a:spcBef>
              <a:spcAft>
                <a:spcPts val="0"/>
              </a:spcAft>
              <a:buSzPts val="2500"/>
              <a:buFont typeface="Bebas Neue"/>
              <a:buNone/>
              <a:defRPr sz="3333">
                <a:latin typeface="Bebas Neue"/>
                <a:ea typeface="Bebas Neue"/>
                <a:cs typeface="Bebas Neue"/>
                <a:sym typeface="Bebas Neue"/>
              </a:defRPr>
            </a:lvl5pPr>
            <a:lvl6pPr lvl="5" algn="ctr" rtl="0">
              <a:lnSpc>
                <a:spcPct val="100000"/>
              </a:lnSpc>
              <a:spcBef>
                <a:spcPts val="0"/>
              </a:spcBef>
              <a:spcAft>
                <a:spcPts val="0"/>
              </a:spcAft>
              <a:buSzPts val="2500"/>
              <a:buFont typeface="Bebas Neue"/>
              <a:buNone/>
              <a:defRPr sz="3333">
                <a:latin typeface="Bebas Neue"/>
                <a:ea typeface="Bebas Neue"/>
                <a:cs typeface="Bebas Neue"/>
                <a:sym typeface="Bebas Neue"/>
              </a:defRPr>
            </a:lvl6pPr>
            <a:lvl7pPr lvl="6" algn="ctr" rtl="0">
              <a:lnSpc>
                <a:spcPct val="100000"/>
              </a:lnSpc>
              <a:spcBef>
                <a:spcPts val="0"/>
              </a:spcBef>
              <a:spcAft>
                <a:spcPts val="0"/>
              </a:spcAft>
              <a:buSzPts val="2500"/>
              <a:buFont typeface="Bebas Neue"/>
              <a:buNone/>
              <a:defRPr sz="3333">
                <a:latin typeface="Bebas Neue"/>
                <a:ea typeface="Bebas Neue"/>
                <a:cs typeface="Bebas Neue"/>
                <a:sym typeface="Bebas Neue"/>
              </a:defRPr>
            </a:lvl7pPr>
            <a:lvl8pPr lvl="7" algn="ctr" rtl="0">
              <a:lnSpc>
                <a:spcPct val="100000"/>
              </a:lnSpc>
              <a:spcBef>
                <a:spcPts val="0"/>
              </a:spcBef>
              <a:spcAft>
                <a:spcPts val="0"/>
              </a:spcAft>
              <a:buSzPts val="2500"/>
              <a:buFont typeface="Bebas Neue"/>
              <a:buNone/>
              <a:defRPr sz="3333">
                <a:latin typeface="Bebas Neue"/>
                <a:ea typeface="Bebas Neue"/>
                <a:cs typeface="Bebas Neue"/>
                <a:sym typeface="Bebas Neue"/>
              </a:defRPr>
            </a:lvl8pPr>
            <a:lvl9pPr lvl="8" algn="ctr" rtl="0">
              <a:lnSpc>
                <a:spcPct val="100000"/>
              </a:lnSpc>
              <a:spcBef>
                <a:spcPts val="0"/>
              </a:spcBef>
              <a:spcAft>
                <a:spcPts val="0"/>
              </a:spcAft>
              <a:buSzPts val="2500"/>
              <a:buFont typeface="Bebas Neue"/>
              <a:buNone/>
              <a:defRPr sz="3333">
                <a:latin typeface="Bebas Neue"/>
                <a:ea typeface="Bebas Neue"/>
                <a:cs typeface="Bebas Neue"/>
                <a:sym typeface="Bebas Neue"/>
              </a:defRPr>
            </a:lvl9pPr>
          </a:lstStyle>
          <a:p>
            <a:endParaRPr/>
          </a:p>
        </p:txBody>
      </p:sp>
      <p:sp>
        <p:nvSpPr>
          <p:cNvPr id="262" name="Google Shape;262;p5"/>
          <p:cNvSpPr txBox="1">
            <a:spLocks noGrp="1"/>
          </p:cNvSpPr>
          <p:nvPr>
            <p:ph type="subTitle" idx="2"/>
          </p:nvPr>
        </p:nvSpPr>
        <p:spPr>
          <a:xfrm>
            <a:off x="7097467" y="4345433"/>
            <a:ext cx="2870400" cy="6576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2500"/>
              <a:buFont typeface="Bebas Neue"/>
              <a:buNone/>
              <a:defRPr sz="3200" b="1">
                <a:solidFill>
                  <a:schemeClr val="dk1"/>
                </a:solidFill>
                <a:latin typeface="Bebas Neue"/>
                <a:ea typeface="Bebas Neue"/>
                <a:cs typeface="Bebas Neue"/>
                <a:sym typeface="Bebas Neue"/>
              </a:defRPr>
            </a:lvl1pPr>
            <a:lvl2pPr lvl="1" algn="ctr" rtl="0">
              <a:lnSpc>
                <a:spcPct val="100000"/>
              </a:lnSpc>
              <a:spcBef>
                <a:spcPts val="0"/>
              </a:spcBef>
              <a:spcAft>
                <a:spcPts val="0"/>
              </a:spcAft>
              <a:buSzPts val="2500"/>
              <a:buFont typeface="Bebas Neue"/>
              <a:buNone/>
              <a:defRPr sz="3333">
                <a:latin typeface="Bebas Neue"/>
                <a:ea typeface="Bebas Neue"/>
                <a:cs typeface="Bebas Neue"/>
                <a:sym typeface="Bebas Neue"/>
              </a:defRPr>
            </a:lvl2pPr>
            <a:lvl3pPr lvl="2" algn="ctr" rtl="0">
              <a:lnSpc>
                <a:spcPct val="100000"/>
              </a:lnSpc>
              <a:spcBef>
                <a:spcPts val="0"/>
              </a:spcBef>
              <a:spcAft>
                <a:spcPts val="0"/>
              </a:spcAft>
              <a:buSzPts val="2500"/>
              <a:buFont typeface="Bebas Neue"/>
              <a:buNone/>
              <a:defRPr sz="3333">
                <a:latin typeface="Bebas Neue"/>
                <a:ea typeface="Bebas Neue"/>
                <a:cs typeface="Bebas Neue"/>
                <a:sym typeface="Bebas Neue"/>
              </a:defRPr>
            </a:lvl3pPr>
            <a:lvl4pPr lvl="3" algn="ctr" rtl="0">
              <a:lnSpc>
                <a:spcPct val="100000"/>
              </a:lnSpc>
              <a:spcBef>
                <a:spcPts val="0"/>
              </a:spcBef>
              <a:spcAft>
                <a:spcPts val="0"/>
              </a:spcAft>
              <a:buSzPts val="2500"/>
              <a:buFont typeface="Bebas Neue"/>
              <a:buNone/>
              <a:defRPr sz="3333">
                <a:latin typeface="Bebas Neue"/>
                <a:ea typeface="Bebas Neue"/>
                <a:cs typeface="Bebas Neue"/>
                <a:sym typeface="Bebas Neue"/>
              </a:defRPr>
            </a:lvl4pPr>
            <a:lvl5pPr lvl="4" algn="ctr" rtl="0">
              <a:lnSpc>
                <a:spcPct val="100000"/>
              </a:lnSpc>
              <a:spcBef>
                <a:spcPts val="0"/>
              </a:spcBef>
              <a:spcAft>
                <a:spcPts val="0"/>
              </a:spcAft>
              <a:buSzPts val="2500"/>
              <a:buFont typeface="Bebas Neue"/>
              <a:buNone/>
              <a:defRPr sz="3333">
                <a:latin typeface="Bebas Neue"/>
                <a:ea typeface="Bebas Neue"/>
                <a:cs typeface="Bebas Neue"/>
                <a:sym typeface="Bebas Neue"/>
              </a:defRPr>
            </a:lvl5pPr>
            <a:lvl6pPr lvl="5" algn="ctr" rtl="0">
              <a:lnSpc>
                <a:spcPct val="100000"/>
              </a:lnSpc>
              <a:spcBef>
                <a:spcPts val="0"/>
              </a:spcBef>
              <a:spcAft>
                <a:spcPts val="0"/>
              </a:spcAft>
              <a:buSzPts val="2500"/>
              <a:buFont typeface="Bebas Neue"/>
              <a:buNone/>
              <a:defRPr sz="3333">
                <a:latin typeface="Bebas Neue"/>
                <a:ea typeface="Bebas Neue"/>
                <a:cs typeface="Bebas Neue"/>
                <a:sym typeface="Bebas Neue"/>
              </a:defRPr>
            </a:lvl6pPr>
            <a:lvl7pPr lvl="6" algn="ctr" rtl="0">
              <a:lnSpc>
                <a:spcPct val="100000"/>
              </a:lnSpc>
              <a:spcBef>
                <a:spcPts val="0"/>
              </a:spcBef>
              <a:spcAft>
                <a:spcPts val="0"/>
              </a:spcAft>
              <a:buSzPts val="2500"/>
              <a:buFont typeface="Bebas Neue"/>
              <a:buNone/>
              <a:defRPr sz="3333">
                <a:latin typeface="Bebas Neue"/>
                <a:ea typeface="Bebas Neue"/>
                <a:cs typeface="Bebas Neue"/>
                <a:sym typeface="Bebas Neue"/>
              </a:defRPr>
            </a:lvl7pPr>
            <a:lvl8pPr lvl="7" algn="ctr" rtl="0">
              <a:lnSpc>
                <a:spcPct val="100000"/>
              </a:lnSpc>
              <a:spcBef>
                <a:spcPts val="0"/>
              </a:spcBef>
              <a:spcAft>
                <a:spcPts val="0"/>
              </a:spcAft>
              <a:buSzPts val="2500"/>
              <a:buFont typeface="Bebas Neue"/>
              <a:buNone/>
              <a:defRPr sz="3333">
                <a:latin typeface="Bebas Neue"/>
                <a:ea typeface="Bebas Neue"/>
                <a:cs typeface="Bebas Neue"/>
                <a:sym typeface="Bebas Neue"/>
              </a:defRPr>
            </a:lvl8pPr>
            <a:lvl9pPr lvl="8" algn="ctr" rtl="0">
              <a:lnSpc>
                <a:spcPct val="100000"/>
              </a:lnSpc>
              <a:spcBef>
                <a:spcPts val="0"/>
              </a:spcBef>
              <a:spcAft>
                <a:spcPts val="0"/>
              </a:spcAft>
              <a:buSzPts val="2500"/>
              <a:buFont typeface="Bebas Neue"/>
              <a:buNone/>
              <a:defRPr sz="3333">
                <a:latin typeface="Bebas Neue"/>
                <a:ea typeface="Bebas Neue"/>
                <a:cs typeface="Bebas Neue"/>
                <a:sym typeface="Bebas Neue"/>
              </a:defRPr>
            </a:lvl9pPr>
          </a:lstStyle>
          <a:p>
            <a:endParaRPr/>
          </a:p>
        </p:txBody>
      </p:sp>
      <p:sp>
        <p:nvSpPr>
          <p:cNvPr id="263" name="Google Shape;263;p5"/>
          <p:cNvSpPr txBox="1">
            <a:spLocks noGrp="1"/>
          </p:cNvSpPr>
          <p:nvPr>
            <p:ph type="subTitle" idx="3"/>
          </p:nvPr>
        </p:nvSpPr>
        <p:spPr>
          <a:xfrm>
            <a:off x="2224100" y="5003116"/>
            <a:ext cx="2870400" cy="866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8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264" name="Google Shape;264;p5"/>
          <p:cNvSpPr txBox="1">
            <a:spLocks noGrp="1"/>
          </p:cNvSpPr>
          <p:nvPr>
            <p:ph type="subTitle" idx="4"/>
          </p:nvPr>
        </p:nvSpPr>
        <p:spPr>
          <a:xfrm>
            <a:off x="7097467" y="5003116"/>
            <a:ext cx="2870400" cy="866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8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265" name="Google Shape;265;p5"/>
          <p:cNvSpPr/>
          <p:nvPr/>
        </p:nvSpPr>
        <p:spPr>
          <a:xfrm rot="8910550">
            <a:off x="-319788" y="180860"/>
            <a:ext cx="2120163" cy="1688237"/>
          </a:xfrm>
          <a:custGeom>
            <a:avLst/>
            <a:gdLst/>
            <a:ahLst/>
            <a:cxnLst/>
            <a:rect l="l" t="t" r="r" b="b"/>
            <a:pathLst>
              <a:path w="26325" h="20962" extrusionOk="0">
                <a:moveTo>
                  <a:pt x="20700" y="1"/>
                </a:moveTo>
                <a:cubicBezTo>
                  <a:pt x="20318" y="1"/>
                  <a:pt x="19931" y="106"/>
                  <a:pt x="19586" y="328"/>
                </a:cubicBezTo>
                <a:cubicBezTo>
                  <a:pt x="18622" y="947"/>
                  <a:pt x="18336" y="2233"/>
                  <a:pt x="18955" y="3197"/>
                </a:cubicBezTo>
                <a:cubicBezTo>
                  <a:pt x="21598" y="7293"/>
                  <a:pt x="20407" y="12770"/>
                  <a:pt x="16312" y="15401"/>
                </a:cubicBezTo>
                <a:cubicBezTo>
                  <a:pt x="14865" y="16328"/>
                  <a:pt x="13224" y="16807"/>
                  <a:pt x="11552" y="16807"/>
                </a:cubicBezTo>
                <a:cubicBezTo>
                  <a:pt x="10925" y="16807"/>
                  <a:pt x="10294" y="16740"/>
                  <a:pt x="9668" y="16604"/>
                </a:cubicBezTo>
                <a:cubicBezTo>
                  <a:pt x="7358" y="16104"/>
                  <a:pt x="5382" y="14734"/>
                  <a:pt x="4108" y="12758"/>
                </a:cubicBezTo>
                <a:cubicBezTo>
                  <a:pt x="3710" y="12139"/>
                  <a:pt x="3038" y="11800"/>
                  <a:pt x="2353" y="11800"/>
                </a:cubicBezTo>
                <a:cubicBezTo>
                  <a:pt x="1970" y="11800"/>
                  <a:pt x="1584" y="11905"/>
                  <a:pt x="1238" y="12127"/>
                </a:cubicBezTo>
                <a:cubicBezTo>
                  <a:pt x="274" y="12758"/>
                  <a:pt x="0" y="14044"/>
                  <a:pt x="619" y="15008"/>
                </a:cubicBezTo>
                <a:cubicBezTo>
                  <a:pt x="2489" y="17925"/>
                  <a:pt x="5394" y="19938"/>
                  <a:pt x="8775" y="20664"/>
                </a:cubicBezTo>
                <a:cubicBezTo>
                  <a:pt x="9704" y="20866"/>
                  <a:pt x="10632" y="20961"/>
                  <a:pt x="11561" y="20961"/>
                </a:cubicBezTo>
                <a:cubicBezTo>
                  <a:pt x="14026" y="20961"/>
                  <a:pt x="16443" y="20259"/>
                  <a:pt x="18562" y="18902"/>
                </a:cubicBezTo>
                <a:cubicBezTo>
                  <a:pt x="24587" y="15020"/>
                  <a:pt x="26325" y="6972"/>
                  <a:pt x="22455" y="959"/>
                </a:cubicBezTo>
                <a:cubicBezTo>
                  <a:pt x="22058" y="340"/>
                  <a:pt x="21386" y="1"/>
                  <a:pt x="20700" y="1"/>
                </a:cubicBezTo>
                <a:close/>
              </a:path>
            </a:pathLst>
          </a:cu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66" name="Google Shape;266;p5"/>
          <p:cNvSpPr/>
          <p:nvPr/>
        </p:nvSpPr>
        <p:spPr>
          <a:xfrm>
            <a:off x="10692000" y="5397833"/>
            <a:ext cx="1500000" cy="12988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267" name="Google Shape;267;p5"/>
          <p:cNvGrpSpPr/>
          <p:nvPr/>
        </p:nvGrpSpPr>
        <p:grpSpPr>
          <a:xfrm>
            <a:off x="702783" y="5596448"/>
            <a:ext cx="1022400" cy="714065"/>
            <a:chOff x="5059762" y="4251410"/>
            <a:chExt cx="766800" cy="535549"/>
          </a:xfrm>
        </p:grpSpPr>
        <p:sp>
          <p:nvSpPr>
            <p:cNvPr id="268" name="Google Shape;268;p5"/>
            <p:cNvSpPr/>
            <p:nvPr/>
          </p:nvSpPr>
          <p:spPr>
            <a:xfrm>
              <a:off x="5524244" y="4251410"/>
              <a:ext cx="302318" cy="535549"/>
            </a:xfrm>
            <a:custGeom>
              <a:avLst/>
              <a:gdLst/>
              <a:ahLst/>
              <a:cxnLst/>
              <a:rect l="l" t="t" r="r" b="b"/>
              <a:pathLst>
                <a:path w="4882" h="8648" extrusionOk="0">
                  <a:moveTo>
                    <a:pt x="821" y="0"/>
                  </a:moveTo>
                  <a:cubicBezTo>
                    <a:pt x="654" y="0"/>
                    <a:pt x="486" y="55"/>
                    <a:pt x="346" y="170"/>
                  </a:cubicBezTo>
                  <a:cubicBezTo>
                    <a:pt x="167" y="313"/>
                    <a:pt x="84" y="527"/>
                    <a:pt x="84" y="742"/>
                  </a:cubicBezTo>
                  <a:cubicBezTo>
                    <a:pt x="84" y="908"/>
                    <a:pt x="131" y="1075"/>
                    <a:pt x="250" y="1218"/>
                  </a:cubicBezTo>
                  <a:lnTo>
                    <a:pt x="3060" y="4623"/>
                  </a:lnTo>
                  <a:lnTo>
                    <a:pt x="298" y="7373"/>
                  </a:lnTo>
                  <a:cubicBezTo>
                    <a:pt x="12" y="7671"/>
                    <a:pt x="0" y="8135"/>
                    <a:pt x="298" y="8433"/>
                  </a:cubicBezTo>
                  <a:cubicBezTo>
                    <a:pt x="441" y="8576"/>
                    <a:pt x="631" y="8647"/>
                    <a:pt x="822" y="8647"/>
                  </a:cubicBezTo>
                  <a:cubicBezTo>
                    <a:pt x="1012" y="8647"/>
                    <a:pt x="1203" y="8576"/>
                    <a:pt x="1346" y="8433"/>
                  </a:cubicBezTo>
                  <a:lnTo>
                    <a:pt x="4584" y="5194"/>
                  </a:lnTo>
                  <a:cubicBezTo>
                    <a:pt x="4858" y="4933"/>
                    <a:pt x="4882" y="4492"/>
                    <a:pt x="4632" y="4206"/>
                  </a:cubicBezTo>
                  <a:lnTo>
                    <a:pt x="1393" y="265"/>
                  </a:lnTo>
                  <a:cubicBezTo>
                    <a:pt x="1246" y="91"/>
                    <a:pt x="1035" y="0"/>
                    <a:pt x="82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69" name="Google Shape;269;p5"/>
            <p:cNvSpPr/>
            <p:nvPr/>
          </p:nvSpPr>
          <p:spPr>
            <a:xfrm>
              <a:off x="5291972" y="4251410"/>
              <a:ext cx="302380" cy="535549"/>
            </a:xfrm>
            <a:custGeom>
              <a:avLst/>
              <a:gdLst/>
              <a:ahLst/>
              <a:cxnLst/>
              <a:rect l="l" t="t" r="r" b="b"/>
              <a:pathLst>
                <a:path w="4883" h="8648" extrusionOk="0">
                  <a:moveTo>
                    <a:pt x="822" y="0"/>
                  </a:moveTo>
                  <a:cubicBezTo>
                    <a:pt x="655" y="0"/>
                    <a:pt x="487" y="55"/>
                    <a:pt x="346" y="170"/>
                  </a:cubicBezTo>
                  <a:cubicBezTo>
                    <a:pt x="168" y="313"/>
                    <a:pt x="72" y="527"/>
                    <a:pt x="72" y="742"/>
                  </a:cubicBezTo>
                  <a:cubicBezTo>
                    <a:pt x="72" y="908"/>
                    <a:pt x="132" y="1075"/>
                    <a:pt x="251" y="1218"/>
                  </a:cubicBezTo>
                  <a:lnTo>
                    <a:pt x="3061" y="4623"/>
                  </a:lnTo>
                  <a:lnTo>
                    <a:pt x="298" y="7373"/>
                  </a:lnTo>
                  <a:cubicBezTo>
                    <a:pt x="1" y="7671"/>
                    <a:pt x="1" y="8135"/>
                    <a:pt x="298" y="8433"/>
                  </a:cubicBezTo>
                  <a:cubicBezTo>
                    <a:pt x="441" y="8576"/>
                    <a:pt x="629" y="8647"/>
                    <a:pt x="818" y="8647"/>
                  </a:cubicBezTo>
                  <a:cubicBezTo>
                    <a:pt x="1007" y="8647"/>
                    <a:pt x="1197" y="8576"/>
                    <a:pt x="1346" y="8433"/>
                  </a:cubicBezTo>
                  <a:lnTo>
                    <a:pt x="4585" y="5194"/>
                  </a:lnTo>
                  <a:cubicBezTo>
                    <a:pt x="4859" y="4933"/>
                    <a:pt x="4882" y="4492"/>
                    <a:pt x="4632" y="4206"/>
                  </a:cubicBezTo>
                  <a:lnTo>
                    <a:pt x="1394" y="265"/>
                  </a:lnTo>
                  <a:cubicBezTo>
                    <a:pt x="1247" y="91"/>
                    <a:pt x="1035" y="0"/>
                    <a:pt x="82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70" name="Google Shape;270;p5"/>
            <p:cNvSpPr/>
            <p:nvPr/>
          </p:nvSpPr>
          <p:spPr>
            <a:xfrm>
              <a:off x="5059762" y="4251410"/>
              <a:ext cx="302318" cy="535549"/>
            </a:xfrm>
            <a:custGeom>
              <a:avLst/>
              <a:gdLst/>
              <a:ahLst/>
              <a:cxnLst/>
              <a:rect l="l" t="t" r="r" b="b"/>
              <a:pathLst>
                <a:path w="4882" h="8648" extrusionOk="0">
                  <a:moveTo>
                    <a:pt x="821" y="0"/>
                  </a:moveTo>
                  <a:cubicBezTo>
                    <a:pt x="655" y="0"/>
                    <a:pt x="486" y="55"/>
                    <a:pt x="346" y="170"/>
                  </a:cubicBezTo>
                  <a:cubicBezTo>
                    <a:pt x="167" y="313"/>
                    <a:pt x="72" y="527"/>
                    <a:pt x="72" y="742"/>
                  </a:cubicBezTo>
                  <a:cubicBezTo>
                    <a:pt x="72" y="908"/>
                    <a:pt x="131" y="1075"/>
                    <a:pt x="238" y="1218"/>
                  </a:cubicBezTo>
                  <a:lnTo>
                    <a:pt x="3060" y="4623"/>
                  </a:lnTo>
                  <a:lnTo>
                    <a:pt x="298" y="7373"/>
                  </a:lnTo>
                  <a:cubicBezTo>
                    <a:pt x="0" y="7671"/>
                    <a:pt x="0" y="8135"/>
                    <a:pt x="298" y="8433"/>
                  </a:cubicBezTo>
                  <a:cubicBezTo>
                    <a:pt x="441" y="8576"/>
                    <a:pt x="628" y="8647"/>
                    <a:pt x="817" y="8647"/>
                  </a:cubicBezTo>
                  <a:cubicBezTo>
                    <a:pt x="1006" y="8647"/>
                    <a:pt x="1197" y="8576"/>
                    <a:pt x="1346" y="8433"/>
                  </a:cubicBezTo>
                  <a:lnTo>
                    <a:pt x="4584" y="5194"/>
                  </a:lnTo>
                  <a:cubicBezTo>
                    <a:pt x="4858" y="4933"/>
                    <a:pt x="4882" y="4492"/>
                    <a:pt x="4632" y="4206"/>
                  </a:cubicBezTo>
                  <a:lnTo>
                    <a:pt x="1393" y="265"/>
                  </a:lnTo>
                  <a:cubicBezTo>
                    <a:pt x="1246" y="91"/>
                    <a:pt x="1035" y="0"/>
                    <a:pt x="82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22767882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71"/>
        <p:cNvGrpSpPr/>
        <p:nvPr/>
      </p:nvGrpSpPr>
      <p:grpSpPr>
        <a:xfrm>
          <a:off x="0" y="0"/>
          <a:ext cx="0" cy="0"/>
          <a:chOff x="0" y="0"/>
          <a:chExt cx="0" cy="0"/>
        </a:xfrm>
      </p:grpSpPr>
      <p:grpSp>
        <p:nvGrpSpPr>
          <p:cNvPr id="272" name="Google Shape;272;p6"/>
          <p:cNvGrpSpPr/>
          <p:nvPr/>
        </p:nvGrpSpPr>
        <p:grpSpPr>
          <a:xfrm>
            <a:off x="-132666" y="0"/>
            <a:ext cx="12373732" cy="6857917"/>
            <a:chOff x="-99500" y="0"/>
            <a:chExt cx="9280299" cy="5143438"/>
          </a:xfrm>
        </p:grpSpPr>
        <p:sp>
          <p:nvSpPr>
            <p:cNvPr id="273" name="Google Shape;273;p6"/>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74" name="Google Shape;274;p6"/>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75" name="Google Shape;275;p6"/>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76" name="Google Shape;276;p6"/>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77" name="Google Shape;277;p6"/>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78" name="Google Shape;278;p6"/>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79" name="Google Shape;279;p6"/>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80" name="Google Shape;280;p6"/>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81" name="Google Shape;281;p6"/>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82" name="Google Shape;282;p6"/>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83" name="Google Shape;283;p6"/>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84" name="Google Shape;284;p6"/>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85" name="Google Shape;285;p6"/>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86" name="Google Shape;286;p6"/>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87" name="Google Shape;287;p6"/>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88" name="Google Shape;288;p6"/>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89" name="Google Shape;289;p6"/>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90" name="Google Shape;290;p6"/>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91" name="Google Shape;291;p6"/>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92" name="Google Shape;292;p6"/>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93" name="Google Shape;293;p6"/>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94" name="Google Shape;294;p6"/>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95" name="Google Shape;295;p6"/>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96" name="Google Shape;296;p6"/>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97" name="Google Shape;297;p6"/>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98" name="Google Shape;298;p6"/>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99" name="Google Shape;299;p6"/>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00" name="Google Shape;300;p6"/>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01" name="Google Shape;301;p6"/>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02" name="Google Shape;302;p6"/>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03" name="Google Shape;303;p6"/>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04" name="Google Shape;304;p6"/>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05" name="Google Shape;305;p6"/>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06" name="Google Shape;306;p6"/>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07" name="Google Shape;307;p6"/>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08" name="Google Shape;308;p6"/>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09" name="Google Shape;309;p6"/>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10" name="Google Shape;310;p6"/>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11" name="Google Shape;311;p6"/>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12" name="Google Shape;312;p6"/>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13" name="Google Shape;313;p6"/>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14" name="Google Shape;314;p6"/>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15" name="Google Shape;315;p6"/>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316" name="Google Shape;316;p6"/>
          <p:cNvSpPr txBox="1">
            <a:spLocks noGrp="1"/>
          </p:cNvSpPr>
          <p:nvPr>
            <p:ph type="title"/>
          </p:nvPr>
        </p:nvSpPr>
        <p:spPr>
          <a:xfrm>
            <a:off x="960000" y="720000"/>
            <a:ext cx="10272000" cy="636800"/>
          </a:xfrm>
          <a:prstGeom prst="rect">
            <a:avLst/>
          </a:prstGeom>
        </p:spPr>
        <p:txBody>
          <a:bodyPr spcFirstLastPara="1" wrap="square" lIns="91425" tIns="91425" rIns="91425" bIns="91425" anchor="ctr" anchorCtr="0">
            <a:noAutofit/>
          </a:bodyPr>
          <a:lstStyle>
            <a:lvl1pPr lvl="0" algn="ctr">
              <a:spcBef>
                <a:spcPts val="0"/>
              </a:spcBef>
              <a:spcAft>
                <a:spcPts val="0"/>
              </a:spcAft>
              <a:buSzPts val="3500"/>
              <a:buNone/>
              <a:defRPr/>
            </a:lvl1pPr>
            <a:lvl2pPr lvl="1">
              <a:spcBef>
                <a:spcPts val="0"/>
              </a:spcBef>
              <a:spcAft>
                <a:spcPts val="0"/>
              </a:spcAft>
              <a:buSzPts val="3500"/>
              <a:buNone/>
              <a:defRPr/>
            </a:lvl2pPr>
            <a:lvl3pPr lvl="2">
              <a:spcBef>
                <a:spcPts val="0"/>
              </a:spcBef>
              <a:spcAft>
                <a:spcPts val="0"/>
              </a:spcAft>
              <a:buSzPts val="3500"/>
              <a:buNone/>
              <a:defRPr/>
            </a:lvl3pPr>
            <a:lvl4pPr lvl="3">
              <a:spcBef>
                <a:spcPts val="0"/>
              </a:spcBef>
              <a:spcAft>
                <a:spcPts val="0"/>
              </a:spcAft>
              <a:buSzPts val="3500"/>
              <a:buNone/>
              <a:defRPr/>
            </a:lvl4pPr>
            <a:lvl5pPr lvl="4">
              <a:spcBef>
                <a:spcPts val="0"/>
              </a:spcBef>
              <a:spcAft>
                <a:spcPts val="0"/>
              </a:spcAft>
              <a:buSzPts val="3500"/>
              <a:buNone/>
              <a:defRPr/>
            </a:lvl5pPr>
            <a:lvl6pPr lvl="5">
              <a:spcBef>
                <a:spcPts val="0"/>
              </a:spcBef>
              <a:spcAft>
                <a:spcPts val="0"/>
              </a:spcAft>
              <a:buSzPts val="3500"/>
              <a:buNone/>
              <a:defRPr/>
            </a:lvl6pPr>
            <a:lvl7pPr lvl="6">
              <a:spcBef>
                <a:spcPts val="0"/>
              </a:spcBef>
              <a:spcAft>
                <a:spcPts val="0"/>
              </a:spcAft>
              <a:buSzPts val="3500"/>
              <a:buNone/>
              <a:defRPr/>
            </a:lvl7pPr>
            <a:lvl8pPr lvl="7">
              <a:spcBef>
                <a:spcPts val="0"/>
              </a:spcBef>
              <a:spcAft>
                <a:spcPts val="0"/>
              </a:spcAft>
              <a:buSzPts val="3500"/>
              <a:buNone/>
              <a:defRPr/>
            </a:lvl8pPr>
            <a:lvl9pPr lvl="8">
              <a:spcBef>
                <a:spcPts val="0"/>
              </a:spcBef>
              <a:spcAft>
                <a:spcPts val="0"/>
              </a:spcAft>
              <a:buSzPts val="3500"/>
              <a:buNone/>
              <a:defRPr/>
            </a:lvl9pPr>
          </a:lstStyle>
          <a:p>
            <a:endParaRPr/>
          </a:p>
        </p:txBody>
      </p:sp>
      <p:sp>
        <p:nvSpPr>
          <p:cNvPr id="317" name="Google Shape;317;p6"/>
          <p:cNvSpPr/>
          <p:nvPr/>
        </p:nvSpPr>
        <p:spPr>
          <a:xfrm>
            <a:off x="176821" y="5547867"/>
            <a:ext cx="413816" cy="734672"/>
          </a:xfrm>
          <a:custGeom>
            <a:avLst/>
            <a:gdLst/>
            <a:ahLst/>
            <a:cxnLst/>
            <a:rect l="l" t="t" r="r" b="b"/>
            <a:pathLst>
              <a:path w="5002" h="8880" extrusionOk="0">
                <a:moveTo>
                  <a:pt x="842" y="0"/>
                </a:moveTo>
                <a:cubicBezTo>
                  <a:pt x="671" y="0"/>
                  <a:pt x="500" y="59"/>
                  <a:pt x="358" y="179"/>
                </a:cubicBezTo>
                <a:cubicBezTo>
                  <a:pt x="168" y="322"/>
                  <a:pt x="72" y="536"/>
                  <a:pt x="72" y="763"/>
                </a:cubicBezTo>
                <a:cubicBezTo>
                  <a:pt x="72" y="929"/>
                  <a:pt x="132" y="1108"/>
                  <a:pt x="251" y="1251"/>
                </a:cubicBezTo>
                <a:lnTo>
                  <a:pt x="3132" y="4751"/>
                </a:lnTo>
                <a:lnTo>
                  <a:pt x="299" y="7573"/>
                </a:lnTo>
                <a:cubicBezTo>
                  <a:pt x="1" y="7871"/>
                  <a:pt x="1" y="8359"/>
                  <a:pt x="299" y="8656"/>
                </a:cubicBezTo>
                <a:cubicBezTo>
                  <a:pt x="447" y="8805"/>
                  <a:pt x="641" y="8880"/>
                  <a:pt x="834" y="8880"/>
                </a:cubicBezTo>
                <a:cubicBezTo>
                  <a:pt x="1028" y="8880"/>
                  <a:pt x="1221" y="8805"/>
                  <a:pt x="1370" y="8656"/>
                </a:cubicBezTo>
                <a:lnTo>
                  <a:pt x="4704" y="5335"/>
                </a:lnTo>
                <a:cubicBezTo>
                  <a:pt x="4990" y="5061"/>
                  <a:pt x="5002" y="4620"/>
                  <a:pt x="4752" y="4311"/>
                </a:cubicBezTo>
                <a:lnTo>
                  <a:pt x="1430" y="274"/>
                </a:lnTo>
                <a:cubicBezTo>
                  <a:pt x="1276" y="95"/>
                  <a:pt x="1060" y="0"/>
                  <a:pt x="842" y="0"/>
                </a:cubicBezTo>
                <a:close/>
              </a:path>
            </a:pathLst>
          </a:cu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18" name="Google Shape;318;p6"/>
          <p:cNvSpPr/>
          <p:nvPr/>
        </p:nvSpPr>
        <p:spPr>
          <a:xfrm>
            <a:off x="-142271" y="5547867"/>
            <a:ext cx="414725" cy="734672"/>
          </a:xfrm>
          <a:custGeom>
            <a:avLst/>
            <a:gdLst/>
            <a:ahLst/>
            <a:cxnLst/>
            <a:rect l="l" t="t" r="r" b="b"/>
            <a:pathLst>
              <a:path w="5013" h="8880" extrusionOk="0">
                <a:moveTo>
                  <a:pt x="846" y="0"/>
                </a:moveTo>
                <a:cubicBezTo>
                  <a:pt x="673" y="0"/>
                  <a:pt x="499" y="59"/>
                  <a:pt x="358" y="179"/>
                </a:cubicBezTo>
                <a:cubicBezTo>
                  <a:pt x="179" y="322"/>
                  <a:pt x="84" y="536"/>
                  <a:pt x="84" y="763"/>
                </a:cubicBezTo>
                <a:cubicBezTo>
                  <a:pt x="84" y="929"/>
                  <a:pt x="143" y="1108"/>
                  <a:pt x="250" y="1251"/>
                </a:cubicBezTo>
                <a:lnTo>
                  <a:pt x="3144" y="4751"/>
                </a:lnTo>
                <a:lnTo>
                  <a:pt x="310" y="7573"/>
                </a:lnTo>
                <a:cubicBezTo>
                  <a:pt x="12" y="7871"/>
                  <a:pt x="0" y="8359"/>
                  <a:pt x="298" y="8656"/>
                </a:cubicBezTo>
                <a:cubicBezTo>
                  <a:pt x="447" y="8805"/>
                  <a:pt x="643" y="8880"/>
                  <a:pt x="840" y="8880"/>
                </a:cubicBezTo>
                <a:cubicBezTo>
                  <a:pt x="1036" y="8880"/>
                  <a:pt x="1233" y="8805"/>
                  <a:pt x="1381" y="8656"/>
                </a:cubicBezTo>
                <a:lnTo>
                  <a:pt x="4715" y="5335"/>
                </a:lnTo>
                <a:cubicBezTo>
                  <a:pt x="4989" y="5061"/>
                  <a:pt x="5013" y="4620"/>
                  <a:pt x="4763" y="4311"/>
                </a:cubicBezTo>
                <a:lnTo>
                  <a:pt x="1429" y="274"/>
                </a:lnTo>
                <a:cubicBezTo>
                  <a:pt x="1282" y="95"/>
                  <a:pt x="1065" y="0"/>
                  <a:pt x="846" y="0"/>
                </a:cubicBezTo>
                <a:close/>
              </a:path>
            </a:pathLst>
          </a:cu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19" name="Google Shape;319;p6"/>
          <p:cNvSpPr/>
          <p:nvPr/>
        </p:nvSpPr>
        <p:spPr>
          <a:xfrm>
            <a:off x="11098631" y="1109899"/>
            <a:ext cx="764800" cy="756800"/>
          </a:xfrm>
          <a:prstGeom prst="ellipse">
            <a:avLst/>
          </a:pr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20" name="Google Shape;320;p6"/>
          <p:cNvSpPr/>
          <p:nvPr/>
        </p:nvSpPr>
        <p:spPr>
          <a:xfrm>
            <a:off x="10932100" y="943368"/>
            <a:ext cx="764800" cy="756800"/>
          </a:xfrm>
          <a:prstGeom prst="ellipse">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21" name="Google Shape;321;p6"/>
          <p:cNvSpPr/>
          <p:nvPr/>
        </p:nvSpPr>
        <p:spPr>
          <a:xfrm>
            <a:off x="495003" y="5547867"/>
            <a:ext cx="414808" cy="734672"/>
          </a:xfrm>
          <a:custGeom>
            <a:avLst/>
            <a:gdLst/>
            <a:ahLst/>
            <a:cxnLst/>
            <a:rect l="l" t="t" r="r" b="b"/>
            <a:pathLst>
              <a:path w="5014" h="8880" extrusionOk="0">
                <a:moveTo>
                  <a:pt x="846" y="0"/>
                </a:moveTo>
                <a:cubicBezTo>
                  <a:pt x="673" y="0"/>
                  <a:pt x="499" y="59"/>
                  <a:pt x="358" y="179"/>
                </a:cubicBezTo>
                <a:cubicBezTo>
                  <a:pt x="179" y="322"/>
                  <a:pt x="84" y="536"/>
                  <a:pt x="84" y="763"/>
                </a:cubicBezTo>
                <a:cubicBezTo>
                  <a:pt x="84" y="929"/>
                  <a:pt x="144" y="1108"/>
                  <a:pt x="251" y="1251"/>
                </a:cubicBezTo>
                <a:lnTo>
                  <a:pt x="3144" y="4751"/>
                </a:lnTo>
                <a:lnTo>
                  <a:pt x="310" y="7573"/>
                </a:lnTo>
                <a:cubicBezTo>
                  <a:pt x="13" y="7871"/>
                  <a:pt x="1" y="8359"/>
                  <a:pt x="298" y="8656"/>
                </a:cubicBezTo>
                <a:cubicBezTo>
                  <a:pt x="447" y="8805"/>
                  <a:pt x="644" y="8880"/>
                  <a:pt x="840" y="8880"/>
                </a:cubicBezTo>
                <a:cubicBezTo>
                  <a:pt x="1037" y="8880"/>
                  <a:pt x="1233" y="8805"/>
                  <a:pt x="1382" y="8656"/>
                </a:cubicBezTo>
                <a:lnTo>
                  <a:pt x="4716" y="5335"/>
                </a:lnTo>
                <a:cubicBezTo>
                  <a:pt x="4989" y="5061"/>
                  <a:pt x="5013" y="4620"/>
                  <a:pt x="4763" y="4311"/>
                </a:cubicBezTo>
                <a:lnTo>
                  <a:pt x="1429" y="274"/>
                </a:lnTo>
                <a:cubicBezTo>
                  <a:pt x="1283" y="95"/>
                  <a:pt x="1065" y="0"/>
                  <a:pt x="846" y="0"/>
                </a:cubicBezTo>
                <a:close/>
              </a:path>
            </a:pathLst>
          </a:cu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22382689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322"/>
        <p:cNvGrpSpPr/>
        <p:nvPr/>
      </p:nvGrpSpPr>
      <p:grpSpPr>
        <a:xfrm>
          <a:off x="0" y="0"/>
          <a:ext cx="0" cy="0"/>
          <a:chOff x="0" y="0"/>
          <a:chExt cx="0" cy="0"/>
        </a:xfrm>
      </p:grpSpPr>
      <p:grpSp>
        <p:nvGrpSpPr>
          <p:cNvPr id="323" name="Google Shape;323;p7"/>
          <p:cNvGrpSpPr/>
          <p:nvPr/>
        </p:nvGrpSpPr>
        <p:grpSpPr>
          <a:xfrm>
            <a:off x="-132666" y="0"/>
            <a:ext cx="12373732" cy="6857917"/>
            <a:chOff x="-99500" y="0"/>
            <a:chExt cx="9280299" cy="5143438"/>
          </a:xfrm>
        </p:grpSpPr>
        <p:sp>
          <p:nvSpPr>
            <p:cNvPr id="324" name="Google Shape;324;p7"/>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25" name="Google Shape;325;p7"/>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26" name="Google Shape;326;p7"/>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27" name="Google Shape;327;p7"/>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28" name="Google Shape;328;p7"/>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29" name="Google Shape;329;p7"/>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30" name="Google Shape;330;p7"/>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31" name="Google Shape;331;p7"/>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32" name="Google Shape;332;p7"/>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33" name="Google Shape;333;p7"/>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34" name="Google Shape;334;p7"/>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35" name="Google Shape;335;p7"/>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36" name="Google Shape;336;p7"/>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37" name="Google Shape;337;p7"/>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38" name="Google Shape;338;p7"/>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39" name="Google Shape;339;p7"/>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40" name="Google Shape;340;p7"/>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41" name="Google Shape;341;p7"/>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42" name="Google Shape;342;p7"/>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43" name="Google Shape;343;p7"/>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44" name="Google Shape;344;p7"/>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45" name="Google Shape;345;p7"/>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46" name="Google Shape;346;p7"/>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47" name="Google Shape;347;p7"/>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48" name="Google Shape;348;p7"/>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49" name="Google Shape;349;p7"/>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50" name="Google Shape;350;p7"/>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51" name="Google Shape;351;p7"/>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52" name="Google Shape;352;p7"/>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53" name="Google Shape;353;p7"/>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54" name="Google Shape;354;p7"/>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55" name="Google Shape;355;p7"/>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56" name="Google Shape;356;p7"/>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57" name="Google Shape;357;p7"/>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58" name="Google Shape;358;p7"/>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59" name="Google Shape;359;p7"/>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60" name="Google Shape;360;p7"/>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61" name="Google Shape;361;p7"/>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62" name="Google Shape;362;p7"/>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63" name="Google Shape;363;p7"/>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64" name="Google Shape;364;p7"/>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65" name="Google Shape;365;p7"/>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66" name="Google Shape;366;p7"/>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367" name="Google Shape;367;p7"/>
          <p:cNvSpPr txBox="1">
            <a:spLocks noGrp="1"/>
          </p:cNvSpPr>
          <p:nvPr>
            <p:ph type="title"/>
          </p:nvPr>
        </p:nvSpPr>
        <p:spPr>
          <a:xfrm>
            <a:off x="1440400" y="720000"/>
            <a:ext cx="9311200" cy="799600"/>
          </a:xfrm>
          <a:prstGeom prst="rect">
            <a:avLst/>
          </a:prstGeom>
        </p:spPr>
        <p:txBody>
          <a:bodyPr spcFirstLastPara="1" wrap="square" lIns="91425" tIns="91425" rIns="91425" bIns="91425" anchor="b" anchorCtr="0">
            <a:noAutofit/>
          </a:bodyPr>
          <a:lstStyle>
            <a:lvl1pPr lvl="0" algn="ctr">
              <a:spcBef>
                <a:spcPts val="0"/>
              </a:spcBef>
              <a:spcAft>
                <a:spcPts val="0"/>
              </a:spcAft>
              <a:buSzPts val="2400"/>
              <a:buNone/>
              <a:defRPr/>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368" name="Google Shape;368;p7"/>
          <p:cNvSpPr txBox="1">
            <a:spLocks noGrp="1"/>
          </p:cNvSpPr>
          <p:nvPr>
            <p:ph type="body" idx="1"/>
          </p:nvPr>
        </p:nvSpPr>
        <p:spPr>
          <a:xfrm>
            <a:off x="2250000" y="1898800"/>
            <a:ext cx="7692000" cy="3699600"/>
          </a:xfrm>
          <a:prstGeom prst="rect">
            <a:avLst/>
          </a:prstGeom>
        </p:spPr>
        <p:txBody>
          <a:bodyPr spcFirstLastPara="1" wrap="square" lIns="91425" tIns="91425" rIns="91425" bIns="91425" anchor="t" anchorCtr="0">
            <a:noAutofit/>
          </a:bodyPr>
          <a:lstStyle>
            <a:lvl1pPr marL="609585" lvl="0" indent="-406390">
              <a:lnSpc>
                <a:spcPct val="200000"/>
              </a:lnSpc>
              <a:spcBef>
                <a:spcPts val="0"/>
              </a:spcBef>
              <a:spcAft>
                <a:spcPts val="0"/>
              </a:spcAft>
              <a:buSzPts val="1200"/>
              <a:buChar char="●"/>
              <a:defRPr sz="1867"/>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grpSp>
        <p:nvGrpSpPr>
          <p:cNvPr id="369" name="Google Shape;369;p7"/>
          <p:cNvGrpSpPr/>
          <p:nvPr/>
        </p:nvGrpSpPr>
        <p:grpSpPr>
          <a:xfrm>
            <a:off x="-409200" y="131876"/>
            <a:ext cx="12971667" cy="6211824"/>
            <a:chOff x="-306900" y="98907"/>
            <a:chExt cx="9728750" cy="4658868"/>
          </a:xfrm>
        </p:grpSpPr>
        <p:sp>
          <p:nvSpPr>
            <p:cNvPr id="370" name="Google Shape;370;p7"/>
            <p:cNvSpPr/>
            <p:nvPr/>
          </p:nvSpPr>
          <p:spPr>
            <a:xfrm>
              <a:off x="8199350" y="3535275"/>
              <a:ext cx="1222500" cy="1222500"/>
            </a:xfrm>
            <a:prstGeom prst="donut">
              <a:avLst>
                <a:gd name="adj" fmla="val 25000"/>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71" name="Google Shape;371;p7"/>
            <p:cNvSpPr/>
            <p:nvPr/>
          </p:nvSpPr>
          <p:spPr>
            <a:xfrm rot="5400000">
              <a:off x="-682500" y="709500"/>
              <a:ext cx="1778100" cy="1026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72" name="Google Shape;372;p7"/>
            <p:cNvSpPr/>
            <p:nvPr/>
          </p:nvSpPr>
          <p:spPr>
            <a:xfrm>
              <a:off x="258700" y="2038025"/>
              <a:ext cx="477300" cy="4773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73" name="Google Shape;373;p7"/>
            <p:cNvSpPr/>
            <p:nvPr/>
          </p:nvSpPr>
          <p:spPr>
            <a:xfrm>
              <a:off x="381246" y="2160571"/>
              <a:ext cx="477300" cy="4773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374" name="Google Shape;374;p7"/>
            <p:cNvGrpSpPr/>
            <p:nvPr/>
          </p:nvGrpSpPr>
          <p:grpSpPr>
            <a:xfrm rot="-5400000">
              <a:off x="8508806" y="172487"/>
              <a:ext cx="745582" cy="598421"/>
              <a:chOff x="5707045" y="2821600"/>
              <a:chExt cx="657480" cy="527708"/>
            </a:xfrm>
          </p:grpSpPr>
          <p:sp>
            <p:nvSpPr>
              <p:cNvPr id="375" name="Google Shape;375;p7"/>
              <p:cNvSpPr/>
              <p:nvPr/>
            </p:nvSpPr>
            <p:spPr>
              <a:xfrm>
                <a:off x="6236405" y="2821600"/>
                <a:ext cx="128119" cy="527708"/>
              </a:xfrm>
              <a:custGeom>
                <a:avLst/>
                <a:gdLst/>
                <a:ahLst/>
                <a:cxnLst/>
                <a:rect l="l" t="t" r="r" b="b"/>
                <a:pathLst>
                  <a:path w="1775" h="7311" extrusionOk="0">
                    <a:moveTo>
                      <a:pt x="1" y="1"/>
                    </a:moveTo>
                    <a:lnTo>
                      <a:pt x="1" y="7311"/>
                    </a:lnTo>
                    <a:lnTo>
                      <a:pt x="1775" y="7311"/>
                    </a:lnTo>
                    <a:lnTo>
                      <a:pt x="177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76" name="Google Shape;376;p7"/>
              <p:cNvSpPr/>
              <p:nvPr/>
            </p:nvSpPr>
            <p:spPr>
              <a:xfrm>
                <a:off x="5971725" y="2821600"/>
                <a:ext cx="128119" cy="527708"/>
              </a:xfrm>
              <a:custGeom>
                <a:avLst/>
                <a:gdLst/>
                <a:ahLst/>
                <a:cxnLst/>
                <a:rect l="l" t="t" r="r" b="b"/>
                <a:pathLst>
                  <a:path w="1775" h="7311" extrusionOk="0">
                    <a:moveTo>
                      <a:pt x="1" y="1"/>
                    </a:moveTo>
                    <a:lnTo>
                      <a:pt x="1" y="7311"/>
                    </a:lnTo>
                    <a:lnTo>
                      <a:pt x="1775" y="7311"/>
                    </a:lnTo>
                    <a:lnTo>
                      <a:pt x="177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77" name="Google Shape;377;p7"/>
              <p:cNvSpPr/>
              <p:nvPr/>
            </p:nvSpPr>
            <p:spPr>
              <a:xfrm>
                <a:off x="5707045" y="2821600"/>
                <a:ext cx="128986" cy="527708"/>
              </a:xfrm>
              <a:custGeom>
                <a:avLst/>
                <a:gdLst/>
                <a:ahLst/>
                <a:cxnLst/>
                <a:rect l="l" t="t" r="r" b="b"/>
                <a:pathLst>
                  <a:path w="1787" h="7311" extrusionOk="0">
                    <a:moveTo>
                      <a:pt x="0" y="1"/>
                    </a:moveTo>
                    <a:lnTo>
                      <a:pt x="0" y="7311"/>
                    </a:lnTo>
                    <a:lnTo>
                      <a:pt x="1786" y="7311"/>
                    </a:lnTo>
                    <a:lnTo>
                      <a:pt x="178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spTree>
    <p:extLst>
      <p:ext uri="{BB962C8B-B14F-4D97-AF65-F5344CB8AC3E}">
        <p14:creationId xmlns:p14="http://schemas.microsoft.com/office/powerpoint/2010/main" val="2525105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7C08B0-BCB0-023D-9841-E98AE938473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5FB97115-CBB2-7982-B9C5-5CB340538F4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EE9FCBB-7484-1D65-2F75-5D5892FFA7AE}"/>
              </a:ext>
            </a:extLst>
          </p:cNvPr>
          <p:cNvSpPr>
            <a:spLocks noGrp="1"/>
          </p:cNvSpPr>
          <p:nvPr>
            <p:ph type="dt" sz="half" idx="10"/>
          </p:nvPr>
        </p:nvSpPr>
        <p:spPr/>
        <p:txBody>
          <a:bodyPr/>
          <a:lstStyle/>
          <a:p>
            <a:fld id="{1E32E15C-1ABB-4FCE-A664-E12BA74059BF}" type="datetimeFigureOut">
              <a:rPr lang="en-IN" smtClean="0"/>
              <a:t>13-01-2023</a:t>
            </a:fld>
            <a:endParaRPr lang="en-IN"/>
          </a:p>
        </p:txBody>
      </p:sp>
      <p:sp>
        <p:nvSpPr>
          <p:cNvPr id="5" name="Footer Placeholder 4">
            <a:extLst>
              <a:ext uri="{FF2B5EF4-FFF2-40B4-BE49-F238E27FC236}">
                <a16:creationId xmlns:a16="http://schemas.microsoft.com/office/drawing/2014/main" id="{F2D10989-6F47-3429-4FFE-BDB785C87BA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6E18E2ED-D2D3-324F-288E-67BF88C93193}"/>
              </a:ext>
            </a:extLst>
          </p:cNvPr>
          <p:cNvSpPr>
            <a:spLocks noGrp="1"/>
          </p:cNvSpPr>
          <p:nvPr>
            <p:ph type="sldNum" sz="quarter" idx="12"/>
          </p:nvPr>
        </p:nvSpPr>
        <p:spPr/>
        <p:txBody>
          <a:bodyPr/>
          <a:lstStyle/>
          <a:p>
            <a:fld id="{B4B60327-AE25-4737-85CF-0B04EF4FAC0C}" type="slidenum">
              <a:rPr lang="en-IN" smtClean="0"/>
              <a:t>‹#›</a:t>
            </a:fld>
            <a:endParaRPr lang="en-IN"/>
          </a:p>
        </p:txBody>
      </p:sp>
    </p:spTree>
    <p:extLst>
      <p:ext uri="{BB962C8B-B14F-4D97-AF65-F5344CB8AC3E}">
        <p14:creationId xmlns:p14="http://schemas.microsoft.com/office/powerpoint/2010/main" val="35017165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78"/>
        <p:cNvGrpSpPr/>
        <p:nvPr/>
      </p:nvGrpSpPr>
      <p:grpSpPr>
        <a:xfrm>
          <a:off x="0" y="0"/>
          <a:ext cx="0" cy="0"/>
          <a:chOff x="0" y="0"/>
          <a:chExt cx="0" cy="0"/>
        </a:xfrm>
      </p:grpSpPr>
      <p:grpSp>
        <p:nvGrpSpPr>
          <p:cNvPr id="379" name="Google Shape;379;p8"/>
          <p:cNvGrpSpPr/>
          <p:nvPr/>
        </p:nvGrpSpPr>
        <p:grpSpPr>
          <a:xfrm>
            <a:off x="-132666" y="0"/>
            <a:ext cx="12373732" cy="6857917"/>
            <a:chOff x="-99500" y="0"/>
            <a:chExt cx="9280299" cy="5143438"/>
          </a:xfrm>
        </p:grpSpPr>
        <p:sp>
          <p:nvSpPr>
            <p:cNvPr id="380" name="Google Shape;380;p8"/>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81" name="Google Shape;381;p8"/>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82" name="Google Shape;382;p8"/>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83" name="Google Shape;383;p8"/>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84" name="Google Shape;384;p8"/>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85" name="Google Shape;385;p8"/>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86" name="Google Shape;386;p8"/>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87" name="Google Shape;387;p8"/>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88" name="Google Shape;388;p8"/>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89" name="Google Shape;389;p8"/>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90" name="Google Shape;390;p8"/>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91" name="Google Shape;391;p8"/>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92" name="Google Shape;392;p8"/>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93" name="Google Shape;393;p8"/>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94" name="Google Shape;394;p8"/>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95" name="Google Shape;395;p8"/>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96" name="Google Shape;396;p8"/>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97" name="Google Shape;397;p8"/>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98" name="Google Shape;398;p8"/>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99" name="Google Shape;399;p8"/>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00" name="Google Shape;400;p8"/>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01" name="Google Shape;401;p8"/>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02" name="Google Shape;402;p8"/>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03" name="Google Shape;403;p8"/>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04" name="Google Shape;404;p8"/>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05" name="Google Shape;405;p8"/>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06" name="Google Shape;406;p8"/>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07" name="Google Shape;407;p8"/>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08" name="Google Shape;408;p8"/>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09" name="Google Shape;409;p8"/>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0" name="Google Shape;410;p8"/>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1" name="Google Shape;411;p8"/>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2" name="Google Shape;412;p8"/>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3" name="Google Shape;413;p8"/>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4" name="Google Shape;414;p8"/>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5" name="Google Shape;415;p8"/>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6" name="Google Shape;416;p8"/>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7" name="Google Shape;417;p8"/>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8" name="Google Shape;418;p8"/>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9" name="Google Shape;419;p8"/>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20" name="Google Shape;420;p8"/>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21" name="Google Shape;421;p8"/>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22" name="Google Shape;422;p8"/>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423" name="Google Shape;423;p8"/>
          <p:cNvSpPr txBox="1">
            <a:spLocks noGrp="1"/>
          </p:cNvSpPr>
          <p:nvPr>
            <p:ph type="title"/>
          </p:nvPr>
        </p:nvSpPr>
        <p:spPr>
          <a:xfrm>
            <a:off x="3294000" y="2187800"/>
            <a:ext cx="5604000" cy="2482400"/>
          </a:xfrm>
          <a:prstGeom prst="rect">
            <a:avLst/>
          </a:prstGeom>
        </p:spPr>
        <p:txBody>
          <a:bodyPr spcFirstLastPara="1" wrap="square" lIns="91425" tIns="91425" rIns="91425" bIns="91425" anchor="ctr" anchorCtr="0">
            <a:noAutofit/>
          </a:bodyPr>
          <a:lstStyle>
            <a:lvl1pPr lvl="0" algn="ctr">
              <a:spcBef>
                <a:spcPts val="0"/>
              </a:spcBef>
              <a:spcAft>
                <a:spcPts val="0"/>
              </a:spcAft>
              <a:buSzPts val="4800"/>
              <a:buNone/>
              <a:defRPr sz="10666"/>
            </a:lvl1pPr>
            <a:lvl2pPr lvl="1">
              <a:spcBef>
                <a:spcPts val="0"/>
              </a:spcBef>
              <a:spcAft>
                <a:spcPts val="0"/>
              </a:spcAft>
              <a:buSzPts val="4800"/>
              <a:buNone/>
              <a:defRPr sz="6400"/>
            </a:lvl2pPr>
            <a:lvl3pPr lvl="2">
              <a:spcBef>
                <a:spcPts val="0"/>
              </a:spcBef>
              <a:spcAft>
                <a:spcPts val="0"/>
              </a:spcAft>
              <a:buSzPts val="4800"/>
              <a:buNone/>
              <a:defRPr sz="6400"/>
            </a:lvl3pPr>
            <a:lvl4pPr lvl="3">
              <a:spcBef>
                <a:spcPts val="0"/>
              </a:spcBef>
              <a:spcAft>
                <a:spcPts val="0"/>
              </a:spcAft>
              <a:buSzPts val="4800"/>
              <a:buNone/>
              <a:defRPr sz="6400"/>
            </a:lvl4pPr>
            <a:lvl5pPr lvl="4">
              <a:spcBef>
                <a:spcPts val="0"/>
              </a:spcBef>
              <a:spcAft>
                <a:spcPts val="0"/>
              </a:spcAft>
              <a:buSzPts val="4800"/>
              <a:buNone/>
              <a:defRPr sz="6400"/>
            </a:lvl5pPr>
            <a:lvl6pPr lvl="5">
              <a:spcBef>
                <a:spcPts val="0"/>
              </a:spcBef>
              <a:spcAft>
                <a:spcPts val="0"/>
              </a:spcAft>
              <a:buSzPts val="4800"/>
              <a:buNone/>
              <a:defRPr sz="6400"/>
            </a:lvl6pPr>
            <a:lvl7pPr lvl="6">
              <a:spcBef>
                <a:spcPts val="0"/>
              </a:spcBef>
              <a:spcAft>
                <a:spcPts val="0"/>
              </a:spcAft>
              <a:buSzPts val="4800"/>
              <a:buNone/>
              <a:defRPr sz="6400"/>
            </a:lvl7pPr>
            <a:lvl8pPr lvl="7">
              <a:spcBef>
                <a:spcPts val="0"/>
              </a:spcBef>
              <a:spcAft>
                <a:spcPts val="0"/>
              </a:spcAft>
              <a:buSzPts val="4800"/>
              <a:buNone/>
              <a:defRPr sz="6400"/>
            </a:lvl8pPr>
            <a:lvl9pPr lvl="8">
              <a:spcBef>
                <a:spcPts val="0"/>
              </a:spcBef>
              <a:spcAft>
                <a:spcPts val="0"/>
              </a:spcAft>
              <a:buSzPts val="4800"/>
              <a:buNone/>
              <a:defRPr sz="6400"/>
            </a:lvl9pPr>
          </a:lstStyle>
          <a:p>
            <a:endParaRPr/>
          </a:p>
        </p:txBody>
      </p:sp>
      <p:grpSp>
        <p:nvGrpSpPr>
          <p:cNvPr id="424" name="Google Shape;424;p8"/>
          <p:cNvGrpSpPr/>
          <p:nvPr/>
        </p:nvGrpSpPr>
        <p:grpSpPr>
          <a:xfrm>
            <a:off x="531933" y="435137"/>
            <a:ext cx="11084467" cy="5822164"/>
            <a:chOff x="398950" y="326352"/>
            <a:chExt cx="8313350" cy="4366623"/>
          </a:xfrm>
        </p:grpSpPr>
        <p:grpSp>
          <p:nvGrpSpPr>
            <p:cNvPr id="425" name="Google Shape;425;p8"/>
            <p:cNvGrpSpPr/>
            <p:nvPr/>
          </p:nvGrpSpPr>
          <p:grpSpPr>
            <a:xfrm rot="5400000">
              <a:off x="565990" y="159315"/>
              <a:ext cx="1141284" cy="1475358"/>
              <a:chOff x="194863" y="3229838"/>
              <a:chExt cx="1354800" cy="1751375"/>
            </a:xfrm>
          </p:grpSpPr>
          <p:sp>
            <p:nvSpPr>
              <p:cNvPr id="426" name="Google Shape;426;p8"/>
              <p:cNvSpPr/>
              <p:nvPr/>
            </p:nvSpPr>
            <p:spPr>
              <a:xfrm>
                <a:off x="194863" y="3229850"/>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27" name="Google Shape;427;p8"/>
              <p:cNvSpPr/>
              <p:nvPr/>
            </p:nvSpPr>
            <p:spPr>
              <a:xfrm>
                <a:off x="194863" y="3625841"/>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28" name="Google Shape;428;p8"/>
              <p:cNvSpPr/>
              <p:nvPr/>
            </p:nvSpPr>
            <p:spPr>
              <a:xfrm>
                <a:off x="194863" y="4021831"/>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29" name="Google Shape;429;p8"/>
              <p:cNvSpPr/>
              <p:nvPr/>
            </p:nvSpPr>
            <p:spPr>
              <a:xfrm>
                <a:off x="194863" y="4417822"/>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30" name="Google Shape;430;p8"/>
              <p:cNvSpPr/>
              <p:nvPr/>
            </p:nvSpPr>
            <p:spPr>
              <a:xfrm>
                <a:off x="194863" y="4813813"/>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31" name="Google Shape;431;p8"/>
              <p:cNvSpPr/>
              <p:nvPr/>
            </p:nvSpPr>
            <p:spPr>
              <a:xfrm>
                <a:off x="788563" y="3229838"/>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32" name="Google Shape;432;p8"/>
              <p:cNvSpPr/>
              <p:nvPr/>
            </p:nvSpPr>
            <p:spPr>
              <a:xfrm>
                <a:off x="788563" y="3625828"/>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33" name="Google Shape;433;p8"/>
              <p:cNvSpPr/>
              <p:nvPr/>
            </p:nvSpPr>
            <p:spPr>
              <a:xfrm>
                <a:off x="788563" y="4021819"/>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34" name="Google Shape;434;p8"/>
              <p:cNvSpPr/>
              <p:nvPr/>
            </p:nvSpPr>
            <p:spPr>
              <a:xfrm>
                <a:off x="788563" y="4417809"/>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35" name="Google Shape;435;p8"/>
              <p:cNvSpPr/>
              <p:nvPr/>
            </p:nvSpPr>
            <p:spPr>
              <a:xfrm>
                <a:off x="788563" y="4813800"/>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36" name="Google Shape;436;p8"/>
              <p:cNvSpPr/>
              <p:nvPr/>
            </p:nvSpPr>
            <p:spPr>
              <a:xfrm>
                <a:off x="1382263" y="3229838"/>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37" name="Google Shape;437;p8"/>
              <p:cNvSpPr/>
              <p:nvPr/>
            </p:nvSpPr>
            <p:spPr>
              <a:xfrm>
                <a:off x="1382263" y="3625828"/>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38" name="Google Shape;438;p8"/>
              <p:cNvSpPr/>
              <p:nvPr/>
            </p:nvSpPr>
            <p:spPr>
              <a:xfrm>
                <a:off x="1382263" y="4021819"/>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39" name="Google Shape;439;p8"/>
              <p:cNvSpPr/>
              <p:nvPr/>
            </p:nvSpPr>
            <p:spPr>
              <a:xfrm>
                <a:off x="1382263" y="4417809"/>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40" name="Google Shape;440;p8"/>
              <p:cNvSpPr/>
              <p:nvPr/>
            </p:nvSpPr>
            <p:spPr>
              <a:xfrm>
                <a:off x="1382263" y="4813800"/>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441" name="Google Shape;441;p8"/>
            <p:cNvGrpSpPr/>
            <p:nvPr/>
          </p:nvGrpSpPr>
          <p:grpSpPr>
            <a:xfrm>
              <a:off x="7833366" y="3724583"/>
              <a:ext cx="878925" cy="878925"/>
              <a:chOff x="7833100" y="3857688"/>
              <a:chExt cx="745800" cy="745800"/>
            </a:xfrm>
          </p:grpSpPr>
          <p:sp>
            <p:nvSpPr>
              <p:cNvPr id="442" name="Google Shape;442;p8"/>
              <p:cNvSpPr/>
              <p:nvPr/>
            </p:nvSpPr>
            <p:spPr>
              <a:xfrm>
                <a:off x="7833100" y="3857688"/>
                <a:ext cx="593400" cy="5934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43" name="Google Shape;443;p8"/>
              <p:cNvSpPr/>
              <p:nvPr/>
            </p:nvSpPr>
            <p:spPr>
              <a:xfrm>
                <a:off x="7985500" y="4010088"/>
                <a:ext cx="593400" cy="5934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444" name="Google Shape;444;p8"/>
            <p:cNvSpPr/>
            <p:nvPr/>
          </p:nvSpPr>
          <p:spPr>
            <a:xfrm>
              <a:off x="398950" y="3882375"/>
              <a:ext cx="2199000" cy="8106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445" name="Google Shape;445;p8"/>
            <p:cNvGrpSpPr/>
            <p:nvPr/>
          </p:nvGrpSpPr>
          <p:grpSpPr>
            <a:xfrm>
              <a:off x="398959" y="2807837"/>
              <a:ext cx="1109152" cy="1666031"/>
              <a:chOff x="2225863" y="2465300"/>
              <a:chExt cx="505700" cy="759600"/>
            </a:xfrm>
          </p:grpSpPr>
          <p:sp>
            <p:nvSpPr>
              <p:cNvPr id="446" name="Google Shape;446;p8"/>
              <p:cNvSpPr/>
              <p:nvPr/>
            </p:nvSpPr>
            <p:spPr>
              <a:xfrm>
                <a:off x="2225863" y="2465300"/>
                <a:ext cx="505700" cy="759600"/>
              </a:xfrm>
              <a:custGeom>
                <a:avLst/>
                <a:gdLst/>
                <a:ahLst/>
                <a:cxnLst/>
                <a:rect l="l" t="t" r="r" b="b"/>
                <a:pathLst>
                  <a:path w="20228" h="30384" extrusionOk="0">
                    <a:moveTo>
                      <a:pt x="19838" y="0"/>
                    </a:moveTo>
                    <a:cubicBezTo>
                      <a:pt x="19834" y="0"/>
                      <a:pt x="19829" y="4"/>
                      <a:pt x="19824" y="10"/>
                    </a:cubicBezTo>
                    <a:lnTo>
                      <a:pt x="0" y="4463"/>
                    </a:lnTo>
                    <a:lnTo>
                      <a:pt x="16252" y="30383"/>
                    </a:lnTo>
                    <a:cubicBezTo>
                      <a:pt x="16252" y="30383"/>
                      <a:pt x="20228" y="0"/>
                      <a:pt x="1983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47" name="Google Shape;447;p8"/>
              <p:cNvSpPr/>
              <p:nvPr/>
            </p:nvSpPr>
            <p:spPr>
              <a:xfrm>
                <a:off x="2666988" y="2475975"/>
                <a:ext cx="40800" cy="169975"/>
              </a:xfrm>
              <a:custGeom>
                <a:avLst/>
                <a:gdLst/>
                <a:ahLst/>
                <a:cxnLst/>
                <a:rect l="l" t="t" r="r" b="b"/>
                <a:pathLst>
                  <a:path w="1632" h="6799" extrusionOk="0">
                    <a:moveTo>
                      <a:pt x="310" y="0"/>
                    </a:moveTo>
                    <a:lnTo>
                      <a:pt x="0" y="72"/>
                    </a:lnTo>
                    <a:lnTo>
                      <a:pt x="1512" y="6799"/>
                    </a:lnTo>
                    <a:cubicBezTo>
                      <a:pt x="1548" y="6477"/>
                      <a:pt x="1596" y="6156"/>
                      <a:pt x="1631" y="5834"/>
                    </a:cubicBezTo>
                    <a:lnTo>
                      <a:pt x="3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48" name="Google Shape;448;p8"/>
              <p:cNvSpPr/>
              <p:nvPr/>
            </p:nvSpPr>
            <p:spPr>
              <a:xfrm>
                <a:off x="2615788" y="2487575"/>
                <a:ext cx="73250" cy="314050"/>
              </a:xfrm>
              <a:custGeom>
                <a:avLst/>
                <a:gdLst/>
                <a:ahLst/>
                <a:cxnLst/>
                <a:rect l="l" t="t" r="r" b="b"/>
                <a:pathLst>
                  <a:path w="2930" h="12562" extrusionOk="0">
                    <a:moveTo>
                      <a:pt x="310" y="0"/>
                    </a:moveTo>
                    <a:lnTo>
                      <a:pt x="0" y="72"/>
                    </a:lnTo>
                    <a:lnTo>
                      <a:pt x="2810" y="12561"/>
                    </a:lnTo>
                    <a:cubicBezTo>
                      <a:pt x="2846" y="12252"/>
                      <a:pt x="2894" y="11930"/>
                      <a:pt x="2929" y="11609"/>
                    </a:cubicBezTo>
                    <a:lnTo>
                      <a:pt x="3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49" name="Google Shape;449;p8"/>
              <p:cNvSpPr/>
              <p:nvPr/>
            </p:nvSpPr>
            <p:spPr>
              <a:xfrm>
                <a:off x="2564588" y="2498875"/>
                <a:ext cx="105100" cy="456350"/>
              </a:xfrm>
              <a:custGeom>
                <a:avLst/>
                <a:gdLst/>
                <a:ahLst/>
                <a:cxnLst/>
                <a:rect l="l" t="t" r="r" b="b"/>
                <a:pathLst>
                  <a:path w="4204" h="18254" extrusionOk="0">
                    <a:moveTo>
                      <a:pt x="322" y="1"/>
                    </a:moveTo>
                    <a:lnTo>
                      <a:pt x="0" y="72"/>
                    </a:lnTo>
                    <a:lnTo>
                      <a:pt x="4084" y="18253"/>
                    </a:lnTo>
                    <a:cubicBezTo>
                      <a:pt x="4132" y="17944"/>
                      <a:pt x="4168" y="17634"/>
                      <a:pt x="4203" y="17312"/>
                    </a:cubicBezTo>
                    <a:lnTo>
                      <a:pt x="32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50" name="Google Shape;450;p8"/>
              <p:cNvSpPr/>
              <p:nvPr/>
            </p:nvSpPr>
            <p:spPr>
              <a:xfrm>
                <a:off x="2513388" y="2510500"/>
                <a:ext cx="136950" cy="597400"/>
              </a:xfrm>
              <a:custGeom>
                <a:avLst/>
                <a:gdLst/>
                <a:ahLst/>
                <a:cxnLst/>
                <a:rect l="l" t="t" r="r" b="b"/>
                <a:pathLst>
                  <a:path w="5478" h="23896" extrusionOk="0">
                    <a:moveTo>
                      <a:pt x="322" y="0"/>
                    </a:moveTo>
                    <a:lnTo>
                      <a:pt x="1" y="72"/>
                    </a:lnTo>
                    <a:lnTo>
                      <a:pt x="5358" y="23896"/>
                    </a:lnTo>
                    <a:cubicBezTo>
                      <a:pt x="5394" y="23586"/>
                      <a:pt x="5442" y="23277"/>
                      <a:pt x="5477" y="22955"/>
                    </a:cubicBezTo>
                    <a:lnTo>
                      <a:pt x="32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51" name="Google Shape;451;p8"/>
              <p:cNvSpPr/>
              <p:nvPr/>
            </p:nvSpPr>
            <p:spPr>
              <a:xfrm>
                <a:off x="2462188" y="2522100"/>
                <a:ext cx="163750" cy="692975"/>
              </a:xfrm>
              <a:custGeom>
                <a:avLst/>
                <a:gdLst/>
                <a:ahLst/>
                <a:cxnLst/>
                <a:rect l="l" t="t" r="r" b="b"/>
                <a:pathLst>
                  <a:path w="6550" h="27719" extrusionOk="0">
                    <a:moveTo>
                      <a:pt x="322" y="1"/>
                    </a:moveTo>
                    <a:lnTo>
                      <a:pt x="1" y="72"/>
                    </a:lnTo>
                    <a:lnTo>
                      <a:pt x="6037" y="26897"/>
                    </a:lnTo>
                    <a:lnTo>
                      <a:pt x="6549" y="27718"/>
                    </a:lnTo>
                    <a:lnTo>
                      <a:pt x="32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52" name="Google Shape;452;p8"/>
              <p:cNvSpPr/>
              <p:nvPr/>
            </p:nvSpPr>
            <p:spPr>
              <a:xfrm>
                <a:off x="2410988" y="2533400"/>
                <a:ext cx="131300" cy="548025"/>
              </a:xfrm>
              <a:custGeom>
                <a:avLst/>
                <a:gdLst/>
                <a:ahLst/>
                <a:cxnLst/>
                <a:rect l="l" t="t" r="r" b="b"/>
                <a:pathLst>
                  <a:path w="5252" h="21921" extrusionOk="0">
                    <a:moveTo>
                      <a:pt x="322" y="1"/>
                    </a:moveTo>
                    <a:lnTo>
                      <a:pt x="1" y="72"/>
                    </a:lnTo>
                    <a:lnTo>
                      <a:pt x="4728" y="21099"/>
                    </a:lnTo>
                    <a:lnTo>
                      <a:pt x="5252" y="21920"/>
                    </a:lnTo>
                    <a:lnTo>
                      <a:pt x="32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53" name="Google Shape;453;p8"/>
              <p:cNvSpPr/>
              <p:nvPr/>
            </p:nvSpPr>
            <p:spPr>
              <a:xfrm>
                <a:off x="2359788" y="2545025"/>
                <a:ext cx="98550" cy="402750"/>
              </a:xfrm>
              <a:custGeom>
                <a:avLst/>
                <a:gdLst/>
                <a:ahLst/>
                <a:cxnLst/>
                <a:rect l="l" t="t" r="r" b="b"/>
                <a:pathLst>
                  <a:path w="3942" h="16110" extrusionOk="0">
                    <a:moveTo>
                      <a:pt x="322" y="0"/>
                    </a:moveTo>
                    <a:lnTo>
                      <a:pt x="1" y="72"/>
                    </a:lnTo>
                    <a:lnTo>
                      <a:pt x="3430" y="15288"/>
                    </a:lnTo>
                    <a:lnTo>
                      <a:pt x="3942" y="16109"/>
                    </a:lnTo>
                    <a:lnTo>
                      <a:pt x="32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54" name="Google Shape;454;p8"/>
              <p:cNvSpPr/>
              <p:nvPr/>
            </p:nvSpPr>
            <p:spPr>
              <a:xfrm>
                <a:off x="2308613" y="2556625"/>
                <a:ext cx="65800" cy="257500"/>
              </a:xfrm>
              <a:custGeom>
                <a:avLst/>
                <a:gdLst/>
                <a:ahLst/>
                <a:cxnLst/>
                <a:rect l="l" t="t" r="r" b="b"/>
                <a:pathLst>
                  <a:path w="2632" h="10300" extrusionOk="0">
                    <a:moveTo>
                      <a:pt x="322" y="1"/>
                    </a:moveTo>
                    <a:lnTo>
                      <a:pt x="0" y="72"/>
                    </a:lnTo>
                    <a:lnTo>
                      <a:pt x="2119" y="9478"/>
                    </a:lnTo>
                    <a:lnTo>
                      <a:pt x="2631" y="10300"/>
                    </a:lnTo>
                    <a:lnTo>
                      <a:pt x="32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55" name="Google Shape;455;p8"/>
              <p:cNvSpPr/>
              <p:nvPr/>
            </p:nvSpPr>
            <p:spPr>
              <a:xfrm>
                <a:off x="2257713" y="2567950"/>
                <a:ext cx="33050" cy="112525"/>
              </a:xfrm>
              <a:custGeom>
                <a:avLst/>
                <a:gdLst/>
                <a:ahLst/>
                <a:cxnLst/>
                <a:rect l="l" t="t" r="r" b="b"/>
                <a:pathLst>
                  <a:path w="1322" h="4501" extrusionOk="0">
                    <a:moveTo>
                      <a:pt x="310" y="0"/>
                    </a:moveTo>
                    <a:lnTo>
                      <a:pt x="0" y="72"/>
                    </a:lnTo>
                    <a:lnTo>
                      <a:pt x="810" y="3679"/>
                    </a:lnTo>
                    <a:lnTo>
                      <a:pt x="1322" y="4501"/>
                    </a:lnTo>
                    <a:lnTo>
                      <a:pt x="3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456" name="Google Shape;456;p8"/>
            <p:cNvSpPr/>
            <p:nvPr/>
          </p:nvSpPr>
          <p:spPr>
            <a:xfrm>
              <a:off x="6513300" y="367350"/>
              <a:ext cx="2199000" cy="8106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457" name="Google Shape;457;p8"/>
            <p:cNvGrpSpPr/>
            <p:nvPr/>
          </p:nvGrpSpPr>
          <p:grpSpPr>
            <a:xfrm rot="10800000">
              <a:off x="6104110" y="739135"/>
              <a:ext cx="878906" cy="613846"/>
              <a:chOff x="5059762" y="4251410"/>
              <a:chExt cx="766800" cy="535549"/>
            </a:xfrm>
          </p:grpSpPr>
          <p:sp>
            <p:nvSpPr>
              <p:cNvPr id="458" name="Google Shape;458;p8"/>
              <p:cNvSpPr/>
              <p:nvPr/>
            </p:nvSpPr>
            <p:spPr>
              <a:xfrm>
                <a:off x="5524244" y="4251410"/>
                <a:ext cx="302318" cy="535549"/>
              </a:xfrm>
              <a:custGeom>
                <a:avLst/>
                <a:gdLst/>
                <a:ahLst/>
                <a:cxnLst/>
                <a:rect l="l" t="t" r="r" b="b"/>
                <a:pathLst>
                  <a:path w="4882" h="8648" extrusionOk="0">
                    <a:moveTo>
                      <a:pt x="821" y="0"/>
                    </a:moveTo>
                    <a:cubicBezTo>
                      <a:pt x="654" y="0"/>
                      <a:pt x="486" y="55"/>
                      <a:pt x="346" y="170"/>
                    </a:cubicBezTo>
                    <a:cubicBezTo>
                      <a:pt x="167" y="313"/>
                      <a:pt x="84" y="527"/>
                      <a:pt x="84" y="742"/>
                    </a:cubicBezTo>
                    <a:cubicBezTo>
                      <a:pt x="84" y="908"/>
                      <a:pt x="131" y="1075"/>
                      <a:pt x="250" y="1218"/>
                    </a:cubicBezTo>
                    <a:lnTo>
                      <a:pt x="3060" y="4623"/>
                    </a:lnTo>
                    <a:lnTo>
                      <a:pt x="298" y="7373"/>
                    </a:lnTo>
                    <a:cubicBezTo>
                      <a:pt x="12" y="7671"/>
                      <a:pt x="0" y="8135"/>
                      <a:pt x="298" y="8433"/>
                    </a:cubicBezTo>
                    <a:cubicBezTo>
                      <a:pt x="441" y="8576"/>
                      <a:pt x="631" y="8647"/>
                      <a:pt x="822" y="8647"/>
                    </a:cubicBezTo>
                    <a:cubicBezTo>
                      <a:pt x="1012" y="8647"/>
                      <a:pt x="1203" y="8576"/>
                      <a:pt x="1346" y="8433"/>
                    </a:cubicBezTo>
                    <a:lnTo>
                      <a:pt x="4584" y="5194"/>
                    </a:lnTo>
                    <a:cubicBezTo>
                      <a:pt x="4858" y="4933"/>
                      <a:pt x="4882" y="4492"/>
                      <a:pt x="4632" y="4206"/>
                    </a:cubicBezTo>
                    <a:lnTo>
                      <a:pt x="1393" y="265"/>
                    </a:lnTo>
                    <a:cubicBezTo>
                      <a:pt x="1246" y="91"/>
                      <a:pt x="1035" y="0"/>
                      <a:pt x="82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59" name="Google Shape;459;p8"/>
              <p:cNvSpPr/>
              <p:nvPr/>
            </p:nvSpPr>
            <p:spPr>
              <a:xfrm>
                <a:off x="5291972" y="4251410"/>
                <a:ext cx="302380" cy="535549"/>
              </a:xfrm>
              <a:custGeom>
                <a:avLst/>
                <a:gdLst/>
                <a:ahLst/>
                <a:cxnLst/>
                <a:rect l="l" t="t" r="r" b="b"/>
                <a:pathLst>
                  <a:path w="4883" h="8648" extrusionOk="0">
                    <a:moveTo>
                      <a:pt x="822" y="0"/>
                    </a:moveTo>
                    <a:cubicBezTo>
                      <a:pt x="655" y="0"/>
                      <a:pt x="487" y="55"/>
                      <a:pt x="346" y="170"/>
                    </a:cubicBezTo>
                    <a:cubicBezTo>
                      <a:pt x="168" y="313"/>
                      <a:pt x="72" y="527"/>
                      <a:pt x="72" y="742"/>
                    </a:cubicBezTo>
                    <a:cubicBezTo>
                      <a:pt x="72" y="908"/>
                      <a:pt x="132" y="1075"/>
                      <a:pt x="251" y="1218"/>
                    </a:cubicBezTo>
                    <a:lnTo>
                      <a:pt x="3061" y="4623"/>
                    </a:lnTo>
                    <a:lnTo>
                      <a:pt x="298" y="7373"/>
                    </a:lnTo>
                    <a:cubicBezTo>
                      <a:pt x="1" y="7671"/>
                      <a:pt x="1" y="8135"/>
                      <a:pt x="298" y="8433"/>
                    </a:cubicBezTo>
                    <a:cubicBezTo>
                      <a:pt x="441" y="8576"/>
                      <a:pt x="629" y="8647"/>
                      <a:pt x="818" y="8647"/>
                    </a:cubicBezTo>
                    <a:cubicBezTo>
                      <a:pt x="1007" y="8647"/>
                      <a:pt x="1197" y="8576"/>
                      <a:pt x="1346" y="8433"/>
                    </a:cubicBezTo>
                    <a:lnTo>
                      <a:pt x="4585" y="5194"/>
                    </a:lnTo>
                    <a:cubicBezTo>
                      <a:pt x="4859" y="4933"/>
                      <a:pt x="4882" y="4492"/>
                      <a:pt x="4632" y="4206"/>
                    </a:cubicBezTo>
                    <a:lnTo>
                      <a:pt x="1394" y="265"/>
                    </a:lnTo>
                    <a:cubicBezTo>
                      <a:pt x="1247" y="91"/>
                      <a:pt x="1035" y="0"/>
                      <a:pt x="82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60" name="Google Shape;460;p8"/>
              <p:cNvSpPr/>
              <p:nvPr/>
            </p:nvSpPr>
            <p:spPr>
              <a:xfrm>
                <a:off x="5059762" y="4251410"/>
                <a:ext cx="302318" cy="535549"/>
              </a:xfrm>
              <a:custGeom>
                <a:avLst/>
                <a:gdLst/>
                <a:ahLst/>
                <a:cxnLst/>
                <a:rect l="l" t="t" r="r" b="b"/>
                <a:pathLst>
                  <a:path w="4882" h="8648" extrusionOk="0">
                    <a:moveTo>
                      <a:pt x="821" y="0"/>
                    </a:moveTo>
                    <a:cubicBezTo>
                      <a:pt x="655" y="0"/>
                      <a:pt x="486" y="55"/>
                      <a:pt x="346" y="170"/>
                    </a:cubicBezTo>
                    <a:cubicBezTo>
                      <a:pt x="167" y="313"/>
                      <a:pt x="72" y="527"/>
                      <a:pt x="72" y="742"/>
                    </a:cubicBezTo>
                    <a:cubicBezTo>
                      <a:pt x="72" y="908"/>
                      <a:pt x="131" y="1075"/>
                      <a:pt x="238" y="1218"/>
                    </a:cubicBezTo>
                    <a:lnTo>
                      <a:pt x="3060" y="4623"/>
                    </a:lnTo>
                    <a:lnTo>
                      <a:pt x="298" y="7373"/>
                    </a:lnTo>
                    <a:cubicBezTo>
                      <a:pt x="0" y="7671"/>
                      <a:pt x="0" y="8135"/>
                      <a:pt x="298" y="8433"/>
                    </a:cubicBezTo>
                    <a:cubicBezTo>
                      <a:pt x="441" y="8576"/>
                      <a:pt x="628" y="8647"/>
                      <a:pt x="817" y="8647"/>
                    </a:cubicBezTo>
                    <a:cubicBezTo>
                      <a:pt x="1006" y="8647"/>
                      <a:pt x="1197" y="8576"/>
                      <a:pt x="1346" y="8433"/>
                    </a:cubicBezTo>
                    <a:lnTo>
                      <a:pt x="4584" y="5194"/>
                    </a:lnTo>
                    <a:cubicBezTo>
                      <a:pt x="4858" y="4933"/>
                      <a:pt x="4882" y="4492"/>
                      <a:pt x="4632" y="4206"/>
                    </a:cubicBezTo>
                    <a:lnTo>
                      <a:pt x="1393" y="265"/>
                    </a:lnTo>
                    <a:cubicBezTo>
                      <a:pt x="1246" y="91"/>
                      <a:pt x="1035" y="0"/>
                      <a:pt x="82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461" name="Google Shape;461;p8"/>
            <p:cNvGrpSpPr/>
            <p:nvPr/>
          </p:nvGrpSpPr>
          <p:grpSpPr>
            <a:xfrm>
              <a:off x="3488114" y="471527"/>
              <a:ext cx="393777" cy="393777"/>
              <a:chOff x="4028163" y="2251525"/>
              <a:chExt cx="82475" cy="82475"/>
            </a:xfrm>
          </p:grpSpPr>
          <p:sp>
            <p:nvSpPr>
              <p:cNvPr id="462" name="Google Shape;462;p8"/>
              <p:cNvSpPr/>
              <p:nvPr/>
            </p:nvSpPr>
            <p:spPr>
              <a:xfrm>
                <a:off x="4028163" y="2251525"/>
                <a:ext cx="82475" cy="82475"/>
              </a:xfrm>
              <a:custGeom>
                <a:avLst/>
                <a:gdLst/>
                <a:ahLst/>
                <a:cxnLst/>
                <a:rect l="l" t="t" r="r" b="b"/>
                <a:pathLst>
                  <a:path w="3299" h="3299" extrusionOk="0">
                    <a:moveTo>
                      <a:pt x="2656" y="1"/>
                    </a:moveTo>
                    <a:lnTo>
                      <a:pt x="1" y="2668"/>
                    </a:lnTo>
                    <a:lnTo>
                      <a:pt x="632" y="3299"/>
                    </a:lnTo>
                    <a:lnTo>
                      <a:pt x="3299" y="644"/>
                    </a:lnTo>
                    <a:lnTo>
                      <a:pt x="2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63" name="Google Shape;463;p8"/>
              <p:cNvSpPr/>
              <p:nvPr/>
            </p:nvSpPr>
            <p:spPr>
              <a:xfrm>
                <a:off x="4028163" y="2251525"/>
                <a:ext cx="82475" cy="82475"/>
              </a:xfrm>
              <a:custGeom>
                <a:avLst/>
                <a:gdLst/>
                <a:ahLst/>
                <a:cxnLst/>
                <a:rect l="l" t="t" r="r" b="b"/>
                <a:pathLst>
                  <a:path w="3299" h="3299" extrusionOk="0">
                    <a:moveTo>
                      <a:pt x="632" y="1"/>
                    </a:moveTo>
                    <a:lnTo>
                      <a:pt x="1" y="644"/>
                    </a:lnTo>
                    <a:lnTo>
                      <a:pt x="2656" y="3299"/>
                    </a:lnTo>
                    <a:lnTo>
                      <a:pt x="3299" y="2668"/>
                    </a:lnTo>
                    <a:lnTo>
                      <a:pt x="63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464" name="Google Shape;464;p8"/>
            <p:cNvGrpSpPr/>
            <p:nvPr/>
          </p:nvGrpSpPr>
          <p:grpSpPr>
            <a:xfrm rot="5400000">
              <a:off x="5400611" y="3660663"/>
              <a:ext cx="267174" cy="1422379"/>
              <a:chOff x="2277938" y="3169500"/>
              <a:chExt cx="76825" cy="409000"/>
            </a:xfrm>
          </p:grpSpPr>
          <p:sp>
            <p:nvSpPr>
              <p:cNvPr id="465" name="Google Shape;465;p8"/>
              <p:cNvSpPr/>
              <p:nvPr/>
            </p:nvSpPr>
            <p:spPr>
              <a:xfrm>
                <a:off x="2297288" y="3183800"/>
                <a:ext cx="57475" cy="57450"/>
              </a:xfrm>
              <a:custGeom>
                <a:avLst/>
                <a:gdLst/>
                <a:ahLst/>
                <a:cxnLst/>
                <a:rect l="l" t="t" r="r" b="b"/>
                <a:pathLst>
                  <a:path w="2299" h="2298" extrusionOk="0">
                    <a:moveTo>
                      <a:pt x="1144" y="0"/>
                    </a:moveTo>
                    <a:cubicBezTo>
                      <a:pt x="513" y="0"/>
                      <a:pt x="1" y="512"/>
                      <a:pt x="1" y="1143"/>
                    </a:cubicBezTo>
                    <a:cubicBezTo>
                      <a:pt x="1" y="1786"/>
                      <a:pt x="513" y="2298"/>
                      <a:pt x="1144" y="2298"/>
                    </a:cubicBezTo>
                    <a:cubicBezTo>
                      <a:pt x="1787" y="2298"/>
                      <a:pt x="2299" y="1786"/>
                      <a:pt x="2299" y="1143"/>
                    </a:cubicBezTo>
                    <a:cubicBezTo>
                      <a:pt x="2299" y="512"/>
                      <a:pt x="1787" y="0"/>
                      <a:pt x="114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66" name="Google Shape;466;p8"/>
              <p:cNvSpPr/>
              <p:nvPr/>
            </p:nvSpPr>
            <p:spPr>
              <a:xfrm>
                <a:off x="2297288" y="3296000"/>
                <a:ext cx="57475" cy="57775"/>
              </a:xfrm>
              <a:custGeom>
                <a:avLst/>
                <a:gdLst/>
                <a:ahLst/>
                <a:cxnLst/>
                <a:rect l="l" t="t" r="r" b="b"/>
                <a:pathLst>
                  <a:path w="2299" h="2311" extrusionOk="0">
                    <a:moveTo>
                      <a:pt x="1144" y="1"/>
                    </a:moveTo>
                    <a:cubicBezTo>
                      <a:pt x="513" y="1"/>
                      <a:pt x="1" y="513"/>
                      <a:pt x="1" y="1156"/>
                    </a:cubicBezTo>
                    <a:cubicBezTo>
                      <a:pt x="1" y="1787"/>
                      <a:pt x="513" y="2311"/>
                      <a:pt x="1144" y="2311"/>
                    </a:cubicBezTo>
                    <a:cubicBezTo>
                      <a:pt x="1787" y="2311"/>
                      <a:pt x="2299" y="1787"/>
                      <a:pt x="2299" y="1156"/>
                    </a:cubicBezTo>
                    <a:cubicBezTo>
                      <a:pt x="2299" y="513"/>
                      <a:pt x="1787" y="1"/>
                      <a:pt x="114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67" name="Google Shape;467;p8"/>
              <p:cNvSpPr/>
              <p:nvPr/>
            </p:nvSpPr>
            <p:spPr>
              <a:xfrm>
                <a:off x="2297288" y="3408525"/>
                <a:ext cx="57475" cy="57475"/>
              </a:xfrm>
              <a:custGeom>
                <a:avLst/>
                <a:gdLst/>
                <a:ahLst/>
                <a:cxnLst/>
                <a:rect l="l" t="t" r="r" b="b"/>
                <a:pathLst>
                  <a:path w="2299" h="2299" extrusionOk="0">
                    <a:moveTo>
                      <a:pt x="1144" y="0"/>
                    </a:moveTo>
                    <a:cubicBezTo>
                      <a:pt x="513" y="0"/>
                      <a:pt x="1" y="512"/>
                      <a:pt x="1" y="1143"/>
                    </a:cubicBezTo>
                    <a:cubicBezTo>
                      <a:pt x="1" y="1786"/>
                      <a:pt x="513" y="2298"/>
                      <a:pt x="1144" y="2298"/>
                    </a:cubicBezTo>
                    <a:cubicBezTo>
                      <a:pt x="1787" y="2298"/>
                      <a:pt x="2299" y="1786"/>
                      <a:pt x="2299" y="1143"/>
                    </a:cubicBezTo>
                    <a:cubicBezTo>
                      <a:pt x="2299" y="512"/>
                      <a:pt x="1787" y="0"/>
                      <a:pt x="114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68" name="Google Shape;468;p8"/>
              <p:cNvSpPr/>
              <p:nvPr/>
            </p:nvSpPr>
            <p:spPr>
              <a:xfrm>
                <a:off x="2297288" y="3520725"/>
                <a:ext cx="57475" cy="57775"/>
              </a:xfrm>
              <a:custGeom>
                <a:avLst/>
                <a:gdLst/>
                <a:ahLst/>
                <a:cxnLst/>
                <a:rect l="l" t="t" r="r" b="b"/>
                <a:pathLst>
                  <a:path w="2299" h="2311" extrusionOk="0">
                    <a:moveTo>
                      <a:pt x="1144" y="1"/>
                    </a:moveTo>
                    <a:cubicBezTo>
                      <a:pt x="513" y="1"/>
                      <a:pt x="1" y="513"/>
                      <a:pt x="1" y="1156"/>
                    </a:cubicBezTo>
                    <a:cubicBezTo>
                      <a:pt x="1" y="1787"/>
                      <a:pt x="513" y="2311"/>
                      <a:pt x="1144" y="2311"/>
                    </a:cubicBezTo>
                    <a:cubicBezTo>
                      <a:pt x="1787" y="2311"/>
                      <a:pt x="2299" y="1787"/>
                      <a:pt x="2299" y="1156"/>
                    </a:cubicBezTo>
                    <a:cubicBezTo>
                      <a:pt x="2299" y="513"/>
                      <a:pt x="1787" y="1"/>
                      <a:pt x="114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69" name="Google Shape;469;p8"/>
              <p:cNvSpPr/>
              <p:nvPr/>
            </p:nvSpPr>
            <p:spPr>
              <a:xfrm>
                <a:off x="2277938" y="3169500"/>
                <a:ext cx="57775" cy="57475"/>
              </a:xfrm>
              <a:custGeom>
                <a:avLst/>
                <a:gdLst/>
                <a:ahLst/>
                <a:cxnLst/>
                <a:rect l="l" t="t" r="r" b="b"/>
                <a:pathLst>
                  <a:path w="2311" h="2299" extrusionOk="0">
                    <a:moveTo>
                      <a:pt x="1156" y="1"/>
                    </a:moveTo>
                    <a:cubicBezTo>
                      <a:pt x="525" y="1"/>
                      <a:pt x="1" y="513"/>
                      <a:pt x="1" y="1144"/>
                    </a:cubicBezTo>
                    <a:cubicBezTo>
                      <a:pt x="1" y="1787"/>
                      <a:pt x="525" y="2298"/>
                      <a:pt x="1156" y="2298"/>
                    </a:cubicBezTo>
                    <a:cubicBezTo>
                      <a:pt x="1799" y="2298"/>
                      <a:pt x="2311" y="1787"/>
                      <a:pt x="2311" y="1144"/>
                    </a:cubicBezTo>
                    <a:cubicBezTo>
                      <a:pt x="2311" y="513"/>
                      <a:pt x="1799" y="1"/>
                      <a:pt x="115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70" name="Google Shape;470;p8"/>
              <p:cNvSpPr/>
              <p:nvPr/>
            </p:nvSpPr>
            <p:spPr>
              <a:xfrm>
                <a:off x="2277938" y="3281725"/>
                <a:ext cx="57775" cy="57775"/>
              </a:xfrm>
              <a:custGeom>
                <a:avLst/>
                <a:gdLst/>
                <a:ahLst/>
                <a:cxnLst/>
                <a:rect l="l" t="t" r="r" b="b"/>
                <a:pathLst>
                  <a:path w="2311" h="2311" extrusionOk="0">
                    <a:moveTo>
                      <a:pt x="1156" y="0"/>
                    </a:moveTo>
                    <a:cubicBezTo>
                      <a:pt x="525" y="0"/>
                      <a:pt x="1" y="512"/>
                      <a:pt x="1" y="1155"/>
                    </a:cubicBezTo>
                    <a:cubicBezTo>
                      <a:pt x="1" y="1786"/>
                      <a:pt x="525" y="2310"/>
                      <a:pt x="1156" y="2310"/>
                    </a:cubicBezTo>
                    <a:cubicBezTo>
                      <a:pt x="1799" y="2310"/>
                      <a:pt x="2311" y="1786"/>
                      <a:pt x="2311" y="1155"/>
                    </a:cubicBezTo>
                    <a:cubicBezTo>
                      <a:pt x="2311" y="512"/>
                      <a:pt x="1799" y="0"/>
                      <a:pt x="115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71" name="Google Shape;471;p8"/>
              <p:cNvSpPr/>
              <p:nvPr/>
            </p:nvSpPr>
            <p:spPr>
              <a:xfrm>
                <a:off x="2277938" y="3394225"/>
                <a:ext cx="57775" cy="57475"/>
              </a:xfrm>
              <a:custGeom>
                <a:avLst/>
                <a:gdLst/>
                <a:ahLst/>
                <a:cxnLst/>
                <a:rect l="l" t="t" r="r" b="b"/>
                <a:pathLst>
                  <a:path w="2311" h="2299" extrusionOk="0">
                    <a:moveTo>
                      <a:pt x="1156" y="1"/>
                    </a:moveTo>
                    <a:cubicBezTo>
                      <a:pt x="525" y="1"/>
                      <a:pt x="1" y="513"/>
                      <a:pt x="1" y="1144"/>
                    </a:cubicBezTo>
                    <a:cubicBezTo>
                      <a:pt x="1" y="1787"/>
                      <a:pt x="525" y="2299"/>
                      <a:pt x="1156" y="2299"/>
                    </a:cubicBezTo>
                    <a:cubicBezTo>
                      <a:pt x="1799" y="2299"/>
                      <a:pt x="2311" y="1787"/>
                      <a:pt x="2311" y="1144"/>
                    </a:cubicBezTo>
                    <a:cubicBezTo>
                      <a:pt x="2311" y="513"/>
                      <a:pt x="1799" y="1"/>
                      <a:pt x="115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72" name="Google Shape;472;p8"/>
              <p:cNvSpPr/>
              <p:nvPr/>
            </p:nvSpPr>
            <p:spPr>
              <a:xfrm>
                <a:off x="2277938" y="3506450"/>
                <a:ext cx="57775" cy="57775"/>
              </a:xfrm>
              <a:custGeom>
                <a:avLst/>
                <a:gdLst/>
                <a:ahLst/>
                <a:cxnLst/>
                <a:rect l="l" t="t" r="r" b="b"/>
                <a:pathLst>
                  <a:path w="2311" h="2311" extrusionOk="0">
                    <a:moveTo>
                      <a:pt x="1156" y="0"/>
                    </a:moveTo>
                    <a:cubicBezTo>
                      <a:pt x="525" y="0"/>
                      <a:pt x="1" y="512"/>
                      <a:pt x="1" y="1155"/>
                    </a:cubicBezTo>
                    <a:cubicBezTo>
                      <a:pt x="1" y="1786"/>
                      <a:pt x="525" y="2310"/>
                      <a:pt x="1156" y="2310"/>
                    </a:cubicBezTo>
                    <a:cubicBezTo>
                      <a:pt x="1799" y="2310"/>
                      <a:pt x="2311" y="1786"/>
                      <a:pt x="2311" y="1155"/>
                    </a:cubicBezTo>
                    <a:cubicBezTo>
                      <a:pt x="2311" y="512"/>
                      <a:pt x="1799" y="0"/>
                      <a:pt x="115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spTree>
    <p:extLst>
      <p:ext uri="{BB962C8B-B14F-4D97-AF65-F5344CB8AC3E}">
        <p14:creationId xmlns:p14="http://schemas.microsoft.com/office/powerpoint/2010/main" val="27056092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473"/>
        <p:cNvGrpSpPr/>
        <p:nvPr/>
      </p:nvGrpSpPr>
      <p:grpSpPr>
        <a:xfrm>
          <a:off x="0" y="0"/>
          <a:ext cx="0" cy="0"/>
          <a:chOff x="0" y="0"/>
          <a:chExt cx="0" cy="0"/>
        </a:xfrm>
      </p:grpSpPr>
      <p:grpSp>
        <p:nvGrpSpPr>
          <p:cNvPr id="474" name="Google Shape;474;p9"/>
          <p:cNvGrpSpPr/>
          <p:nvPr/>
        </p:nvGrpSpPr>
        <p:grpSpPr>
          <a:xfrm>
            <a:off x="-132666" y="0"/>
            <a:ext cx="12373732" cy="6857917"/>
            <a:chOff x="-99500" y="0"/>
            <a:chExt cx="9280299" cy="5143438"/>
          </a:xfrm>
        </p:grpSpPr>
        <p:sp>
          <p:nvSpPr>
            <p:cNvPr id="475" name="Google Shape;475;p9"/>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76" name="Google Shape;476;p9"/>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77" name="Google Shape;477;p9"/>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78" name="Google Shape;478;p9"/>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79" name="Google Shape;479;p9"/>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80" name="Google Shape;480;p9"/>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81" name="Google Shape;481;p9"/>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82" name="Google Shape;482;p9"/>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83" name="Google Shape;483;p9"/>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84" name="Google Shape;484;p9"/>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85" name="Google Shape;485;p9"/>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86" name="Google Shape;486;p9"/>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87" name="Google Shape;487;p9"/>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88" name="Google Shape;488;p9"/>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89" name="Google Shape;489;p9"/>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90" name="Google Shape;490;p9"/>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91" name="Google Shape;491;p9"/>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92" name="Google Shape;492;p9"/>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93" name="Google Shape;493;p9"/>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94" name="Google Shape;494;p9"/>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95" name="Google Shape;495;p9"/>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96" name="Google Shape;496;p9"/>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97" name="Google Shape;497;p9"/>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98" name="Google Shape;498;p9"/>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99" name="Google Shape;499;p9"/>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00" name="Google Shape;500;p9"/>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01" name="Google Shape;501;p9"/>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02" name="Google Shape;502;p9"/>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03" name="Google Shape;503;p9"/>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04" name="Google Shape;504;p9"/>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05" name="Google Shape;505;p9"/>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06" name="Google Shape;506;p9"/>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07" name="Google Shape;507;p9"/>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08" name="Google Shape;508;p9"/>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09" name="Google Shape;509;p9"/>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10" name="Google Shape;510;p9"/>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11" name="Google Shape;511;p9"/>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12" name="Google Shape;512;p9"/>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13" name="Google Shape;513;p9"/>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14" name="Google Shape;514;p9"/>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15" name="Google Shape;515;p9"/>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16" name="Google Shape;516;p9"/>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17" name="Google Shape;517;p9"/>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518" name="Google Shape;518;p9"/>
          <p:cNvSpPr txBox="1">
            <a:spLocks noGrp="1"/>
          </p:cNvSpPr>
          <p:nvPr>
            <p:ph type="title"/>
          </p:nvPr>
        </p:nvSpPr>
        <p:spPr>
          <a:xfrm>
            <a:off x="3370600" y="2306600"/>
            <a:ext cx="5450800" cy="11224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600"/>
              <a:buNone/>
              <a:defRPr sz="10666"/>
            </a:lvl1pPr>
            <a:lvl2pPr lvl="1" algn="ctr" rtl="0">
              <a:spcBef>
                <a:spcPts val="0"/>
              </a:spcBef>
              <a:spcAft>
                <a:spcPts val="0"/>
              </a:spcAft>
              <a:buSzPts val="3600"/>
              <a:buNone/>
              <a:defRPr sz="4800"/>
            </a:lvl2pPr>
            <a:lvl3pPr lvl="2" algn="ctr" rtl="0">
              <a:spcBef>
                <a:spcPts val="0"/>
              </a:spcBef>
              <a:spcAft>
                <a:spcPts val="0"/>
              </a:spcAft>
              <a:buSzPts val="3600"/>
              <a:buNone/>
              <a:defRPr sz="4800"/>
            </a:lvl3pPr>
            <a:lvl4pPr lvl="3" algn="ctr" rtl="0">
              <a:spcBef>
                <a:spcPts val="0"/>
              </a:spcBef>
              <a:spcAft>
                <a:spcPts val="0"/>
              </a:spcAft>
              <a:buSzPts val="3600"/>
              <a:buNone/>
              <a:defRPr sz="4800"/>
            </a:lvl4pPr>
            <a:lvl5pPr lvl="4" algn="ctr" rtl="0">
              <a:spcBef>
                <a:spcPts val="0"/>
              </a:spcBef>
              <a:spcAft>
                <a:spcPts val="0"/>
              </a:spcAft>
              <a:buSzPts val="3600"/>
              <a:buNone/>
              <a:defRPr sz="4800"/>
            </a:lvl5pPr>
            <a:lvl6pPr lvl="5" algn="ctr" rtl="0">
              <a:spcBef>
                <a:spcPts val="0"/>
              </a:spcBef>
              <a:spcAft>
                <a:spcPts val="0"/>
              </a:spcAft>
              <a:buSzPts val="3600"/>
              <a:buNone/>
              <a:defRPr sz="4800"/>
            </a:lvl6pPr>
            <a:lvl7pPr lvl="6" algn="ctr" rtl="0">
              <a:spcBef>
                <a:spcPts val="0"/>
              </a:spcBef>
              <a:spcAft>
                <a:spcPts val="0"/>
              </a:spcAft>
              <a:buSzPts val="3600"/>
              <a:buNone/>
              <a:defRPr sz="4800"/>
            </a:lvl7pPr>
            <a:lvl8pPr lvl="7" algn="ctr" rtl="0">
              <a:spcBef>
                <a:spcPts val="0"/>
              </a:spcBef>
              <a:spcAft>
                <a:spcPts val="0"/>
              </a:spcAft>
              <a:buSzPts val="3600"/>
              <a:buNone/>
              <a:defRPr sz="4800"/>
            </a:lvl8pPr>
            <a:lvl9pPr lvl="8" algn="ctr" rtl="0">
              <a:spcBef>
                <a:spcPts val="0"/>
              </a:spcBef>
              <a:spcAft>
                <a:spcPts val="0"/>
              </a:spcAft>
              <a:buSzPts val="3600"/>
              <a:buNone/>
              <a:defRPr sz="4800"/>
            </a:lvl9pPr>
          </a:lstStyle>
          <a:p>
            <a:endParaRPr/>
          </a:p>
        </p:txBody>
      </p:sp>
      <p:sp>
        <p:nvSpPr>
          <p:cNvPr id="519" name="Google Shape;519;p9"/>
          <p:cNvSpPr txBox="1">
            <a:spLocks noGrp="1"/>
          </p:cNvSpPr>
          <p:nvPr>
            <p:ph type="subTitle" idx="1"/>
          </p:nvPr>
        </p:nvSpPr>
        <p:spPr>
          <a:xfrm>
            <a:off x="2290800" y="3687233"/>
            <a:ext cx="7610400" cy="13416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800"/>
              <a:buNone/>
              <a:defRPr sz="3200">
                <a:solidFill>
                  <a:schemeClr val="dk1"/>
                </a:solidFill>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grpSp>
        <p:nvGrpSpPr>
          <p:cNvPr id="520" name="Google Shape;520;p9"/>
          <p:cNvGrpSpPr/>
          <p:nvPr/>
        </p:nvGrpSpPr>
        <p:grpSpPr>
          <a:xfrm>
            <a:off x="-73667" y="73781"/>
            <a:ext cx="12314733" cy="6593220"/>
            <a:chOff x="-55250" y="55335"/>
            <a:chExt cx="9236050" cy="4944915"/>
          </a:xfrm>
        </p:grpSpPr>
        <p:sp>
          <p:nvSpPr>
            <p:cNvPr id="521" name="Google Shape;521;p9"/>
            <p:cNvSpPr/>
            <p:nvPr/>
          </p:nvSpPr>
          <p:spPr>
            <a:xfrm>
              <a:off x="7902500" y="1354000"/>
              <a:ext cx="1278300" cy="28770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22" name="Google Shape;522;p9"/>
            <p:cNvSpPr/>
            <p:nvPr/>
          </p:nvSpPr>
          <p:spPr>
            <a:xfrm>
              <a:off x="7560950" y="3735000"/>
              <a:ext cx="1222500" cy="1222500"/>
            </a:xfrm>
            <a:prstGeom prst="donut">
              <a:avLst>
                <a:gd name="adj" fmla="val 25000"/>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523" name="Google Shape;523;p9"/>
            <p:cNvGrpSpPr/>
            <p:nvPr/>
          </p:nvGrpSpPr>
          <p:grpSpPr>
            <a:xfrm>
              <a:off x="6569673" y="508539"/>
              <a:ext cx="991282" cy="795625"/>
              <a:chOff x="5707045" y="2821600"/>
              <a:chExt cx="657480" cy="527708"/>
            </a:xfrm>
          </p:grpSpPr>
          <p:sp>
            <p:nvSpPr>
              <p:cNvPr id="524" name="Google Shape;524;p9"/>
              <p:cNvSpPr/>
              <p:nvPr/>
            </p:nvSpPr>
            <p:spPr>
              <a:xfrm>
                <a:off x="6236405" y="2821600"/>
                <a:ext cx="128119" cy="527708"/>
              </a:xfrm>
              <a:custGeom>
                <a:avLst/>
                <a:gdLst/>
                <a:ahLst/>
                <a:cxnLst/>
                <a:rect l="l" t="t" r="r" b="b"/>
                <a:pathLst>
                  <a:path w="1775" h="7311" extrusionOk="0">
                    <a:moveTo>
                      <a:pt x="1" y="1"/>
                    </a:moveTo>
                    <a:lnTo>
                      <a:pt x="1" y="7311"/>
                    </a:lnTo>
                    <a:lnTo>
                      <a:pt x="1775" y="7311"/>
                    </a:lnTo>
                    <a:lnTo>
                      <a:pt x="17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25" name="Google Shape;525;p9"/>
              <p:cNvSpPr/>
              <p:nvPr/>
            </p:nvSpPr>
            <p:spPr>
              <a:xfrm>
                <a:off x="5971725" y="2821600"/>
                <a:ext cx="128119" cy="527708"/>
              </a:xfrm>
              <a:custGeom>
                <a:avLst/>
                <a:gdLst/>
                <a:ahLst/>
                <a:cxnLst/>
                <a:rect l="l" t="t" r="r" b="b"/>
                <a:pathLst>
                  <a:path w="1775" h="7311" extrusionOk="0">
                    <a:moveTo>
                      <a:pt x="1" y="1"/>
                    </a:moveTo>
                    <a:lnTo>
                      <a:pt x="1" y="7311"/>
                    </a:lnTo>
                    <a:lnTo>
                      <a:pt x="1775" y="7311"/>
                    </a:lnTo>
                    <a:lnTo>
                      <a:pt x="17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26" name="Google Shape;526;p9"/>
              <p:cNvSpPr/>
              <p:nvPr/>
            </p:nvSpPr>
            <p:spPr>
              <a:xfrm>
                <a:off x="5707045" y="2821600"/>
                <a:ext cx="128986" cy="527708"/>
              </a:xfrm>
              <a:custGeom>
                <a:avLst/>
                <a:gdLst/>
                <a:ahLst/>
                <a:cxnLst/>
                <a:rect l="l" t="t" r="r" b="b"/>
                <a:pathLst>
                  <a:path w="1787" h="7311" extrusionOk="0">
                    <a:moveTo>
                      <a:pt x="0" y="1"/>
                    </a:moveTo>
                    <a:lnTo>
                      <a:pt x="0" y="7311"/>
                    </a:lnTo>
                    <a:lnTo>
                      <a:pt x="1786" y="7311"/>
                    </a:lnTo>
                    <a:lnTo>
                      <a:pt x="178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527" name="Google Shape;527;p9"/>
            <p:cNvGrpSpPr/>
            <p:nvPr/>
          </p:nvGrpSpPr>
          <p:grpSpPr>
            <a:xfrm>
              <a:off x="4670964" y="55335"/>
              <a:ext cx="802504" cy="795611"/>
              <a:chOff x="8199075" y="707526"/>
              <a:chExt cx="698498" cy="692498"/>
            </a:xfrm>
          </p:grpSpPr>
          <p:sp>
            <p:nvSpPr>
              <p:cNvPr id="528" name="Google Shape;528;p9"/>
              <p:cNvSpPr/>
              <p:nvPr/>
            </p:nvSpPr>
            <p:spPr>
              <a:xfrm>
                <a:off x="8323973" y="832424"/>
                <a:ext cx="573600" cy="567600"/>
              </a:xfrm>
              <a:prstGeom prst="ellipse">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29" name="Google Shape;529;p9"/>
              <p:cNvSpPr/>
              <p:nvPr/>
            </p:nvSpPr>
            <p:spPr>
              <a:xfrm>
                <a:off x="8199075" y="707526"/>
                <a:ext cx="573600" cy="5676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530" name="Google Shape;530;p9"/>
            <p:cNvSpPr/>
            <p:nvPr/>
          </p:nvSpPr>
          <p:spPr>
            <a:xfrm>
              <a:off x="-55250" y="578150"/>
              <a:ext cx="1095600" cy="16968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531" name="Google Shape;531;p9"/>
            <p:cNvGrpSpPr/>
            <p:nvPr/>
          </p:nvGrpSpPr>
          <p:grpSpPr>
            <a:xfrm rot="5400000">
              <a:off x="662345" y="123848"/>
              <a:ext cx="915709" cy="1183754"/>
              <a:chOff x="194863" y="3229838"/>
              <a:chExt cx="1354800" cy="1751375"/>
            </a:xfrm>
          </p:grpSpPr>
          <p:sp>
            <p:nvSpPr>
              <p:cNvPr id="532" name="Google Shape;532;p9"/>
              <p:cNvSpPr/>
              <p:nvPr/>
            </p:nvSpPr>
            <p:spPr>
              <a:xfrm>
                <a:off x="194863" y="3229850"/>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33" name="Google Shape;533;p9"/>
              <p:cNvSpPr/>
              <p:nvPr/>
            </p:nvSpPr>
            <p:spPr>
              <a:xfrm>
                <a:off x="194863" y="3625841"/>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34" name="Google Shape;534;p9"/>
              <p:cNvSpPr/>
              <p:nvPr/>
            </p:nvSpPr>
            <p:spPr>
              <a:xfrm>
                <a:off x="194863" y="4021831"/>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35" name="Google Shape;535;p9"/>
              <p:cNvSpPr/>
              <p:nvPr/>
            </p:nvSpPr>
            <p:spPr>
              <a:xfrm>
                <a:off x="194863" y="4417822"/>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36" name="Google Shape;536;p9"/>
              <p:cNvSpPr/>
              <p:nvPr/>
            </p:nvSpPr>
            <p:spPr>
              <a:xfrm>
                <a:off x="194863" y="4813813"/>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37" name="Google Shape;537;p9"/>
              <p:cNvSpPr/>
              <p:nvPr/>
            </p:nvSpPr>
            <p:spPr>
              <a:xfrm>
                <a:off x="788563" y="3229838"/>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38" name="Google Shape;538;p9"/>
              <p:cNvSpPr/>
              <p:nvPr/>
            </p:nvSpPr>
            <p:spPr>
              <a:xfrm>
                <a:off x="788563" y="3625828"/>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39" name="Google Shape;539;p9"/>
              <p:cNvSpPr/>
              <p:nvPr/>
            </p:nvSpPr>
            <p:spPr>
              <a:xfrm>
                <a:off x="788563" y="4021819"/>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40" name="Google Shape;540;p9"/>
              <p:cNvSpPr/>
              <p:nvPr/>
            </p:nvSpPr>
            <p:spPr>
              <a:xfrm>
                <a:off x="788563" y="4417809"/>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41" name="Google Shape;541;p9"/>
              <p:cNvSpPr/>
              <p:nvPr/>
            </p:nvSpPr>
            <p:spPr>
              <a:xfrm>
                <a:off x="788563" y="4813800"/>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42" name="Google Shape;542;p9"/>
              <p:cNvSpPr/>
              <p:nvPr/>
            </p:nvSpPr>
            <p:spPr>
              <a:xfrm>
                <a:off x="1382263" y="3229838"/>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43" name="Google Shape;543;p9"/>
              <p:cNvSpPr/>
              <p:nvPr/>
            </p:nvSpPr>
            <p:spPr>
              <a:xfrm>
                <a:off x="1382263" y="3625828"/>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44" name="Google Shape;544;p9"/>
              <p:cNvSpPr/>
              <p:nvPr/>
            </p:nvSpPr>
            <p:spPr>
              <a:xfrm>
                <a:off x="1382263" y="4021819"/>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45" name="Google Shape;545;p9"/>
              <p:cNvSpPr/>
              <p:nvPr/>
            </p:nvSpPr>
            <p:spPr>
              <a:xfrm>
                <a:off x="1382263" y="4417809"/>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46" name="Google Shape;546;p9"/>
              <p:cNvSpPr/>
              <p:nvPr/>
            </p:nvSpPr>
            <p:spPr>
              <a:xfrm>
                <a:off x="1382263" y="4813800"/>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547" name="Google Shape;547;p9"/>
            <p:cNvSpPr/>
            <p:nvPr/>
          </p:nvSpPr>
          <p:spPr>
            <a:xfrm rot="5400000">
              <a:off x="1358550" y="3693300"/>
              <a:ext cx="917100" cy="1696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548" name="Google Shape;548;p9"/>
            <p:cNvGrpSpPr/>
            <p:nvPr/>
          </p:nvGrpSpPr>
          <p:grpSpPr>
            <a:xfrm rot="5400000">
              <a:off x="974" y="3417044"/>
              <a:ext cx="1497006" cy="1498948"/>
              <a:chOff x="5623313" y="1574950"/>
              <a:chExt cx="720650" cy="721550"/>
            </a:xfrm>
          </p:grpSpPr>
          <p:sp>
            <p:nvSpPr>
              <p:cNvPr id="549" name="Google Shape;549;p9"/>
              <p:cNvSpPr/>
              <p:nvPr/>
            </p:nvSpPr>
            <p:spPr>
              <a:xfrm>
                <a:off x="5967688" y="1574950"/>
                <a:ext cx="309300" cy="150650"/>
              </a:xfrm>
              <a:custGeom>
                <a:avLst/>
                <a:gdLst/>
                <a:ahLst/>
                <a:cxnLst/>
                <a:rect l="l" t="t" r="r" b="b"/>
                <a:pathLst>
                  <a:path w="12372" h="6026" extrusionOk="0">
                    <a:moveTo>
                      <a:pt x="644" y="1"/>
                    </a:moveTo>
                    <a:cubicBezTo>
                      <a:pt x="429" y="1"/>
                      <a:pt x="215" y="13"/>
                      <a:pt x="1" y="25"/>
                    </a:cubicBezTo>
                    <a:lnTo>
                      <a:pt x="12371" y="6025"/>
                    </a:lnTo>
                    <a:cubicBezTo>
                      <a:pt x="11990" y="5490"/>
                      <a:pt x="11585" y="5002"/>
                      <a:pt x="11145" y="4525"/>
                    </a:cubicBezTo>
                    <a:lnTo>
                      <a:pt x="1941" y="60"/>
                    </a:lnTo>
                    <a:cubicBezTo>
                      <a:pt x="1513" y="25"/>
                      <a:pt x="1084" y="1"/>
                      <a:pt x="64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50" name="Google Shape;550;p9"/>
              <p:cNvSpPr/>
              <p:nvPr/>
            </p:nvSpPr>
            <p:spPr>
              <a:xfrm>
                <a:off x="5859638" y="1588050"/>
                <a:ext cx="467350" cy="235775"/>
              </a:xfrm>
              <a:custGeom>
                <a:avLst/>
                <a:gdLst/>
                <a:ahLst/>
                <a:cxnLst/>
                <a:rect l="l" t="t" r="r" b="b"/>
                <a:pathLst>
                  <a:path w="18694" h="9431" extrusionOk="0">
                    <a:moveTo>
                      <a:pt x="1108" y="1"/>
                    </a:moveTo>
                    <a:cubicBezTo>
                      <a:pt x="739" y="108"/>
                      <a:pt x="358" y="227"/>
                      <a:pt x="1" y="358"/>
                    </a:cubicBezTo>
                    <a:lnTo>
                      <a:pt x="18693" y="9431"/>
                    </a:lnTo>
                    <a:cubicBezTo>
                      <a:pt x="18574" y="9061"/>
                      <a:pt x="18432" y="8692"/>
                      <a:pt x="18289" y="8335"/>
                    </a:cubicBezTo>
                    <a:lnTo>
                      <a:pt x="110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51" name="Google Shape;551;p9"/>
              <p:cNvSpPr/>
              <p:nvPr/>
            </p:nvSpPr>
            <p:spPr>
              <a:xfrm>
                <a:off x="5784938" y="1622300"/>
                <a:ext cx="558425" cy="283675"/>
              </a:xfrm>
              <a:custGeom>
                <a:avLst/>
                <a:gdLst/>
                <a:ahLst/>
                <a:cxnLst/>
                <a:rect l="l" t="t" r="r" b="b"/>
                <a:pathLst>
                  <a:path w="22337" h="11347" extrusionOk="0">
                    <a:moveTo>
                      <a:pt x="810" y="0"/>
                    </a:moveTo>
                    <a:cubicBezTo>
                      <a:pt x="536" y="155"/>
                      <a:pt x="262" y="321"/>
                      <a:pt x="0" y="500"/>
                    </a:cubicBezTo>
                    <a:lnTo>
                      <a:pt x="22336" y="11347"/>
                    </a:lnTo>
                    <a:cubicBezTo>
                      <a:pt x="22313" y="11025"/>
                      <a:pt x="22277" y="10704"/>
                      <a:pt x="22229" y="10394"/>
                    </a:cubicBezTo>
                    <a:lnTo>
                      <a:pt x="81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52" name="Google Shape;552;p9"/>
              <p:cNvSpPr/>
              <p:nvPr/>
            </p:nvSpPr>
            <p:spPr>
              <a:xfrm>
                <a:off x="5728088" y="1666650"/>
                <a:ext cx="615875" cy="312550"/>
              </a:xfrm>
              <a:custGeom>
                <a:avLst/>
                <a:gdLst/>
                <a:ahLst/>
                <a:cxnLst/>
                <a:rect l="l" t="t" r="r" b="b"/>
                <a:pathLst>
                  <a:path w="24635" h="12502" extrusionOk="0">
                    <a:moveTo>
                      <a:pt x="631" y="0"/>
                    </a:moveTo>
                    <a:cubicBezTo>
                      <a:pt x="417" y="191"/>
                      <a:pt x="203" y="381"/>
                      <a:pt x="0" y="583"/>
                    </a:cubicBezTo>
                    <a:lnTo>
                      <a:pt x="24563" y="12502"/>
                    </a:lnTo>
                    <a:cubicBezTo>
                      <a:pt x="24598" y="12216"/>
                      <a:pt x="24622" y="11942"/>
                      <a:pt x="24634" y="11644"/>
                    </a:cubicBezTo>
                    <a:lnTo>
                      <a:pt x="63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53" name="Google Shape;553;p9"/>
              <p:cNvSpPr/>
              <p:nvPr/>
            </p:nvSpPr>
            <p:spPr>
              <a:xfrm>
                <a:off x="5684613" y="1717825"/>
                <a:ext cx="648625" cy="328350"/>
              </a:xfrm>
              <a:custGeom>
                <a:avLst/>
                <a:gdLst/>
                <a:ahLst/>
                <a:cxnLst/>
                <a:rect l="l" t="t" r="r" b="b"/>
                <a:pathLst>
                  <a:path w="25945" h="13134" extrusionOk="0">
                    <a:moveTo>
                      <a:pt x="477" y="1"/>
                    </a:moveTo>
                    <a:cubicBezTo>
                      <a:pt x="310" y="215"/>
                      <a:pt x="156" y="430"/>
                      <a:pt x="1" y="656"/>
                    </a:cubicBezTo>
                    <a:lnTo>
                      <a:pt x="25718" y="13133"/>
                    </a:lnTo>
                    <a:cubicBezTo>
                      <a:pt x="25802" y="12883"/>
                      <a:pt x="25873" y="12622"/>
                      <a:pt x="25945" y="12360"/>
                    </a:cubicBezTo>
                    <a:lnTo>
                      <a:pt x="47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54" name="Google Shape;554;p9"/>
              <p:cNvSpPr/>
              <p:nvPr/>
            </p:nvSpPr>
            <p:spPr>
              <a:xfrm>
                <a:off x="5652463" y="1774675"/>
                <a:ext cx="657850" cy="333125"/>
              </a:xfrm>
              <a:custGeom>
                <a:avLst/>
                <a:gdLst/>
                <a:ahLst/>
                <a:cxnLst/>
                <a:rect l="l" t="t" r="r" b="b"/>
                <a:pathLst>
                  <a:path w="26314" h="13325" extrusionOk="0">
                    <a:moveTo>
                      <a:pt x="346" y="1"/>
                    </a:moveTo>
                    <a:cubicBezTo>
                      <a:pt x="227" y="239"/>
                      <a:pt x="108" y="477"/>
                      <a:pt x="1" y="727"/>
                    </a:cubicBezTo>
                    <a:lnTo>
                      <a:pt x="25957" y="13324"/>
                    </a:lnTo>
                    <a:cubicBezTo>
                      <a:pt x="26088" y="13086"/>
                      <a:pt x="26207" y="12848"/>
                      <a:pt x="26314" y="12598"/>
                    </a:cubicBezTo>
                    <a:lnTo>
                      <a:pt x="34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55" name="Google Shape;555;p9"/>
              <p:cNvSpPr/>
              <p:nvPr/>
            </p:nvSpPr>
            <p:spPr>
              <a:xfrm>
                <a:off x="5631938" y="1836900"/>
                <a:ext cx="644450" cy="326550"/>
              </a:xfrm>
              <a:custGeom>
                <a:avLst/>
                <a:gdLst/>
                <a:ahLst/>
                <a:cxnLst/>
                <a:rect l="l" t="t" r="r" b="b"/>
                <a:pathLst>
                  <a:path w="25778" h="13062" extrusionOk="0">
                    <a:moveTo>
                      <a:pt x="203" y="0"/>
                    </a:moveTo>
                    <a:cubicBezTo>
                      <a:pt x="119" y="262"/>
                      <a:pt x="60" y="536"/>
                      <a:pt x="0" y="798"/>
                    </a:cubicBezTo>
                    <a:lnTo>
                      <a:pt x="25277" y="13062"/>
                    </a:lnTo>
                    <a:cubicBezTo>
                      <a:pt x="25444" y="12859"/>
                      <a:pt x="25611" y="12633"/>
                      <a:pt x="25777" y="12419"/>
                    </a:cubicBezTo>
                    <a:lnTo>
                      <a:pt x="20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56" name="Google Shape;556;p9"/>
              <p:cNvSpPr/>
              <p:nvPr/>
            </p:nvSpPr>
            <p:spPr>
              <a:xfrm>
                <a:off x="5623313" y="1905050"/>
                <a:ext cx="607225" cy="308700"/>
              </a:xfrm>
              <a:custGeom>
                <a:avLst/>
                <a:gdLst/>
                <a:ahLst/>
                <a:cxnLst/>
                <a:rect l="l" t="t" r="r" b="b"/>
                <a:pathLst>
                  <a:path w="24289" h="12348" extrusionOk="0">
                    <a:moveTo>
                      <a:pt x="48" y="1"/>
                    </a:moveTo>
                    <a:cubicBezTo>
                      <a:pt x="24" y="287"/>
                      <a:pt x="12" y="584"/>
                      <a:pt x="0" y="870"/>
                    </a:cubicBezTo>
                    <a:lnTo>
                      <a:pt x="23634" y="12348"/>
                    </a:lnTo>
                    <a:cubicBezTo>
                      <a:pt x="23860" y="12157"/>
                      <a:pt x="24075" y="11967"/>
                      <a:pt x="24289" y="11764"/>
                    </a:cubicBezTo>
                    <a:lnTo>
                      <a:pt x="4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57" name="Google Shape;557;p9"/>
              <p:cNvSpPr/>
              <p:nvPr/>
            </p:nvSpPr>
            <p:spPr>
              <a:xfrm>
                <a:off x="5625688" y="1979775"/>
                <a:ext cx="545325" cy="276550"/>
              </a:xfrm>
              <a:custGeom>
                <a:avLst/>
                <a:gdLst/>
                <a:ahLst/>
                <a:cxnLst/>
                <a:rect l="l" t="t" r="r" b="b"/>
                <a:pathLst>
                  <a:path w="21813" h="11062" extrusionOk="0">
                    <a:moveTo>
                      <a:pt x="0" y="0"/>
                    </a:moveTo>
                    <a:cubicBezTo>
                      <a:pt x="48" y="322"/>
                      <a:pt x="96" y="643"/>
                      <a:pt x="155" y="965"/>
                    </a:cubicBezTo>
                    <a:lnTo>
                      <a:pt x="20955" y="11061"/>
                    </a:lnTo>
                    <a:cubicBezTo>
                      <a:pt x="21253" y="10906"/>
                      <a:pt x="21539" y="10752"/>
                      <a:pt x="21813" y="10585"/>
                    </a:cubicBezTo>
                    <a:lnTo>
                      <a:pt x="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58" name="Google Shape;558;p9"/>
              <p:cNvSpPr/>
              <p:nvPr/>
            </p:nvSpPr>
            <p:spPr>
              <a:xfrm>
                <a:off x="5646513" y="2064000"/>
                <a:ext cx="445625" cy="224175"/>
              </a:xfrm>
              <a:custGeom>
                <a:avLst/>
                <a:gdLst/>
                <a:ahLst/>
                <a:cxnLst/>
                <a:rect l="l" t="t" r="r" b="b"/>
                <a:pathLst>
                  <a:path w="17825" h="8967" extrusionOk="0">
                    <a:moveTo>
                      <a:pt x="1" y="1"/>
                    </a:moveTo>
                    <a:lnTo>
                      <a:pt x="1" y="1"/>
                    </a:lnTo>
                    <a:cubicBezTo>
                      <a:pt x="144" y="382"/>
                      <a:pt x="310" y="763"/>
                      <a:pt x="477" y="1120"/>
                    </a:cubicBezTo>
                    <a:lnTo>
                      <a:pt x="16634" y="8966"/>
                    </a:lnTo>
                    <a:cubicBezTo>
                      <a:pt x="17039" y="8871"/>
                      <a:pt x="17432" y="8764"/>
                      <a:pt x="17824" y="8645"/>
                    </a:cubicBezTo>
                    <a:lnTo>
                      <a:pt x="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59" name="Google Shape;559;p9"/>
              <p:cNvSpPr/>
              <p:nvPr/>
            </p:nvSpPr>
            <p:spPr>
              <a:xfrm>
                <a:off x="5707238" y="2167600"/>
                <a:ext cx="265550" cy="128900"/>
              </a:xfrm>
              <a:custGeom>
                <a:avLst/>
                <a:gdLst/>
                <a:ahLst/>
                <a:cxnLst/>
                <a:rect l="l" t="t" r="r" b="b"/>
                <a:pathLst>
                  <a:path w="10622" h="5156" extrusionOk="0">
                    <a:moveTo>
                      <a:pt x="1" y="0"/>
                    </a:moveTo>
                    <a:lnTo>
                      <a:pt x="1" y="0"/>
                    </a:lnTo>
                    <a:cubicBezTo>
                      <a:pt x="525" y="619"/>
                      <a:pt x="1096" y="1191"/>
                      <a:pt x="1715" y="1727"/>
                    </a:cubicBezTo>
                    <a:lnTo>
                      <a:pt x="8228" y="4882"/>
                    </a:lnTo>
                    <a:cubicBezTo>
                      <a:pt x="9014" y="5037"/>
                      <a:pt x="9811" y="5132"/>
                      <a:pt x="10621" y="5156"/>
                    </a:cubicBezTo>
                    <a:lnTo>
                      <a:pt x="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560" name="Google Shape;560;p9"/>
            <p:cNvSpPr/>
            <p:nvPr/>
          </p:nvSpPr>
          <p:spPr>
            <a:xfrm>
              <a:off x="8004343" y="1586235"/>
              <a:ext cx="143770" cy="143725"/>
            </a:xfrm>
            <a:custGeom>
              <a:avLst/>
              <a:gdLst/>
              <a:ahLst/>
              <a:cxnLst/>
              <a:rect l="l" t="t" r="r" b="b"/>
              <a:pathLst>
                <a:path w="1989" h="1989" extrusionOk="0">
                  <a:moveTo>
                    <a:pt x="1001" y="0"/>
                  </a:moveTo>
                  <a:cubicBezTo>
                    <a:pt x="441" y="0"/>
                    <a:pt x="1" y="441"/>
                    <a:pt x="1" y="989"/>
                  </a:cubicBezTo>
                  <a:cubicBezTo>
                    <a:pt x="1" y="1548"/>
                    <a:pt x="453" y="1989"/>
                    <a:pt x="1001" y="1989"/>
                  </a:cubicBezTo>
                  <a:cubicBezTo>
                    <a:pt x="1548" y="1989"/>
                    <a:pt x="1989" y="1548"/>
                    <a:pt x="1989" y="989"/>
                  </a:cubicBezTo>
                  <a:cubicBezTo>
                    <a:pt x="1989" y="441"/>
                    <a:pt x="1548" y="0"/>
                    <a:pt x="100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61" name="Google Shape;561;p9"/>
            <p:cNvSpPr/>
            <p:nvPr/>
          </p:nvSpPr>
          <p:spPr>
            <a:xfrm>
              <a:off x="8280243" y="1829935"/>
              <a:ext cx="143770" cy="143725"/>
            </a:xfrm>
            <a:custGeom>
              <a:avLst/>
              <a:gdLst/>
              <a:ahLst/>
              <a:cxnLst/>
              <a:rect l="l" t="t" r="r" b="b"/>
              <a:pathLst>
                <a:path w="1989" h="1989" extrusionOk="0">
                  <a:moveTo>
                    <a:pt x="1001" y="0"/>
                  </a:moveTo>
                  <a:cubicBezTo>
                    <a:pt x="441" y="0"/>
                    <a:pt x="1" y="441"/>
                    <a:pt x="1" y="989"/>
                  </a:cubicBezTo>
                  <a:cubicBezTo>
                    <a:pt x="1" y="1548"/>
                    <a:pt x="453" y="1989"/>
                    <a:pt x="1001" y="1989"/>
                  </a:cubicBezTo>
                  <a:cubicBezTo>
                    <a:pt x="1548" y="1989"/>
                    <a:pt x="1989" y="1548"/>
                    <a:pt x="1989" y="989"/>
                  </a:cubicBezTo>
                  <a:cubicBezTo>
                    <a:pt x="1989" y="441"/>
                    <a:pt x="1548" y="0"/>
                    <a:pt x="100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2424370392"/>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40739-0558-4FB6-A2B2-F0A1DB763F9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MY"/>
          </a:p>
        </p:txBody>
      </p:sp>
      <p:sp>
        <p:nvSpPr>
          <p:cNvPr id="3" name="Text Placeholder 2">
            <a:extLst>
              <a:ext uri="{FF2B5EF4-FFF2-40B4-BE49-F238E27FC236}">
                <a16:creationId xmlns:a16="http://schemas.microsoft.com/office/drawing/2014/main" id="{E2BC137B-9FB1-448A-A26B-A10182E47FD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2190DD9-5291-49B4-BDDF-FB8D71EB6E6F}"/>
              </a:ext>
            </a:extLst>
          </p:cNvPr>
          <p:cNvSpPr>
            <a:spLocks noGrp="1"/>
          </p:cNvSpPr>
          <p:nvPr>
            <p:ph type="dt" sz="half" idx="10"/>
          </p:nvPr>
        </p:nvSpPr>
        <p:spPr/>
        <p:txBody>
          <a:bodyPr/>
          <a:lstStyle/>
          <a:p>
            <a:fld id="{E152F814-A5A9-4915-BA2C-D498CBB3B7CE}" type="datetimeFigureOut">
              <a:rPr lang="en-MY" smtClean="0"/>
              <a:t>13/1/2023</a:t>
            </a:fld>
            <a:endParaRPr lang="en-MY"/>
          </a:p>
        </p:txBody>
      </p:sp>
      <p:sp>
        <p:nvSpPr>
          <p:cNvPr id="5" name="Footer Placeholder 4">
            <a:extLst>
              <a:ext uri="{FF2B5EF4-FFF2-40B4-BE49-F238E27FC236}">
                <a16:creationId xmlns:a16="http://schemas.microsoft.com/office/drawing/2014/main" id="{A73C68C4-DB93-4C7A-BA96-59311013A6A2}"/>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465F16CD-FD5E-4439-ADFE-3CE91A6A91EB}"/>
              </a:ext>
            </a:extLst>
          </p:cNvPr>
          <p:cNvSpPr>
            <a:spLocks noGrp="1"/>
          </p:cNvSpPr>
          <p:nvPr>
            <p:ph type="sldNum" sz="quarter" idx="12"/>
          </p:nvPr>
        </p:nvSpPr>
        <p:spPr/>
        <p:txBody>
          <a:bodyPr/>
          <a:lstStyle/>
          <a:p>
            <a:fld id="{3854563D-E486-48D4-A129-56097E180FBF}" type="slidenum">
              <a:rPr lang="en-MY" smtClean="0"/>
              <a:t>‹#›</a:t>
            </a:fld>
            <a:endParaRPr lang="en-MY"/>
          </a:p>
        </p:txBody>
      </p:sp>
    </p:spTree>
    <p:extLst>
      <p:ext uri="{BB962C8B-B14F-4D97-AF65-F5344CB8AC3E}">
        <p14:creationId xmlns:p14="http://schemas.microsoft.com/office/powerpoint/2010/main" val="28512322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562"/>
        <p:cNvGrpSpPr/>
        <p:nvPr/>
      </p:nvGrpSpPr>
      <p:grpSpPr>
        <a:xfrm>
          <a:off x="0" y="0"/>
          <a:ext cx="0" cy="0"/>
          <a:chOff x="0" y="0"/>
          <a:chExt cx="0" cy="0"/>
        </a:xfrm>
      </p:grpSpPr>
      <p:sp>
        <p:nvSpPr>
          <p:cNvPr id="563" name="Google Shape;563;p10"/>
          <p:cNvSpPr txBox="1">
            <a:spLocks noGrp="1"/>
          </p:cNvSpPr>
          <p:nvPr>
            <p:ph type="title"/>
          </p:nvPr>
        </p:nvSpPr>
        <p:spPr>
          <a:xfrm>
            <a:off x="960000" y="3185533"/>
            <a:ext cx="10272000" cy="625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500"/>
              <a:buNone/>
              <a:defRPr sz="5333"/>
            </a:lvl1pPr>
            <a:lvl2pPr lvl="1" algn="ctr" rtl="0">
              <a:spcBef>
                <a:spcPts val="0"/>
              </a:spcBef>
              <a:spcAft>
                <a:spcPts val="0"/>
              </a:spcAft>
              <a:buSzPts val="3500"/>
              <a:buNone/>
              <a:defRPr/>
            </a:lvl2pPr>
            <a:lvl3pPr lvl="2" algn="ctr" rtl="0">
              <a:spcBef>
                <a:spcPts val="0"/>
              </a:spcBef>
              <a:spcAft>
                <a:spcPts val="0"/>
              </a:spcAft>
              <a:buSzPts val="3500"/>
              <a:buNone/>
              <a:defRPr/>
            </a:lvl3pPr>
            <a:lvl4pPr lvl="3" algn="ctr" rtl="0">
              <a:spcBef>
                <a:spcPts val="0"/>
              </a:spcBef>
              <a:spcAft>
                <a:spcPts val="0"/>
              </a:spcAft>
              <a:buSzPts val="3500"/>
              <a:buNone/>
              <a:defRPr/>
            </a:lvl4pPr>
            <a:lvl5pPr lvl="4" algn="ctr" rtl="0">
              <a:spcBef>
                <a:spcPts val="0"/>
              </a:spcBef>
              <a:spcAft>
                <a:spcPts val="0"/>
              </a:spcAft>
              <a:buSzPts val="3500"/>
              <a:buNone/>
              <a:defRPr/>
            </a:lvl5pPr>
            <a:lvl6pPr lvl="5" algn="ctr" rtl="0">
              <a:spcBef>
                <a:spcPts val="0"/>
              </a:spcBef>
              <a:spcAft>
                <a:spcPts val="0"/>
              </a:spcAft>
              <a:buSzPts val="3500"/>
              <a:buNone/>
              <a:defRPr/>
            </a:lvl6pPr>
            <a:lvl7pPr lvl="6" algn="ctr" rtl="0">
              <a:spcBef>
                <a:spcPts val="0"/>
              </a:spcBef>
              <a:spcAft>
                <a:spcPts val="0"/>
              </a:spcAft>
              <a:buSzPts val="3500"/>
              <a:buNone/>
              <a:defRPr/>
            </a:lvl7pPr>
            <a:lvl8pPr lvl="7" algn="ctr" rtl="0">
              <a:spcBef>
                <a:spcPts val="0"/>
              </a:spcBef>
              <a:spcAft>
                <a:spcPts val="0"/>
              </a:spcAft>
              <a:buSzPts val="3500"/>
              <a:buNone/>
              <a:defRPr/>
            </a:lvl8pPr>
            <a:lvl9pPr lvl="8" algn="ctr" rtl="0">
              <a:spcBef>
                <a:spcPts val="0"/>
              </a:spcBef>
              <a:spcAft>
                <a:spcPts val="0"/>
              </a:spcAft>
              <a:buSzPts val="3500"/>
              <a:buNone/>
              <a:defRPr/>
            </a:lvl9pPr>
          </a:lstStyle>
          <a:p>
            <a:endParaRPr/>
          </a:p>
        </p:txBody>
      </p:sp>
    </p:spTree>
    <p:extLst>
      <p:ext uri="{BB962C8B-B14F-4D97-AF65-F5344CB8AC3E}">
        <p14:creationId xmlns:p14="http://schemas.microsoft.com/office/powerpoint/2010/main" val="19055115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564"/>
        <p:cNvGrpSpPr/>
        <p:nvPr/>
      </p:nvGrpSpPr>
      <p:grpSpPr>
        <a:xfrm>
          <a:off x="0" y="0"/>
          <a:ext cx="0" cy="0"/>
          <a:chOff x="0" y="0"/>
          <a:chExt cx="0" cy="0"/>
        </a:xfrm>
      </p:grpSpPr>
      <p:grpSp>
        <p:nvGrpSpPr>
          <p:cNvPr id="565" name="Google Shape;565;p11"/>
          <p:cNvGrpSpPr/>
          <p:nvPr/>
        </p:nvGrpSpPr>
        <p:grpSpPr>
          <a:xfrm>
            <a:off x="-132666" y="0"/>
            <a:ext cx="12373732" cy="6857917"/>
            <a:chOff x="-99500" y="0"/>
            <a:chExt cx="9280299" cy="5143438"/>
          </a:xfrm>
        </p:grpSpPr>
        <p:sp>
          <p:nvSpPr>
            <p:cNvPr id="566" name="Google Shape;566;p11"/>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67" name="Google Shape;567;p11"/>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68" name="Google Shape;568;p11"/>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69" name="Google Shape;569;p11"/>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70" name="Google Shape;570;p11"/>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71" name="Google Shape;571;p11"/>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72" name="Google Shape;572;p11"/>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73" name="Google Shape;573;p11"/>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74" name="Google Shape;574;p11"/>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75" name="Google Shape;575;p11"/>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76" name="Google Shape;576;p11"/>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77" name="Google Shape;577;p11"/>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78" name="Google Shape;578;p11"/>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79" name="Google Shape;579;p11"/>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80" name="Google Shape;580;p11"/>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81" name="Google Shape;581;p11"/>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82" name="Google Shape;582;p11"/>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83" name="Google Shape;583;p11"/>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84" name="Google Shape;584;p11"/>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85" name="Google Shape;585;p11"/>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86" name="Google Shape;586;p11"/>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87" name="Google Shape;587;p11"/>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88" name="Google Shape;588;p11"/>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89" name="Google Shape;589;p11"/>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90" name="Google Shape;590;p11"/>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91" name="Google Shape;591;p11"/>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92" name="Google Shape;592;p11"/>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93" name="Google Shape;593;p11"/>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94" name="Google Shape;594;p11"/>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95" name="Google Shape;595;p11"/>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96" name="Google Shape;596;p11"/>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97" name="Google Shape;597;p11"/>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98" name="Google Shape;598;p11"/>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99" name="Google Shape;599;p11"/>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00" name="Google Shape;600;p11"/>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01" name="Google Shape;601;p11"/>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02" name="Google Shape;602;p11"/>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03" name="Google Shape;603;p11"/>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04" name="Google Shape;604;p11"/>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05" name="Google Shape;605;p11"/>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06" name="Google Shape;606;p11"/>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07" name="Google Shape;607;p11"/>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08" name="Google Shape;608;p11"/>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609" name="Google Shape;609;p11"/>
          <p:cNvSpPr txBox="1">
            <a:spLocks noGrp="1"/>
          </p:cNvSpPr>
          <p:nvPr>
            <p:ph type="title" hasCustomPrompt="1"/>
          </p:nvPr>
        </p:nvSpPr>
        <p:spPr>
          <a:xfrm>
            <a:off x="1797067" y="1442367"/>
            <a:ext cx="8768000" cy="26180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16000"/>
            </a:lvl1pPr>
            <a:lvl2pPr lvl="1" algn="ctr">
              <a:spcBef>
                <a:spcPts val="0"/>
              </a:spcBef>
              <a:spcAft>
                <a:spcPts val="0"/>
              </a:spcAft>
              <a:buSzPts val="12000"/>
              <a:buNone/>
              <a:defRPr sz="16000"/>
            </a:lvl2pPr>
            <a:lvl3pPr lvl="2" algn="ctr">
              <a:spcBef>
                <a:spcPts val="0"/>
              </a:spcBef>
              <a:spcAft>
                <a:spcPts val="0"/>
              </a:spcAft>
              <a:buSzPts val="12000"/>
              <a:buNone/>
              <a:defRPr sz="16000"/>
            </a:lvl3pPr>
            <a:lvl4pPr lvl="3" algn="ctr">
              <a:spcBef>
                <a:spcPts val="0"/>
              </a:spcBef>
              <a:spcAft>
                <a:spcPts val="0"/>
              </a:spcAft>
              <a:buSzPts val="12000"/>
              <a:buNone/>
              <a:defRPr sz="16000"/>
            </a:lvl4pPr>
            <a:lvl5pPr lvl="4" algn="ctr">
              <a:spcBef>
                <a:spcPts val="0"/>
              </a:spcBef>
              <a:spcAft>
                <a:spcPts val="0"/>
              </a:spcAft>
              <a:buSzPts val="12000"/>
              <a:buNone/>
              <a:defRPr sz="16000"/>
            </a:lvl5pPr>
            <a:lvl6pPr lvl="5" algn="ctr">
              <a:spcBef>
                <a:spcPts val="0"/>
              </a:spcBef>
              <a:spcAft>
                <a:spcPts val="0"/>
              </a:spcAft>
              <a:buSzPts val="12000"/>
              <a:buNone/>
              <a:defRPr sz="16000"/>
            </a:lvl6pPr>
            <a:lvl7pPr lvl="6" algn="ctr">
              <a:spcBef>
                <a:spcPts val="0"/>
              </a:spcBef>
              <a:spcAft>
                <a:spcPts val="0"/>
              </a:spcAft>
              <a:buSzPts val="12000"/>
              <a:buNone/>
              <a:defRPr sz="16000"/>
            </a:lvl7pPr>
            <a:lvl8pPr lvl="7" algn="ctr">
              <a:spcBef>
                <a:spcPts val="0"/>
              </a:spcBef>
              <a:spcAft>
                <a:spcPts val="0"/>
              </a:spcAft>
              <a:buSzPts val="12000"/>
              <a:buNone/>
              <a:defRPr sz="16000"/>
            </a:lvl8pPr>
            <a:lvl9pPr lvl="8" algn="ctr">
              <a:spcBef>
                <a:spcPts val="0"/>
              </a:spcBef>
              <a:spcAft>
                <a:spcPts val="0"/>
              </a:spcAft>
              <a:buSzPts val="12000"/>
              <a:buNone/>
              <a:defRPr sz="16000"/>
            </a:lvl9pPr>
          </a:lstStyle>
          <a:p>
            <a:r>
              <a:t>xx%</a:t>
            </a:r>
          </a:p>
        </p:txBody>
      </p:sp>
      <p:sp>
        <p:nvSpPr>
          <p:cNvPr id="610" name="Google Shape;610;p11"/>
          <p:cNvSpPr txBox="1">
            <a:spLocks noGrp="1"/>
          </p:cNvSpPr>
          <p:nvPr>
            <p:ph type="subTitle" idx="1"/>
          </p:nvPr>
        </p:nvSpPr>
        <p:spPr>
          <a:xfrm>
            <a:off x="1797067" y="4060367"/>
            <a:ext cx="8768000" cy="9512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600"/>
              <a:buNone/>
              <a:defRPr sz="3200">
                <a:solidFill>
                  <a:schemeClr val="dk1"/>
                </a:solidFill>
              </a:defRPr>
            </a:lvl1pPr>
            <a:lvl2pPr lvl="1" algn="ctr" rtl="0">
              <a:lnSpc>
                <a:spcPct val="100000"/>
              </a:lnSpc>
              <a:spcBef>
                <a:spcPts val="0"/>
              </a:spcBef>
              <a:spcAft>
                <a:spcPts val="0"/>
              </a:spcAft>
              <a:buSzPts val="1600"/>
              <a:buNone/>
              <a:defRPr sz="2133"/>
            </a:lvl2pPr>
            <a:lvl3pPr lvl="2" algn="ctr" rtl="0">
              <a:lnSpc>
                <a:spcPct val="100000"/>
              </a:lnSpc>
              <a:spcBef>
                <a:spcPts val="0"/>
              </a:spcBef>
              <a:spcAft>
                <a:spcPts val="0"/>
              </a:spcAft>
              <a:buSzPts val="1600"/>
              <a:buNone/>
              <a:defRPr sz="2133"/>
            </a:lvl3pPr>
            <a:lvl4pPr lvl="3" algn="ctr" rtl="0">
              <a:lnSpc>
                <a:spcPct val="100000"/>
              </a:lnSpc>
              <a:spcBef>
                <a:spcPts val="0"/>
              </a:spcBef>
              <a:spcAft>
                <a:spcPts val="0"/>
              </a:spcAft>
              <a:buSzPts val="1600"/>
              <a:buNone/>
              <a:defRPr sz="2133"/>
            </a:lvl4pPr>
            <a:lvl5pPr lvl="4" algn="ctr" rtl="0">
              <a:lnSpc>
                <a:spcPct val="100000"/>
              </a:lnSpc>
              <a:spcBef>
                <a:spcPts val="0"/>
              </a:spcBef>
              <a:spcAft>
                <a:spcPts val="0"/>
              </a:spcAft>
              <a:buSzPts val="1600"/>
              <a:buNone/>
              <a:defRPr sz="2133"/>
            </a:lvl5pPr>
            <a:lvl6pPr lvl="5" algn="ctr" rtl="0">
              <a:lnSpc>
                <a:spcPct val="100000"/>
              </a:lnSpc>
              <a:spcBef>
                <a:spcPts val="0"/>
              </a:spcBef>
              <a:spcAft>
                <a:spcPts val="0"/>
              </a:spcAft>
              <a:buSzPts val="1600"/>
              <a:buNone/>
              <a:defRPr sz="2133"/>
            </a:lvl6pPr>
            <a:lvl7pPr lvl="6" algn="ctr" rtl="0">
              <a:lnSpc>
                <a:spcPct val="100000"/>
              </a:lnSpc>
              <a:spcBef>
                <a:spcPts val="0"/>
              </a:spcBef>
              <a:spcAft>
                <a:spcPts val="0"/>
              </a:spcAft>
              <a:buSzPts val="1600"/>
              <a:buNone/>
              <a:defRPr sz="2133"/>
            </a:lvl7pPr>
            <a:lvl8pPr lvl="7" algn="ctr" rtl="0">
              <a:lnSpc>
                <a:spcPct val="100000"/>
              </a:lnSpc>
              <a:spcBef>
                <a:spcPts val="0"/>
              </a:spcBef>
              <a:spcAft>
                <a:spcPts val="0"/>
              </a:spcAft>
              <a:buSzPts val="1600"/>
              <a:buNone/>
              <a:defRPr sz="2133"/>
            </a:lvl8pPr>
            <a:lvl9pPr lvl="8" algn="ctr" rtl="0">
              <a:lnSpc>
                <a:spcPct val="100000"/>
              </a:lnSpc>
              <a:spcBef>
                <a:spcPts val="0"/>
              </a:spcBef>
              <a:spcAft>
                <a:spcPts val="0"/>
              </a:spcAft>
              <a:buSzPts val="1600"/>
              <a:buNone/>
              <a:defRPr sz="2133"/>
            </a:lvl9pPr>
          </a:lstStyle>
          <a:p>
            <a:endParaRPr/>
          </a:p>
        </p:txBody>
      </p:sp>
      <p:grpSp>
        <p:nvGrpSpPr>
          <p:cNvPr id="611" name="Google Shape;611;p11"/>
          <p:cNvGrpSpPr/>
          <p:nvPr/>
        </p:nvGrpSpPr>
        <p:grpSpPr>
          <a:xfrm>
            <a:off x="-60900" y="-3"/>
            <a:ext cx="12177000" cy="6858005"/>
            <a:chOff x="-45675" y="-2"/>
            <a:chExt cx="9132750" cy="5143504"/>
          </a:xfrm>
        </p:grpSpPr>
        <p:sp>
          <p:nvSpPr>
            <p:cNvPr id="612" name="Google Shape;612;p11"/>
            <p:cNvSpPr/>
            <p:nvPr/>
          </p:nvSpPr>
          <p:spPr>
            <a:xfrm>
              <a:off x="-45675" y="505225"/>
              <a:ext cx="1284000" cy="1284000"/>
            </a:xfrm>
            <a:prstGeom prst="donut">
              <a:avLst>
                <a:gd name="adj" fmla="val 20150"/>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613" name="Google Shape;613;p11"/>
            <p:cNvGrpSpPr/>
            <p:nvPr/>
          </p:nvGrpSpPr>
          <p:grpSpPr>
            <a:xfrm rot="5400000">
              <a:off x="7859998" y="4216175"/>
              <a:ext cx="622472" cy="622472"/>
              <a:chOff x="4028163" y="2251525"/>
              <a:chExt cx="82475" cy="82475"/>
            </a:xfrm>
          </p:grpSpPr>
          <p:sp>
            <p:nvSpPr>
              <p:cNvPr id="614" name="Google Shape;614;p11"/>
              <p:cNvSpPr/>
              <p:nvPr/>
            </p:nvSpPr>
            <p:spPr>
              <a:xfrm>
                <a:off x="4028163" y="2251525"/>
                <a:ext cx="82475" cy="82475"/>
              </a:xfrm>
              <a:custGeom>
                <a:avLst/>
                <a:gdLst/>
                <a:ahLst/>
                <a:cxnLst/>
                <a:rect l="l" t="t" r="r" b="b"/>
                <a:pathLst>
                  <a:path w="3299" h="3299" extrusionOk="0">
                    <a:moveTo>
                      <a:pt x="2656" y="1"/>
                    </a:moveTo>
                    <a:lnTo>
                      <a:pt x="1" y="2668"/>
                    </a:lnTo>
                    <a:lnTo>
                      <a:pt x="632" y="3299"/>
                    </a:lnTo>
                    <a:lnTo>
                      <a:pt x="3299" y="644"/>
                    </a:lnTo>
                    <a:lnTo>
                      <a:pt x="2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15" name="Google Shape;615;p11"/>
              <p:cNvSpPr/>
              <p:nvPr/>
            </p:nvSpPr>
            <p:spPr>
              <a:xfrm>
                <a:off x="4028163" y="2251525"/>
                <a:ext cx="82475" cy="82475"/>
              </a:xfrm>
              <a:custGeom>
                <a:avLst/>
                <a:gdLst/>
                <a:ahLst/>
                <a:cxnLst/>
                <a:rect l="l" t="t" r="r" b="b"/>
                <a:pathLst>
                  <a:path w="3299" h="3299" extrusionOk="0">
                    <a:moveTo>
                      <a:pt x="632" y="1"/>
                    </a:moveTo>
                    <a:lnTo>
                      <a:pt x="1" y="644"/>
                    </a:lnTo>
                    <a:lnTo>
                      <a:pt x="2656" y="3299"/>
                    </a:lnTo>
                    <a:lnTo>
                      <a:pt x="3299" y="2668"/>
                    </a:lnTo>
                    <a:lnTo>
                      <a:pt x="63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616" name="Google Shape;616;p11"/>
            <p:cNvSpPr/>
            <p:nvPr/>
          </p:nvSpPr>
          <p:spPr>
            <a:xfrm rot="5400000">
              <a:off x="4395050" y="-529052"/>
              <a:ext cx="481500" cy="1539600"/>
            </a:xfrm>
            <a:prstGeom prst="rect">
              <a:avLst/>
            </a:prstGeom>
            <a:solidFill>
              <a:srgbClr val="FF7D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617" name="Google Shape;617;p11"/>
            <p:cNvGrpSpPr/>
            <p:nvPr/>
          </p:nvGrpSpPr>
          <p:grpSpPr>
            <a:xfrm>
              <a:off x="5166353" y="51552"/>
              <a:ext cx="820016" cy="572716"/>
              <a:chOff x="5059762" y="4251410"/>
              <a:chExt cx="766800" cy="535549"/>
            </a:xfrm>
          </p:grpSpPr>
          <p:sp>
            <p:nvSpPr>
              <p:cNvPr id="618" name="Google Shape;618;p11"/>
              <p:cNvSpPr/>
              <p:nvPr/>
            </p:nvSpPr>
            <p:spPr>
              <a:xfrm>
                <a:off x="5524244" y="4251410"/>
                <a:ext cx="302318" cy="535549"/>
              </a:xfrm>
              <a:custGeom>
                <a:avLst/>
                <a:gdLst/>
                <a:ahLst/>
                <a:cxnLst/>
                <a:rect l="l" t="t" r="r" b="b"/>
                <a:pathLst>
                  <a:path w="4882" h="8648" extrusionOk="0">
                    <a:moveTo>
                      <a:pt x="821" y="0"/>
                    </a:moveTo>
                    <a:cubicBezTo>
                      <a:pt x="654" y="0"/>
                      <a:pt x="486" y="55"/>
                      <a:pt x="346" y="170"/>
                    </a:cubicBezTo>
                    <a:cubicBezTo>
                      <a:pt x="167" y="313"/>
                      <a:pt x="84" y="527"/>
                      <a:pt x="84" y="742"/>
                    </a:cubicBezTo>
                    <a:cubicBezTo>
                      <a:pt x="84" y="908"/>
                      <a:pt x="131" y="1075"/>
                      <a:pt x="250" y="1218"/>
                    </a:cubicBezTo>
                    <a:lnTo>
                      <a:pt x="3060" y="4623"/>
                    </a:lnTo>
                    <a:lnTo>
                      <a:pt x="298" y="7373"/>
                    </a:lnTo>
                    <a:cubicBezTo>
                      <a:pt x="12" y="7671"/>
                      <a:pt x="0" y="8135"/>
                      <a:pt x="298" y="8433"/>
                    </a:cubicBezTo>
                    <a:cubicBezTo>
                      <a:pt x="441" y="8576"/>
                      <a:pt x="631" y="8647"/>
                      <a:pt x="822" y="8647"/>
                    </a:cubicBezTo>
                    <a:cubicBezTo>
                      <a:pt x="1012" y="8647"/>
                      <a:pt x="1203" y="8576"/>
                      <a:pt x="1346" y="8433"/>
                    </a:cubicBezTo>
                    <a:lnTo>
                      <a:pt x="4584" y="5194"/>
                    </a:lnTo>
                    <a:cubicBezTo>
                      <a:pt x="4858" y="4933"/>
                      <a:pt x="4882" y="4492"/>
                      <a:pt x="4632" y="4206"/>
                    </a:cubicBezTo>
                    <a:lnTo>
                      <a:pt x="1393" y="265"/>
                    </a:lnTo>
                    <a:cubicBezTo>
                      <a:pt x="1246" y="91"/>
                      <a:pt x="1035" y="0"/>
                      <a:pt x="82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19" name="Google Shape;619;p11"/>
              <p:cNvSpPr/>
              <p:nvPr/>
            </p:nvSpPr>
            <p:spPr>
              <a:xfrm>
                <a:off x="5291972" y="4251410"/>
                <a:ext cx="302380" cy="535549"/>
              </a:xfrm>
              <a:custGeom>
                <a:avLst/>
                <a:gdLst/>
                <a:ahLst/>
                <a:cxnLst/>
                <a:rect l="l" t="t" r="r" b="b"/>
                <a:pathLst>
                  <a:path w="4883" h="8648" extrusionOk="0">
                    <a:moveTo>
                      <a:pt x="822" y="0"/>
                    </a:moveTo>
                    <a:cubicBezTo>
                      <a:pt x="655" y="0"/>
                      <a:pt x="487" y="55"/>
                      <a:pt x="346" y="170"/>
                    </a:cubicBezTo>
                    <a:cubicBezTo>
                      <a:pt x="168" y="313"/>
                      <a:pt x="72" y="527"/>
                      <a:pt x="72" y="742"/>
                    </a:cubicBezTo>
                    <a:cubicBezTo>
                      <a:pt x="72" y="908"/>
                      <a:pt x="132" y="1075"/>
                      <a:pt x="251" y="1218"/>
                    </a:cubicBezTo>
                    <a:lnTo>
                      <a:pt x="3061" y="4623"/>
                    </a:lnTo>
                    <a:lnTo>
                      <a:pt x="298" y="7373"/>
                    </a:lnTo>
                    <a:cubicBezTo>
                      <a:pt x="1" y="7671"/>
                      <a:pt x="1" y="8135"/>
                      <a:pt x="298" y="8433"/>
                    </a:cubicBezTo>
                    <a:cubicBezTo>
                      <a:pt x="441" y="8576"/>
                      <a:pt x="629" y="8647"/>
                      <a:pt x="818" y="8647"/>
                    </a:cubicBezTo>
                    <a:cubicBezTo>
                      <a:pt x="1007" y="8647"/>
                      <a:pt x="1197" y="8576"/>
                      <a:pt x="1346" y="8433"/>
                    </a:cubicBezTo>
                    <a:lnTo>
                      <a:pt x="4585" y="5194"/>
                    </a:lnTo>
                    <a:cubicBezTo>
                      <a:pt x="4859" y="4933"/>
                      <a:pt x="4882" y="4492"/>
                      <a:pt x="4632" y="4206"/>
                    </a:cubicBezTo>
                    <a:lnTo>
                      <a:pt x="1394" y="265"/>
                    </a:lnTo>
                    <a:cubicBezTo>
                      <a:pt x="1247" y="91"/>
                      <a:pt x="1035" y="0"/>
                      <a:pt x="82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20" name="Google Shape;620;p11"/>
              <p:cNvSpPr/>
              <p:nvPr/>
            </p:nvSpPr>
            <p:spPr>
              <a:xfrm>
                <a:off x="5059762" y="4251410"/>
                <a:ext cx="302318" cy="535549"/>
              </a:xfrm>
              <a:custGeom>
                <a:avLst/>
                <a:gdLst/>
                <a:ahLst/>
                <a:cxnLst/>
                <a:rect l="l" t="t" r="r" b="b"/>
                <a:pathLst>
                  <a:path w="4882" h="8648" extrusionOk="0">
                    <a:moveTo>
                      <a:pt x="821" y="0"/>
                    </a:moveTo>
                    <a:cubicBezTo>
                      <a:pt x="655" y="0"/>
                      <a:pt x="486" y="55"/>
                      <a:pt x="346" y="170"/>
                    </a:cubicBezTo>
                    <a:cubicBezTo>
                      <a:pt x="167" y="313"/>
                      <a:pt x="72" y="527"/>
                      <a:pt x="72" y="742"/>
                    </a:cubicBezTo>
                    <a:cubicBezTo>
                      <a:pt x="72" y="908"/>
                      <a:pt x="131" y="1075"/>
                      <a:pt x="238" y="1218"/>
                    </a:cubicBezTo>
                    <a:lnTo>
                      <a:pt x="3060" y="4623"/>
                    </a:lnTo>
                    <a:lnTo>
                      <a:pt x="298" y="7373"/>
                    </a:lnTo>
                    <a:cubicBezTo>
                      <a:pt x="0" y="7671"/>
                      <a:pt x="0" y="8135"/>
                      <a:pt x="298" y="8433"/>
                    </a:cubicBezTo>
                    <a:cubicBezTo>
                      <a:pt x="441" y="8576"/>
                      <a:pt x="628" y="8647"/>
                      <a:pt x="817" y="8647"/>
                    </a:cubicBezTo>
                    <a:cubicBezTo>
                      <a:pt x="1006" y="8647"/>
                      <a:pt x="1197" y="8576"/>
                      <a:pt x="1346" y="8433"/>
                    </a:cubicBezTo>
                    <a:lnTo>
                      <a:pt x="4584" y="5194"/>
                    </a:lnTo>
                    <a:cubicBezTo>
                      <a:pt x="4858" y="4933"/>
                      <a:pt x="4882" y="4492"/>
                      <a:pt x="4632" y="4206"/>
                    </a:cubicBezTo>
                    <a:lnTo>
                      <a:pt x="1393" y="265"/>
                    </a:lnTo>
                    <a:cubicBezTo>
                      <a:pt x="1246" y="91"/>
                      <a:pt x="1035" y="0"/>
                      <a:pt x="82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621" name="Google Shape;621;p11"/>
            <p:cNvSpPr/>
            <p:nvPr/>
          </p:nvSpPr>
          <p:spPr>
            <a:xfrm rot="10800000">
              <a:off x="8280675" y="1032152"/>
              <a:ext cx="806400" cy="15396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622" name="Google Shape;622;p11"/>
            <p:cNvGrpSpPr/>
            <p:nvPr/>
          </p:nvGrpSpPr>
          <p:grpSpPr>
            <a:xfrm rot="10800000">
              <a:off x="7853355" y="570749"/>
              <a:ext cx="1141284" cy="1475358"/>
              <a:chOff x="194863" y="3229838"/>
              <a:chExt cx="1354800" cy="1751375"/>
            </a:xfrm>
          </p:grpSpPr>
          <p:sp>
            <p:nvSpPr>
              <p:cNvPr id="623" name="Google Shape;623;p11"/>
              <p:cNvSpPr/>
              <p:nvPr/>
            </p:nvSpPr>
            <p:spPr>
              <a:xfrm>
                <a:off x="194863" y="3229850"/>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24" name="Google Shape;624;p11"/>
              <p:cNvSpPr/>
              <p:nvPr/>
            </p:nvSpPr>
            <p:spPr>
              <a:xfrm>
                <a:off x="194863" y="3625841"/>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25" name="Google Shape;625;p11"/>
              <p:cNvSpPr/>
              <p:nvPr/>
            </p:nvSpPr>
            <p:spPr>
              <a:xfrm>
                <a:off x="194863" y="4021831"/>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26" name="Google Shape;626;p11"/>
              <p:cNvSpPr/>
              <p:nvPr/>
            </p:nvSpPr>
            <p:spPr>
              <a:xfrm>
                <a:off x="194863" y="4417822"/>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27" name="Google Shape;627;p11"/>
              <p:cNvSpPr/>
              <p:nvPr/>
            </p:nvSpPr>
            <p:spPr>
              <a:xfrm>
                <a:off x="194863" y="4813813"/>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28" name="Google Shape;628;p11"/>
              <p:cNvSpPr/>
              <p:nvPr/>
            </p:nvSpPr>
            <p:spPr>
              <a:xfrm>
                <a:off x="788563" y="3229838"/>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29" name="Google Shape;629;p11"/>
              <p:cNvSpPr/>
              <p:nvPr/>
            </p:nvSpPr>
            <p:spPr>
              <a:xfrm>
                <a:off x="788563" y="3625828"/>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30" name="Google Shape;630;p11"/>
              <p:cNvSpPr/>
              <p:nvPr/>
            </p:nvSpPr>
            <p:spPr>
              <a:xfrm>
                <a:off x="788563" y="4021819"/>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31" name="Google Shape;631;p11"/>
              <p:cNvSpPr/>
              <p:nvPr/>
            </p:nvSpPr>
            <p:spPr>
              <a:xfrm>
                <a:off x="788563" y="4417809"/>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32" name="Google Shape;632;p11"/>
              <p:cNvSpPr/>
              <p:nvPr/>
            </p:nvSpPr>
            <p:spPr>
              <a:xfrm>
                <a:off x="788563" y="4813800"/>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33" name="Google Shape;633;p11"/>
              <p:cNvSpPr/>
              <p:nvPr/>
            </p:nvSpPr>
            <p:spPr>
              <a:xfrm>
                <a:off x="1382263" y="3229838"/>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34" name="Google Shape;634;p11"/>
              <p:cNvSpPr/>
              <p:nvPr/>
            </p:nvSpPr>
            <p:spPr>
              <a:xfrm>
                <a:off x="1382263" y="3625828"/>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35" name="Google Shape;635;p11"/>
              <p:cNvSpPr/>
              <p:nvPr/>
            </p:nvSpPr>
            <p:spPr>
              <a:xfrm>
                <a:off x="1382263" y="4021819"/>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36" name="Google Shape;636;p11"/>
              <p:cNvSpPr/>
              <p:nvPr/>
            </p:nvSpPr>
            <p:spPr>
              <a:xfrm>
                <a:off x="1382263" y="4417809"/>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37" name="Google Shape;637;p11"/>
              <p:cNvSpPr/>
              <p:nvPr/>
            </p:nvSpPr>
            <p:spPr>
              <a:xfrm>
                <a:off x="1382263" y="4813800"/>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638" name="Google Shape;638;p11"/>
            <p:cNvSpPr/>
            <p:nvPr/>
          </p:nvSpPr>
          <p:spPr>
            <a:xfrm rot="5400000">
              <a:off x="1294375" y="3970502"/>
              <a:ext cx="806400" cy="15396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39" name="Google Shape;639;p11"/>
            <p:cNvSpPr/>
            <p:nvPr/>
          </p:nvSpPr>
          <p:spPr>
            <a:xfrm rot="6153160">
              <a:off x="504239" y="3696946"/>
              <a:ext cx="1004340" cy="1205837"/>
            </a:xfrm>
            <a:custGeom>
              <a:avLst/>
              <a:gdLst/>
              <a:ahLst/>
              <a:cxnLst/>
              <a:rect l="l" t="t" r="r" b="b"/>
              <a:pathLst>
                <a:path w="16765" h="21444" extrusionOk="0">
                  <a:moveTo>
                    <a:pt x="16372" y="1"/>
                  </a:moveTo>
                  <a:cubicBezTo>
                    <a:pt x="6478" y="1929"/>
                    <a:pt x="1" y="11550"/>
                    <a:pt x="1930" y="21444"/>
                  </a:cubicBezTo>
                  <a:lnTo>
                    <a:pt x="3966" y="21039"/>
                  </a:lnTo>
                  <a:cubicBezTo>
                    <a:pt x="2263" y="12276"/>
                    <a:pt x="8002" y="3751"/>
                    <a:pt x="16765" y="2049"/>
                  </a:cubicBezTo>
                  <a:lnTo>
                    <a:pt x="1637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38039186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640"/>
        <p:cNvGrpSpPr/>
        <p:nvPr/>
      </p:nvGrpSpPr>
      <p:grpSpPr>
        <a:xfrm>
          <a:off x="0" y="0"/>
          <a:ext cx="0" cy="0"/>
          <a:chOff x="0" y="0"/>
          <a:chExt cx="0" cy="0"/>
        </a:xfrm>
      </p:grpSpPr>
    </p:spTree>
    <p:extLst>
      <p:ext uri="{BB962C8B-B14F-4D97-AF65-F5344CB8AC3E}">
        <p14:creationId xmlns:p14="http://schemas.microsoft.com/office/powerpoint/2010/main" val="36168524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able of contents">
  <p:cSld name="Table of contents">
    <p:spTree>
      <p:nvGrpSpPr>
        <p:cNvPr id="1" name="Shape 641"/>
        <p:cNvGrpSpPr/>
        <p:nvPr/>
      </p:nvGrpSpPr>
      <p:grpSpPr>
        <a:xfrm>
          <a:off x="0" y="0"/>
          <a:ext cx="0" cy="0"/>
          <a:chOff x="0" y="0"/>
          <a:chExt cx="0" cy="0"/>
        </a:xfrm>
      </p:grpSpPr>
      <p:grpSp>
        <p:nvGrpSpPr>
          <p:cNvPr id="642" name="Google Shape;642;p13"/>
          <p:cNvGrpSpPr/>
          <p:nvPr/>
        </p:nvGrpSpPr>
        <p:grpSpPr>
          <a:xfrm>
            <a:off x="-132666" y="0"/>
            <a:ext cx="12373732" cy="6857917"/>
            <a:chOff x="-99500" y="0"/>
            <a:chExt cx="9280299" cy="5143438"/>
          </a:xfrm>
        </p:grpSpPr>
        <p:sp>
          <p:nvSpPr>
            <p:cNvPr id="643" name="Google Shape;643;p13"/>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44" name="Google Shape;644;p13"/>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45" name="Google Shape;645;p13"/>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46" name="Google Shape;646;p13"/>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47" name="Google Shape;647;p13"/>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48" name="Google Shape;648;p13"/>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49" name="Google Shape;649;p13"/>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50" name="Google Shape;650;p13"/>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51" name="Google Shape;651;p13"/>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52" name="Google Shape;652;p13"/>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53" name="Google Shape;653;p13"/>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54" name="Google Shape;654;p13"/>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55" name="Google Shape;655;p13"/>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56" name="Google Shape;656;p13"/>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57" name="Google Shape;657;p13"/>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58" name="Google Shape;658;p13"/>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59" name="Google Shape;659;p13"/>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60" name="Google Shape;660;p13"/>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61" name="Google Shape;661;p13"/>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62" name="Google Shape;662;p13"/>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63" name="Google Shape;663;p13"/>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64" name="Google Shape;664;p13"/>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65" name="Google Shape;665;p13"/>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66" name="Google Shape;666;p13"/>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67" name="Google Shape;667;p13"/>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68" name="Google Shape;668;p13"/>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69" name="Google Shape;669;p13"/>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70" name="Google Shape;670;p13"/>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71" name="Google Shape;671;p13"/>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72" name="Google Shape;672;p13"/>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73" name="Google Shape;673;p13"/>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74" name="Google Shape;674;p13"/>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75" name="Google Shape;675;p13"/>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76" name="Google Shape;676;p13"/>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77" name="Google Shape;677;p13"/>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78" name="Google Shape;678;p13"/>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79" name="Google Shape;679;p13"/>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80" name="Google Shape;680;p13"/>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81" name="Google Shape;681;p13"/>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82" name="Google Shape;682;p13"/>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83" name="Google Shape;683;p13"/>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84" name="Google Shape;684;p13"/>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85" name="Google Shape;685;p13"/>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686" name="Google Shape;686;p13"/>
          <p:cNvSpPr txBox="1">
            <a:spLocks noGrp="1"/>
          </p:cNvSpPr>
          <p:nvPr>
            <p:ph type="title"/>
          </p:nvPr>
        </p:nvSpPr>
        <p:spPr>
          <a:xfrm>
            <a:off x="2738351" y="2362900"/>
            <a:ext cx="3456800" cy="5744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3200">
                <a:solidFill>
                  <a:schemeClr val="dk1"/>
                </a:solidFill>
              </a:defRPr>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
        <p:nvSpPr>
          <p:cNvPr id="687" name="Google Shape;687;p13"/>
          <p:cNvSpPr txBox="1">
            <a:spLocks noGrp="1"/>
          </p:cNvSpPr>
          <p:nvPr>
            <p:ph type="title" idx="2" hasCustomPrompt="1"/>
          </p:nvPr>
        </p:nvSpPr>
        <p:spPr>
          <a:xfrm>
            <a:off x="1623813" y="2577733"/>
            <a:ext cx="1095600" cy="791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6667"/>
            </a:lvl1pPr>
            <a:lvl2pPr lvl="1" rtl="0">
              <a:spcBef>
                <a:spcPts val="0"/>
              </a:spcBef>
              <a:spcAft>
                <a:spcPts val="0"/>
              </a:spcAft>
              <a:buSzPts val="3000"/>
              <a:buNone/>
              <a:defRPr sz="4000"/>
            </a:lvl2pPr>
            <a:lvl3pPr lvl="2" rtl="0">
              <a:spcBef>
                <a:spcPts val="0"/>
              </a:spcBef>
              <a:spcAft>
                <a:spcPts val="0"/>
              </a:spcAft>
              <a:buSzPts val="3000"/>
              <a:buNone/>
              <a:defRPr sz="4000"/>
            </a:lvl3pPr>
            <a:lvl4pPr lvl="3" rtl="0">
              <a:spcBef>
                <a:spcPts val="0"/>
              </a:spcBef>
              <a:spcAft>
                <a:spcPts val="0"/>
              </a:spcAft>
              <a:buSzPts val="3000"/>
              <a:buNone/>
              <a:defRPr sz="4000"/>
            </a:lvl4pPr>
            <a:lvl5pPr lvl="4" rtl="0">
              <a:spcBef>
                <a:spcPts val="0"/>
              </a:spcBef>
              <a:spcAft>
                <a:spcPts val="0"/>
              </a:spcAft>
              <a:buSzPts val="3000"/>
              <a:buNone/>
              <a:defRPr sz="4000"/>
            </a:lvl5pPr>
            <a:lvl6pPr lvl="5" rtl="0">
              <a:spcBef>
                <a:spcPts val="0"/>
              </a:spcBef>
              <a:spcAft>
                <a:spcPts val="0"/>
              </a:spcAft>
              <a:buSzPts val="3000"/>
              <a:buNone/>
              <a:defRPr sz="4000"/>
            </a:lvl6pPr>
            <a:lvl7pPr lvl="6" rtl="0">
              <a:spcBef>
                <a:spcPts val="0"/>
              </a:spcBef>
              <a:spcAft>
                <a:spcPts val="0"/>
              </a:spcAft>
              <a:buSzPts val="3000"/>
              <a:buNone/>
              <a:defRPr sz="4000"/>
            </a:lvl7pPr>
            <a:lvl8pPr lvl="7" rtl="0">
              <a:spcBef>
                <a:spcPts val="0"/>
              </a:spcBef>
              <a:spcAft>
                <a:spcPts val="0"/>
              </a:spcAft>
              <a:buSzPts val="3000"/>
              <a:buNone/>
              <a:defRPr sz="4000"/>
            </a:lvl8pPr>
            <a:lvl9pPr lvl="8" rtl="0">
              <a:spcBef>
                <a:spcPts val="0"/>
              </a:spcBef>
              <a:spcAft>
                <a:spcPts val="0"/>
              </a:spcAft>
              <a:buSzPts val="3000"/>
              <a:buNone/>
              <a:defRPr sz="4000"/>
            </a:lvl9pPr>
          </a:lstStyle>
          <a:p>
            <a:r>
              <a:t>xx%</a:t>
            </a:r>
          </a:p>
        </p:txBody>
      </p:sp>
      <p:sp>
        <p:nvSpPr>
          <p:cNvPr id="688" name="Google Shape;688;p13"/>
          <p:cNvSpPr txBox="1">
            <a:spLocks noGrp="1"/>
          </p:cNvSpPr>
          <p:nvPr>
            <p:ph type="subTitle" idx="1"/>
          </p:nvPr>
        </p:nvSpPr>
        <p:spPr>
          <a:xfrm>
            <a:off x="2738333" y="2937367"/>
            <a:ext cx="3115200" cy="6464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sz="1867"/>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689" name="Google Shape;689;p13"/>
          <p:cNvSpPr txBox="1">
            <a:spLocks noGrp="1"/>
          </p:cNvSpPr>
          <p:nvPr>
            <p:ph type="title" idx="3"/>
          </p:nvPr>
        </p:nvSpPr>
        <p:spPr>
          <a:xfrm>
            <a:off x="7452984" y="2362900"/>
            <a:ext cx="3115200" cy="5744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3200">
                <a:solidFill>
                  <a:schemeClr val="dk1"/>
                </a:solidFill>
              </a:defRPr>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
        <p:nvSpPr>
          <p:cNvPr id="690" name="Google Shape;690;p13"/>
          <p:cNvSpPr txBox="1">
            <a:spLocks noGrp="1"/>
          </p:cNvSpPr>
          <p:nvPr>
            <p:ph type="title" idx="4" hasCustomPrompt="1"/>
          </p:nvPr>
        </p:nvSpPr>
        <p:spPr>
          <a:xfrm>
            <a:off x="6366200" y="2577733"/>
            <a:ext cx="1095600" cy="791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6667"/>
            </a:lvl1pPr>
            <a:lvl2pPr lvl="1" rtl="0">
              <a:spcBef>
                <a:spcPts val="0"/>
              </a:spcBef>
              <a:spcAft>
                <a:spcPts val="0"/>
              </a:spcAft>
              <a:buSzPts val="3000"/>
              <a:buNone/>
              <a:defRPr sz="4000"/>
            </a:lvl2pPr>
            <a:lvl3pPr lvl="2" rtl="0">
              <a:spcBef>
                <a:spcPts val="0"/>
              </a:spcBef>
              <a:spcAft>
                <a:spcPts val="0"/>
              </a:spcAft>
              <a:buSzPts val="3000"/>
              <a:buNone/>
              <a:defRPr sz="4000"/>
            </a:lvl3pPr>
            <a:lvl4pPr lvl="3" rtl="0">
              <a:spcBef>
                <a:spcPts val="0"/>
              </a:spcBef>
              <a:spcAft>
                <a:spcPts val="0"/>
              </a:spcAft>
              <a:buSzPts val="3000"/>
              <a:buNone/>
              <a:defRPr sz="4000"/>
            </a:lvl4pPr>
            <a:lvl5pPr lvl="4" rtl="0">
              <a:spcBef>
                <a:spcPts val="0"/>
              </a:spcBef>
              <a:spcAft>
                <a:spcPts val="0"/>
              </a:spcAft>
              <a:buSzPts val="3000"/>
              <a:buNone/>
              <a:defRPr sz="4000"/>
            </a:lvl5pPr>
            <a:lvl6pPr lvl="5" rtl="0">
              <a:spcBef>
                <a:spcPts val="0"/>
              </a:spcBef>
              <a:spcAft>
                <a:spcPts val="0"/>
              </a:spcAft>
              <a:buSzPts val="3000"/>
              <a:buNone/>
              <a:defRPr sz="4000"/>
            </a:lvl6pPr>
            <a:lvl7pPr lvl="6" rtl="0">
              <a:spcBef>
                <a:spcPts val="0"/>
              </a:spcBef>
              <a:spcAft>
                <a:spcPts val="0"/>
              </a:spcAft>
              <a:buSzPts val="3000"/>
              <a:buNone/>
              <a:defRPr sz="4000"/>
            </a:lvl7pPr>
            <a:lvl8pPr lvl="7" rtl="0">
              <a:spcBef>
                <a:spcPts val="0"/>
              </a:spcBef>
              <a:spcAft>
                <a:spcPts val="0"/>
              </a:spcAft>
              <a:buSzPts val="3000"/>
              <a:buNone/>
              <a:defRPr sz="4000"/>
            </a:lvl8pPr>
            <a:lvl9pPr lvl="8" rtl="0">
              <a:spcBef>
                <a:spcPts val="0"/>
              </a:spcBef>
              <a:spcAft>
                <a:spcPts val="0"/>
              </a:spcAft>
              <a:buSzPts val="3000"/>
              <a:buNone/>
              <a:defRPr sz="4000"/>
            </a:lvl9pPr>
          </a:lstStyle>
          <a:p>
            <a:r>
              <a:t>xx%</a:t>
            </a:r>
          </a:p>
        </p:txBody>
      </p:sp>
      <p:sp>
        <p:nvSpPr>
          <p:cNvPr id="691" name="Google Shape;691;p13"/>
          <p:cNvSpPr txBox="1">
            <a:spLocks noGrp="1"/>
          </p:cNvSpPr>
          <p:nvPr>
            <p:ph type="subTitle" idx="5"/>
          </p:nvPr>
        </p:nvSpPr>
        <p:spPr>
          <a:xfrm>
            <a:off x="7452967" y="2937367"/>
            <a:ext cx="3115200" cy="6464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sz="1867"/>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692" name="Google Shape;692;p13"/>
          <p:cNvSpPr txBox="1">
            <a:spLocks noGrp="1"/>
          </p:cNvSpPr>
          <p:nvPr>
            <p:ph type="title" idx="6"/>
          </p:nvPr>
        </p:nvSpPr>
        <p:spPr>
          <a:xfrm>
            <a:off x="2738351" y="4505033"/>
            <a:ext cx="3115200" cy="5744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3200">
                <a:solidFill>
                  <a:schemeClr val="dk1"/>
                </a:solidFill>
              </a:defRPr>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
        <p:nvSpPr>
          <p:cNvPr id="693" name="Google Shape;693;p13"/>
          <p:cNvSpPr txBox="1">
            <a:spLocks noGrp="1"/>
          </p:cNvSpPr>
          <p:nvPr>
            <p:ph type="title" idx="7" hasCustomPrompt="1"/>
          </p:nvPr>
        </p:nvSpPr>
        <p:spPr>
          <a:xfrm>
            <a:off x="1623813" y="4719833"/>
            <a:ext cx="1095600" cy="791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6667"/>
            </a:lvl1pPr>
            <a:lvl2pPr lvl="1" rtl="0">
              <a:spcBef>
                <a:spcPts val="0"/>
              </a:spcBef>
              <a:spcAft>
                <a:spcPts val="0"/>
              </a:spcAft>
              <a:buSzPts val="3000"/>
              <a:buNone/>
              <a:defRPr sz="4000"/>
            </a:lvl2pPr>
            <a:lvl3pPr lvl="2" rtl="0">
              <a:spcBef>
                <a:spcPts val="0"/>
              </a:spcBef>
              <a:spcAft>
                <a:spcPts val="0"/>
              </a:spcAft>
              <a:buSzPts val="3000"/>
              <a:buNone/>
              <a:defRPr sz="4000"/>
            </a:lvl3pPr>
            <a:lvl4pPr lvl="3" rtl="0">
              <a:spcBef>
                <a:spcPts val="0"/>
              </a:spcBef>
              <a:spcAft>
                <a:spcPts val="0"/>
              </a:spcAft>
              <a:buSzPts val="3000"/>
              <a:buNone/>
              <a:defRPr sz="4000"/>
            </a:lvl4pPr>
            <a:lvl5pPr lvl="4" rtl="0">
              <a:spcBef>
                <a:spcPts val="0"/>
              </a:spcBef>
              <a:spcAft>
                <a:spcPts val="0"/>
              </a:spcAft>
              <a:buSzPts val="3000"/>
              <a:buNone/>
              <a:defRPr sz="4000"/>
            </a:lvl5pPr>
            <a:lvl6pPr lvl="5" rtl="0">
              <a:spcBef>
                <a:spcPts val="0"/>
              </a:spcBef>
              <a:spcAft>
                <a:spcPts val="0"/>
              </a:spcAft>
              <a:buSzPts val="3000"/>
              <a:buNone/>
              <a:defRPr sz="4000"/>
            </a:lvl6pPr>
            <a:lvl7pPr lvl="6" rtl="0">
              <a:spcBef>
                <a:spcPts val="0"/>
              </a:spcBef>
              <a:spcAft>
                <a:spcPts val="0"/>
              </a:spcAft>
              <a:buSzPts val="3000"/>
              <a:buNone/>
              <a:defRPr sz="4000"/>
            </a:lvl7pPr>
            <a:lvl8pPr lvl="7" rtl="0">
              <a:spcBef>
                <a:spcPts val="0"/>
              </a:spcBef>
              <a:spcAft>
                <a:spcPts val="0"/>
              </a:spcAft>
              <a:buSzPts val="3000"/>
              <a:buNone/>
              <a:defRPr sz="4000"/>
            </a:lvl8pPr>
            <a:lvl9pPr lvl="8" rtl="0">
              <a:spcBef>
                <a:spcPts val="0"/>
              </a:spcBef>
              <a:spcAft>
                <a:spcPts val="0"/>
              </a:spcAft>
              <a:buSzPts val="3000"/>
              <a:buNone/>
              <a:defRPr sz="4000"/>
            </a:lvl9pPr>
          </a:lstStyle>
          <a:p>
            <a:r>
              <a:t>xx%</a:t>
            </a:r>
          </a:p>
        </p:txBody>
      </p:sp>
      <p:sp>
        <p:nvSpPr>
          <p:cNvPr id="694" name="Google Shape;694;p13"/>
          <p:cNvSpPr txBox="1">
            <a:spLocks noGrp="1"/>
          </p:cNvSpPr>
          <p:nvPr>
            <p:ph type="subTitle" idx="8"/>
          </p:nvPr>
        </p:nvSpPr>
        <p:spPr>
          <a:xfrm>
            <a:off x="2738333" y="5079433"/>
            <a:ext cx="3115200" cy="6464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sz="1867"/>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695" name="Google Shape;695;p13"/>
          <p:cNvSpPr txBox="1">
            <a:spLocks noGrp="1"/>
          </p:cNvSpPr>
          <p:nvPr>
            <p:ph type="title" idx="9"/>
          </p:nvPr>
        </p:nvSpPr>
        <p:spPr>
          <a:xfrm>
            <a:off x="7452984" y="4505033"/>
            <a:ext cx="3115200" cy="5744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3200">
                <a:solidFill>
                  <a:schemeClr val="dk1"/>
                </a:solidFill>
              </a:defRPr>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
        <p:nvSpPr>
          <p:cNvPr id="696" name="Google Shape;696;p13"/>
          <p:cNvSpPr txBox="1">
            <a:spLocks noGrp="1"/>
          </p:cNvSpPr>
          <p:nvPr>
            <p:ph type="title" idx="13" hasCustomPrompt="1"/>
          </p:nvPr>
        </p:nvSpPr>
        <p:spPr>
          <a:xfrm>
            <a:off x="6366200" y="4719833"/>
            <a:ext cx="1095600" cy="791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6667"/>
            </a:lvl1pPr>
            <a:lvl2pPr lvl="1" rtl="0">
              <a:spcBef>
                <a:spcPts val="0"/>
              </a:spcBef>
              <a:spcAft>
                <a:spcPts val="0"/>
              </a:spcAft>
              <a:buSzPts val="3000"/>
              <a:buNone/>
              <a:defRPr sz="4000"/>
            </a:lvl2pPr>
            <a:lvl3pPr lvl="2" rtl="0">
              <a:spcBef>
                <a:spcPts val="0"/>
              </a:spcBef>
              <a:spcAft>
                <a:spcPts val="0"/>
              </a:spcAft>
              <a:buSzPts val="3000"/>
              <a:buNone/>
              <a:defRPr sz="4000"/>
            </a:lvl3pPr>
            <a:lvl4pPr lvl="3" rtl="0">
              <a:spcBef>
                <a:spcPts val="0"/>
              </a:spcBef>
              <a:spcAft>
                <a:spcPts val="0"/>
              </a:spcAft>
              <a:buSzPts val="3000"/>
              <a:buNone/>
              <a:defRPr sz="4000"/>
            </a:lvl4pPr>
            <a:lvl5pPr lvl="4" rtl="0">
              <a:spcBef>
                <a:spcPts val="0"/>
              </a:spcBef>
              <a:spcAft>
                <a:spcPts val="0"/>
              </a:spcAft>
              <a:buSzPts val="3000"/>
              <a:buNone/>
              <a:defRPr sz="4000"/>
            </a:lvl5pPr>
            <a:lvl6pPr lvl="5" rtl="0">
              <a:spcBef>
                <a:spcPts val="0"/>
              </a:spcBef>
              <a:spcAft>
                <a:spcPts val="0"/>
              </a:spcAft>
              <a:buSzPts val="3000"/>
              <a:buNone/>
              <a:defRPr sz="4000"/>
            </a:lvl6pPr>
            <a:lvl7pPr lvl="6" rtl="0">
              <a:spcBef>
                <a:spcPts val="0"/>
              </a:spcBef>
              <a:spcAft>
                <a:spcPts val="0"/>
              </a:spcAft>
              <a:buSzPts val="3000"/>
              <a:buNone/>
              <a:defRPr sz="4000"/>
            </a:lvl7pPr>
            <a:lvl8pPr lvl="7" rtl="0">
              <a:spcBef>
                <a:spcPts val="0"/>
              </a:spcBef>
              <a:spcAft>
                <a:spcPts val="0"/>
              </a:spcAft>
              <a:buSzPts val="3000"/>
              <a:buNone/>
              <a:defRPr sz="4000"/>
            </a:lvl8pPr>
            <a:lvl9pPr lvl="8" rtl="0">
              <a:spcBef>
                <a:spcPts val="0"/>
              </a:spcBef>
              <a:spcAft>
                <a:spcPts val="0"/>
              </a:spcAft>
              <a:buSzPts val="3000"/>
              <a:buNone/>
              <a:defRPr sz="4000"/>
            </a:lvl9pPr>
          </a:lstStyle>
          <a:p>
            <a:r>
              <a:t>xx%</a:t>
            </a:r>
          </a:p>
        </p:txBody>
      </p:sp>
      <p:sp>
        <p:nvSpPr>
          <p:cNvPr id="697" name="Google Shape;697;p13"/>
          <p:cNvSpPr txBox="1">
            <a:spLocks noGrp="1"/>
          </p:cNvSpPr>
          <p:nvPr>
            <p:ph type="subTitle" idx="14"/>
          </p:nvPr>
        </p:nvSpPr>
        <p:spPr>
          <a:xfrm>
            <a:off x="7452967" y="5079433"/>
            <a:ext cx="3115200" cy="6464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sz="1867"/>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698" name="Google Shape;698;p13"/>
          <p:cNvSpPr txBox="1">
            <a:spLocks noGrp="1"/>
          </p:cNvSpPr>
          <p:nvPr>
            <p:ph type="title" idx="15"/>
          </p:nvPr>
        </p:nvSpPr>
        <p:spPr>
          <a:xfrm>
            <a:off x="960000" y="710567"/>
            <a:ext cx="10272000" cy="6464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grpSp>
        <p:nvGrpSpPr>
          <p:cNvPr id="699" name="Google Shape;699;p13"/>
          <p:cNvGrpSpPr/>
          <p:nvPr/>
        </p:nvGrpSpPr>
        <p:grpSpPr>
          <a:xfrm>
            <a:off x="56784" y="-459030"/>
            <a:ext cx="1806400" cy="2335167"/>
            <a:chOff x="194863" y="3229838"/>
            <a:chExt cx="1354800" cy="1751375"/>
          </a:xfrm>
        </p:grpSpPr>
        <p:sp>
          <p:nvSpPr>
            <p:cNvPr id="700" name="Google Shape;700;p13"/>
            <p:cNvSpPr/>
            <p:nvPr/>
          </p:nvSpPr>
          <p:spPr>
            <a:xfrm>
              <a:off x="194863" y="3229850"/>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01" name="Google Shape;701;p13"/>
            <p:cNvSpPr/>
            <p:nvPr/>
          </p:nvSpPr>
          <p:spPr>
            <a:xfrm>
              <a:off x="194863" y="3625841"/>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02" name="Google Shape;702;p13"/>
            <p:cNvSpPr/>
            <p:nvPr/>
          </p:nvSpPr>
          <p:spPr>
            <a:xfrm>
              <a:off x="194863" y="4021831"/>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03" name="Google Shape;703;p13"/>
            <p:cNvSpPr/>
            <p:nvPr/>
          </p:nvSpPr>
          <p:spPr>
            <a:xfrm>
              <a:off x="194863" y="4417822"/>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04" name="Google Shape;704;p13"/>
            <p:cNvSpPr/>
            <p:nvPr/>
          </p:nvSpPr>
          <p:spPr>
            <a:xfrm>
              <a:off x="194863" y="4813813"/>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05" name="Google Shape;705;p13"/>
            <p:cNvSpPr/>
            <p:nvPr/>
          </p:nvSpPr>
          <p:spPr>
            <a:xfrm>
              <a:off x="788563" y="3229838"/>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06" name="Google Shape;706;p13"/>
            <p:cNvSpPr/>
            <p:nvPr/>
          </p:nvSpPr>
          <p:spPr>
            <a:xfrm>
              <a:off x="788563" y="3625828"/>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07" name="Google Shape;707;p13"/>
            <p:cNvSpPr/>
            <p:nvPr/>
          </p:nvSpPr>
          <p:spPr>
            <a:xfrm>
              <a:off x="788563" y="4021819"/>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08" name="Google Shape;708;p13"/>
            <p:cNvSpPr/>
            <p:nvPr/>
          </p:nvSpPr>
          <p:spPr>
            <a:xfrm>
              <a:off x="788563" y="4417809"/>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09" name="Google Shape;709;p13"/>
            <p:cNvSpPr/>
            <p:nvPr/>
          </p:nvSpPr>
          <p:spPr>
            <a:xfrm>
              <a:off x="788563" y="4813800"/>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10" name="Google Shape;710;p13"/>
            <p:cNvSpPr/>
            <p:nvPr/>
          </p:nvSpPr>
          <p:spPr>
            <a:xfrm>
              <a:off x="1382263" y="3229838"/>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11" name="Google Shape;711;p13"/>
            <p:cNvSpPr/>
            <p:nvPr/>
          </p:nvSpPr>
          <p:spPr>
            <a:xfrm>
              <a:off x="1382263" y="3625828"/>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12" name="Google Shape;712;p13"/>
            <p:cNvSpPr/>
            <p:nvPr/>
          </p:nvSpPr>
          <p:spPr>
            <a:xfrm>
              <a:off x="1382263" y="4021819"/>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13" name="Google Shape;713;p13"/>
            <p:cNvSpPr/>
            <p:nvPr/>
          </p:nvSpPr>
          <p:spPr>
            <a:xfrm>
              <a:off x="1382263" y="4417809"/>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14" name="Google Shape;714;p13"/>
            <p:cNvSpPr/>
            <p:nvPr/>
          </p:nvSpPr>
          <p:spPr>
            <a:xfrm>
              <a:off x="1382263" y="4813800"/>
              <a:ext cx="167400" cy="1674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31537921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Quote">
  <p:cSld name="Quote">
    <p:spTree>
      <p:nvGrpSpPr>
        <p:cNvPr id="1" name="Shape 715"/>
        <p:cNvGrpSpPr/>
        <p:nvPr/>
      </p:nvGrpSpPr>
      <p:grpSpPr>
        <a:xfrm>
          <a:off x="0" y="0"/>
          <a:ext cx="0" cy="0"/>
          <a:chOff x="0" y="0"/>
          <a:chExt cx="0" cy="0"/>
        </a:xfrm>
      </p:grpSpPr>
      <p:grpSp>
        <p:nvGrpSpPr>
          <p:cNvPr id="716" name="Google Shape;716;p14"/>
          <p:cNvGrpSpPr/>
          <p:nvPr/>
        </p:nvGrpSpPr>
        <p:grpSpPr>
          <a:xfrm>
            <a:off x="-132666" y="0"/>
            <a:ext cx="12373732" cy="6857917"/>
            <a:chOff x="-99500" y="0"/>
            <a:chExt cx="9280299" cy="5143438"/>
          </a:xfrm>
        </p:grpSpPr>
        <p:sp>
          <p:nvSpPr>
            <p:cNvPr id="717" name="Google Shape;717;p14"/>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18" name="Google Shape;718;p14"/>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19" name="Google Shape;719;p14"/>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20" name="Google Shape;720;p14"/>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21" name="Google Shape;721;p14"/>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22" name="Google Shape;722;p14"/>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23" name="Google Shape;723;p14"/>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24" name="Google Shape;724;p14"/>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25" name="Google Shape;725;p14"/>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26" name="Google Shape;726;p14"/>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27" name="Google Shape;727;p14"/>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28" name="Google Shape;728;p14"/>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29" name="Google Shape;729;p14"/>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30" name="Google Shape;730;p14"/>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31" name="Google Shape;731;p14"/>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32" name="Google Shape;732;p14"/>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33" name="Google Shape;733;p14"/>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34" name="Google Shape;734;p14"/>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35" name="Google Shape;735;p14"/>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36" name="Google Shape;736;p14"/>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37" name="Google Shape;737;p14"/>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38" name="Google Shape;738;p14"/>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39" name="Google Shape;739;p14"/>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40" name="Google Shape;740;p14"/>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41" name="Google Shape;741;p14"/>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42" name="Google Shape;742;p14"/>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43" name="Google Shape;743;p14"/>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44" name="Google Shape;744;p14"/>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45" name="Google Shape;745;p14"/>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46" name="Google Shape;746;p14"/>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47" name="Google Shape;747;p14"/>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48" name="Google Shape;748;p14"/>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49" name="Google Shape;749;p14"/>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50" name="Google Shape;750;p14"/>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51" name="Google Shape;751;p14"/>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52" name="Google Shape;752;p14"/>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53" name="Google Shape;753;p14"/>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54" name="Google Shape;754;p14"/>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55" name="Google Shape;755;p14"/>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56" name="Google Shape;756;p14"/>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57" name="Google Shape;757;p14"/>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58" name="Google Shape;758;p14"/>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59" name="Google Shape;759;p14"/>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760" name="Google Shape;760;p14"/>
          <p:cNvSpPr txBox="1">
            <a:spLocks noGrp="1"/>
          </p:cNvSpPr>
          <p:nvPr>
            <p:ph type="title"/>
          </p:nvPr>
        </p:nvSpPr>
        <p:spPr>
          <a:xfrm>
            <a:off x="2340533" y="4122433"/>
            <a:ext cx="7511200" cy="669200"/>
          </a:xfrm>
          <a:prstGeom prst="rect">
            <a:avLst/>
          </a:prstGeom>
        </p:spPr>
        <p:txBody>
          <a:bodyPr spcFirstLastPara="1" wrap="square" lIns="91425" tIns="91425" rIns="91425" bIns="91425" anchor="ctr" anchorCtr="0">
            <a:noAutofit/>
          </a:bodyPr>
          <a:lstStyle>
            <a:lvl1pPr lvl="0" algn="r" rtl="0">
              <a:spcBef>
                <a:spcPts val="0"/>
              </a:spcBef>
              <a:spcAft>
                <a:spcPts val="0"/>
              </a:spcAft>
              <a:buSzPts val="3000"/>
              <a:buNone/>
              <a:defRPr sz="3200" b="0">
                <a:solidFill>
                  <a:schemeClr val="dk1"/>
                </a:solidFill>
              </a:defRPr>
            </a:lvl1pPr>
            <a:lvl2pPr lvl="1" algn="ctr" rtl="0">
              <a:spcBef>
                <a:spcPts val="0"/>
              </a:spcBef>
              <a:spcAft>
                <a:spcPts val="0"/>
              </a:spcAft>
              <a:buSzPts val="3000"/>
              <a:buNone/>
              <a:defRPr sz="4000"/>
            </a:lvl2pPr>
            <a:lvl3pPr lvl="2" algn="ctr" rtl="0">
              <a:spcBef>
                <a:spcPts val="0"/>
              </a:spcBef>
              <a:spcAft>
                <a:spcPts val="0"/>
              </a:spcAft>
              <a:buSzPts val="3000"/>
              <a:buNone/>
              <a:defRPr sz="4000"/>
            </a:lvl3pPr>
            <a:lvl4pPr lvl="3" algn="ctr" rtl="0">
              <a:spcBef>
                <a:spcPts val="0"/>
              </a:spcBef>
              <a:spcAft>
                <a:spcPts val="0"/>
              </a:spcAft>
              <a:buSzPts val="3000"/>
              <a:buNone/>
              <a:defRPr sz="4000"/>
            </a:lvl4pPr>
            <a:lvl5pPr lvl="4" algn="ctr" rtl="0">
              <a:spcBef>
                <a:spcPts val="0"/>
              </a:spcBef>
              <a:spcAft>
                <a:spcPts val="0"/>
              </a:spcAft>
              <a:buSzPts val="3000"/>
              <a:buNone/>
              <a:defRPr sz="4000"/>
            </a:lvl5pPr>
            <a:lvl6pPr lvl="5" algn="ctr" rtl="0">
              <a:spcBef>
                <a:spcPts val="0"/>
              </a:spcBef>
              <a:spcAft>
                <a:spcPts val="0"/>
              </a:spcAft>
              <a:buSzPts val="3000"/>
              <a:buNone/>
              <a:defRPr sz="4000"/>
            </a:lvl6pPr>
            <a:lvl7pPr lvl="6" algn="ctr" rtl="0">
              <a:spcBef>
                <a:spcPts val="0"/>
              </a:spcBef>
              <a:spcAft>
                <a:spcPts val="0"/>
              </a:spcAft>
              <a:buSzPts val="3000"/>
              <a:buNone/>
              <a:defRPr sz="4000"/>
            </a:lvl7pPr>
            <a:lvl8pPr lvl="7" algn="ctr" rtl="0">
              <a:spcBef>
                <a:spcPts val="0"/>
              </a:spcBef>
              <a:spcAft>
                <a:spcPts val="0"/>
              </a:spcAft>
              <a:buSzPts val="3000"/>
              <a:buNone/>
              <a:defRPr sz="4000"/>
            </a:lvl8pPr>
            <a:lvl9pPr lvl="8" algn="ctr" rtl="0">
              <a:spcBef>
                <a:spcPts val="0"/>
              </a:spcBef>
              <a:spcAft>
                <a:spcPts val="0"/>
              </a:spcAft>
              <a:buSzPts val="3000"/>
              <a:buNone/>
              <a:defRPr sz="4000"/>
            </a:lvl9pPr>
          </a:lstStyle>
          <a:p>
            <a:endParaRPr/>
          </a:p>
        </p:txBody>
      </p:sp>
      <p:sp>
        <p:nvSpPr>
          <p:cNvPr id="761" name="Google Shape;761;p14"/>
          <p:cNvSpPr txBox="1">
            <a:spLocks noGrp="1"/>
          </p:cNvSpPr>
          <p:nvPr>
            <p:ph type="subTitle" idx="1"/>
          </p:nvPr>
        </p:nvSpPr>
        <p:spPr>
          <a:xfrm>
            <a:off x="2340533" y="2066367"/>
            <a:ext cx="7511200" cy="20560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2500"/>
              <a:buNone/>
              <a:defRPr sz="3200"/>
            </a:lvl1pPr>
            <a:lvl2pPr lvl="1" algn="ctr" rtl="0">
              <a:lnSpc>
                <a:spcPct val="100000"/>
              </a:lnSpc>
              <a:spcBef>
                <a:spcPts val="0"/>
              </a:spcBef>
              <a:spcAft>
                <a:spcPts val="0"/>
              </a:spcAft>
              <a:buSzPts val="2500"/>
              <a:buNone/>
              <a:defRPr sz="3333"/>
            </a:lvl2pPr>
            <a:lvl3pPr lvl="2" algn="ctr" rtl="0">
              <a:lnSpc>
                <a:spcPct val="100000"/>
              </a:lnSpc>
              <a:spcBef>
                <a:spcPts val="0"/>
              </a:spcBef>
              <a:spcAft>
                <a:spcPts val="0"/>
              </a:spcAft>
              <a:buSzPts val="2500"/>
              <a:buNone/>
              <a:defRPr sz="3333"/>
            </a:lvl3pPr>
            <a:lvl4pPr lvl="3" algn="ctr" rtl="0">
              <a:lnSpc>
                <a:spcPct val="100000"/>
              </a:lnSpc>
              <a:spcBef>
                <a:spcPts val="0"/>
              </a:spcBef>
              <a:spcAft>
                <a:spcPts val="0"/>
              </a:spcAft>
              <a:buSzPts val="2500"/>
              <a:buNone/>
              <a:defRPr sz="3333"/>
            </a:lvl4pPr>
            <a:lvl5pPr lvl="4" algn="ctr" rtl="0">
              <a:lnSpc>
                <a:spcPct val="100000"/>
              </a:lnSpc>
              <a:spcBef>
                <a:spcPts val="0"/>
              </a:spcBef>
              <a:spcAft>
                <a:spcPts val="0"/>
              </a:spcAft>
              <a:buSzPts val="2500"/>
              <a:buNone/>
              <a:defRPr sz="3333"/>
            </a:lvl5pPr>
            <a:lvl6pPr lvl="5" algn="ctr" rtl="0">
              <a:lnSpc>
                <a:spcPct val="100000"/>
              </a:lnSpc>
              <a:spcBef>
                <a:spcPts val="0"/>
              </a:spcBef>
              <a:spcAft>
                <a:spcPts val="0"/>
              </a:spcAft>
              <a:buSzPts val="2500"/>
              <a:buNone/>
              <a:defRPr sz="3333"/>
            </a:lvl6pPr>
            <a:lvl7pPr lvl="6" algn="ctr" rtl="0">
              <a:lnSpc>
                <a:spcPct val="100000"/>
              </a:lnSpc>
              <a:spcBef>
                <a:spcPts val="0"/>
              </a:spcBef>
              <a:spcAft>
                <a:spcPts val="0"/>
              </a:spcAft>
              <a:buSzPts val="2500"/>
              <a:buNone/>
              <a:defRPr sz="3333"/>
            </a:lvl7pPr>
            <a:lvl8pPr lvl="7" algn="ctr" rtl="0">
              <a:lnSpc>
                <a:spcPct val="100000"/>
              </a:lnSpc>
              <a:spcBef>
                <a:spcPts val="0"/>
              </a:spcBef>
              <a:spcAft>
                <a:spcPts val="0"/>
              </a:spcAft>
              <a:buSzPts val="2500"/>
              <a:buNone/>
              <a:defRPr sz="3333"/>
            </a:lvl8pPr>
            <a:lvl9pPr lvl="8" algn="ctr" rtl="0">
              <a:lnSpc>
                <a:spcPct val="100000"/>
              </a:lnSpc>
              <a:spcBef>
                <a:spcPts val="0"/>
              </a:spcBef>
              <a:spcAft>
                <a:spcPts val="0"/>
              </a:spcAft>
              <a:buSzPts val="2500"/>
              <a:buNone/>
              <a:defRPr sz="3333"/>
            </a:lvl9pPr>
          </a:lstStyle>
          <a:p>
            <a:endParaRPr/>
          </a:p>
        </p:txBody>
      </p:sp>
      <p:grpSp>
        <p:nvGrpSpPr>
          <p:cNvPr id="762" name="Google Shape;762;p14"/>
          <p:cNvGrpSpPr/>
          <p:nvPr/>
        </p:nvGrpSpPr>
        <p:grpSpPr>
          <a:xfrm>
            <a:off x="430280" y="1"/>
            <a:ext cx="11761721" cy="6660385"/>
            <a:chOff x="322709" y="0"/>
            <a:chExt cx="8821291" cy="4995289"/>
          </a:xfrm>
        </p:grpSpPr>
        <p:sp>
          <p:nvSpPr>
            <p:cNvPr id="763" name="Google Shape;763;p14"/>
            <p:cNvSpPr/>
            <p:nvPr/>
          </p:nvSpPr>
          <p:spPr>
            <a:xfrm>
              <a:off x="7241700" y="0"/>
              <a:ext cx="1902300" cy="112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764" name="Google Shape;764;p14"/>
            <p:cNvGrpSpPr/>
            <p:nvPr/>
          </p:nvGrpSpPr>
          <p:grpSpPr>
            <a:xfrm>
              <a:off x="8110871" y="749193"/>
              <a:ext cx="995101" cy="1327893"/>
              <a:chOff x="194863" y="3229838"/>
              <a:chExt cx="1354800" cy="1751375"/>
            </a:xfrm>
          </p:grpSpPr>
          <p:sp>
            <p:nvSpPr>
              <p:cNvPr id="765" name="Google Shape;765;p14"/>
              <p:cNvSpPr/>
              <p:nvPr/>
            </p:nvSpPr>
            <p:spPr>
              <a:xfrm>
                <a:off x="194863" y="3229850"/>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66" name="Google Shape;766;p14"/>
              <p:cNvSpPr/>
              <p:nvPr/>
            </p:nvSpPr>
            <p:spPr>
              <a:xfrm>
                <a:off x="194863" y="3625841"/>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67" name="Google Shape;767;p14"/>
              <p:cNvSpPr/>
              <p:nvPr/>
            </p:nvSpPr>
            <p:spPr>
              <a:xfrm>
                <a:off x="194863" y="4021831"/>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68" name="Google Shape;768;p14"/>
              <p:cNvSpPr/>
              <p:nvPr/>
            </p:nvSpPr>
            <p:spPr>
              <a:xfrm>
                <a:off x="194863" y="4417822"/>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69" name="Google Shape;769;p14"/>
              <p:cNvSpPr/>
              <p:nvPr/>
            </p:nvSpPr>
            <p:spPr>
              <a:xfrm>
                <a:off x="194863" y="4813813"/>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70" name="Google Shape;770;p14"/>
              <p:cNvSpPr/>
              <p:nvPr/>
            </p:nvSpPr>
            <p:spPr>
              <a:xfrm>
                <a:off x="788563" y="3229838"/>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71" name="Google Shape;771;p14"/>
              <p:cNvSpPr/>
              <p:nvPr/>
            </p:nvSpPr>
            <p:spPr>
              <a:xfrm>
                <a:off x="788563" y="3625828"/>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72" name="Google Shape;772;p14"/>
              <p:cNvSpPr/>
              <p:nvPr/>
            </p:nvSpPr>
            <p:spPr>
              <a:xfrm>
                <a:off x="788563" y="4021819"/>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73" name="Google Shape;773;p14"/>
              <p:cNvSpPr/>
              <p:nvPr/>
            </p:nvSpPr>
            <p:spPr>
              <a:xfrm>
                <a:off x="788563" y="4417809"/>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74" name="Google Shape;774;p14"/>
              <p:cNvSpPr/>
              <p:nvPr/>
            </p:nvSpPr>
            <p:spPr>
              <a:xfrm>
                <a:off x="788563" y="4813800"/>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75" name="Google Shape;775;p14"/>
              <p:cNvSpPr/>
              <p:nvPr/>
            </p:nvSpPr>
            <p:spPr>
              <a:xfrm>
                <a:off x="1382263" y="3229838"/>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76" name="Google Shape;776;p14"/>
              <p:cNvSpPr/>
              <p:nvPr/>
            </p:nvSpPr>
            <p:spPr>
              <a:xfrm>
                <a:off x="1382263" y="3625828"/>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77" name="Google Shape;777;p14"/>
              <p:cNvSpPr/>
              <p:nvPr/>
            </p:nvSpPr>
            <p:spPr>
              <a:xfrm>
                <a:off x="1382263" y="4021819"/>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78" name="Google Shape;778;p14"/>
              <p:cNvSpPr/>
              <p:nvPr/>
            </p:nvSpPr>
            <p:spPr>
              <a:xfrm>
                <a:off x="1382263" y="4417809"/>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79" name="Google Shape;779;p14"/>
              <p:cNvSpPr/>
              <p:nvPr/>
            </p:nvSpPr>
            <p:spPr>
              <a:xfrm>
                <a:off x="1382263" y="4813800"/>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780" name="Google Shape;780;p14"/>
            <p:cNvGrpSpPr/>
            <p:nvPr/>
          </p:nvGrpSpPr>
          <p:grpSpPr>
            <a:xfrm rot="8304387">
              <a:off x="685886" y="3313813"/>
              <a:ext cx="1092492" cy="1509098"/>
              <a:chOff x="2673045" y="-67517"/>
              <a:chExt cx="665238" cy="918916"/>
            </a:xfrm>
          </p:grpSpPr>
          <p:sp>
            <p:nvSpPr>
              <p:cNvPr id="781" name="Google Shape;781;p14"/>
              <p:cNvSpPr/>
              <p:nvPr/>
            </p:nvSpPr>
            <p:spPr>
              <a:xfrm rot="-5400000">
                <a:off x="2594024" y="111691"/>
                <a:ext cx="823440" cy="655977"/>
              </a:xfrm>
              <a:custGeom>
                <a:avLst/>
                <a:gdLst/>
                <a:ahLst/>
                <a:cxnLst/>
                <a:rect l="l" t="t" r="r" b="b"/>
                <a:pathLst>
                  <a:path w="25874" h="20612" extrusionOk="0">
                    <a:moveTo>
                      <a:pt x="20350" y="1"/>
                    </a:moveTo>
                    <a:cubicBezTo>
                      <a:pt x="19973" y="1"/>
                      <a:pt x="19591" y="105"/>
                      <a:pt x="19253" y="324"/>
                    </a:cubicBezTo>
                    <a:cubicBezTo>
                      <a:pt x="18301" y="931"/>
                      <a:pt x="18027" y="2205"/>
                      <a:pt x="18634" y="3145"/>
                    </a:cubicBezTo>
                    <a:cubicBezTo>
                      <a:pt x="21230" y="7170"/>
                      <a:pt x="20063" y="12551"/>
                      <a:pt x="16039" y="15135"/>
                    </a:cubicBezTo>
                    <a:cubicBezTo>
                      <a:pt x="14617" y="16053"/>
                      <a:pt x="13001" y="16524"/>
                      <a:pt x="11354" y="16524"/>
                    </a:cubicBezTo>
                    <a:cubicBezTo>
                      <a:pt x="10738" y="16524"/>
                      <a:pt x="10118" y="16458"/>
                      <a:pt x="9502" y="16326"/>
                    </a:cubicBezTo>
                    <a:cubicBezTo>
                      <a:pt x="7240" y="15837"/>
                      <a:pt x="5299" y="14492"/>
                      <a:pt x="4049" y="12539"/>
                    </a:cubicBezTo>
                    <a:cubicBezTo>
                      <a:pt x="3654" y="11932"/>
                      <a:pt x="2998" y="11601"/>
                      <a:pt x="2331" y="11601"/>
                    </a:cubicBezTo>
                    <a:cubicBezTo>
                      <a:pt x="1951" y="11601"/>
                      <a:pt x="1568" y="11708"/>
                      <a:pt x="1227" y="11932"/>
                    </a:cubicBezTo>
                    <a:cubicBezTo>
                      <a:pt x="275" y="12539"/>
                      <a:pt x="1" y="13801"/>
                      <a:pt x="608" y="14754"/>
                    </a:cubicBezTo>
                    <a:cubicBezTo>
                      <a:pt x="2454" y="17611"/>
                      <a:pt x="5299" y="19588"/>
                      <a:pt x="8633" y="20314"/>
                    </a:cubicBezTo>
                    <a:cubicBezTo>
                      <a:pt x="9538" y="20517"/>
                      <a:pt x="10455" y="20612"/>
                      <a:pt x="11371" y="20612"/>
                    </a:cubicBezTo>
                    <a:cubicBezTo>
                      <a:pt x="13788" y="20612"/>
                      <a:pt x="16158" y="19921"/>
                      <a:pt x="18241" y="18576"/>
                    </a:cubicBezTo>
                    <a:cubicBezTo>
                      <a:pt x="24159" y="14766"/>
                      <a:pt x="25873" y="6860"/>
                      <a:pt x="22075" y="943"/>
                    </a:cubicBezTo>
                    <a:cubicBezTo>
                      <a:pt x="21686" y="333"/>
                      <a:pt x="21024" y="1"/>
                      <a:pt x="203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82" name="Google Shape;782;p14"/>
              <p:cNvSpPr/>
              <p:nvPr/>
            </p:nvSpPr>
            <p:spPr>
              <a:xfrm rot="-5400000">
                <a:off x="2588279" y="17249"/>
                <a:ext cx="834770" cy="665238"/>
              </a:xfrm>
              <a:custGeom>
                <a:avLst/>
                <a:gdLst/>
                <a:ahLst/>
                <a:cxnLst/>
                <a:rect l="l" t="t" r="r" b="b"/>
                <a:pathLst>
                  <a:path w="26230" h="20903" extrusionOk="0">
                    <a:moveTo>
                      <a:pt x="20529" y="298"/>
                    </a:moveTo>
                    <a:cubicBezTo>
                      <a:pt x="20662" y="298"/>
                      <a:pt x="20797" y="312"/>
                      <a:pt x="20931" y="341"/>
                    </a:cubicBezTo>
                    <a:cubicBezTo>
                      <a:pt x="21419" y="448"/>
                      <a:pt x="21848" y="745"/>
                      <a:pt x="22122" y="1174"/>
                    </a:cubicBezTo>
                    <a:cubicBezTo>
                      <a:pt x="25884" y="7020"/>
                      <a:pt x="24182" y="14842"/>
                      <a:pt x="18336" y="18605"/>
                    </a:cubicBezTo>
                    <a:cubicBezTo>
                      <a:pt x="16300" y="19914"/>
                      <a:pt x="13942" y="20617"/>
                      <a:pt x="11537" y="20617"/>
                    </a:cubicBezTo>
                    <a:cubicBezTo>
                      <a:pt x="10644" y="20617"/>
                      <a:pt x="9727" y="20510"/>
                      <a:pt x="8846" y="20319"/>
                    </a:cubicBezTo>
                    <a:cubicBezTo>
                      <a:pt x="5548" y="19605"/>
                      <a:pt x="2727" y="17652"/>
                      <a:pt x="905" y="14819"/>
                    </a:cubicBezTo>
                    <a:cubicBezTo>
                      <a:pt x="345" y="13937"/>
                      <a:pt x="595" y="12759"/>
                      <a:pt x="1476" y="12199"/>
                    </a:cubicBezTo>
                    <a:cubicBezTo>
                      <a:pt x="1786" y="11997"/>
                      <a:pt x="2143" y="11902"/>
                      <a:pt x="2500" y="11902"/>
                    </a:cubicBezTo>
                    <a:cubicBezTo>
                      <a:pt x="2631" y="11902"/>
                      <a:pt x="2762" y="11913"/>
                      <a:pt x="2905" y="11949"/>
                    </a:cubicBezTo>
                    <a:cubicBezTo>
                      <a:pt x="3393" y="12056"/>
                      <a:pt x="3822" y="12342"/>
                      <a:pt x="4096" y="12771"/>
                    </a:cubicBezTo>
                    <a:cubicBezTo>
                      <a:pt x="5370" y="14747"/>
                      <a:pt x="7334" y="16116"/>
                      <a:pt x="9644" y="16616"/>
                    </a:cubicBezTo>
                    <a:cubicBezTo>
                      <a:pt x="10275" y="16754"/>
                      <a:pt x="10912" y="16822"/>
                      <a:pt x="11544" y="16822"/>
                    </a:cubicBezTo>
                    <a:cubicBezTo>
                      <a:pt x="13214" y="16822"/>
                      <a:pt x="14854" y="16347"/>
                      <a:pt x="16288" y="15414"/>
                    </a:cubicBezTo>
                    <a:cubicBezTo>
                      <a:pt x="20384" y="12783"/>
                      <a:pt x="21574" y="7318"/>
                      <a:pt x="18943" y="3222"/>
                    </a:cubicBezTo>
                    <a:cubicBezTo>
                      <a:pt x="18371" y="2341"/>
                      <a:pt x="18621" y="1162"/>
                      <a:pt x="19503" y="603"/>
                    </a:cubicBezTo>
                    <a:cubicBezTo>
                      <a:pt x="19816" y="402"/>
                      <a:pt x="20167" y="298"/>
                      <a:pt x="20529" y="298"/>
                    </a:cubicBezTo>
                    <a:close/>
                    <a:moveTo>
                      <a:pt x="20512" y="0"/>
                    </a:moveTo>
                    <a:cubicBezTo>
                      <a:pt x="20101" y="0"/>
                      <a:pt x="19700" y="121"/>
                      <a:pt x="19348" y="352"/>
                    </a:cubicBezTo>
                    <a:cubicBezTo>
                      <a:pt x="18324" y="1007"/>
                      <a:pt x="18038" y="2365"/>
                      <a:pt x="18693" y="3377"/>
                    </a:cubicBezTo>
                    <a:cubicBezTo>
                      <a:pt x="21229" y="7330"/>
                      <a:pt x="20086" y="12616"/>
                      <a:pt x="16133" y="15164"/>
                    </a:cubicBezTo>
                    <a:cubicBezTo>
                      <a:pt x="14738" y="16065"/>
                      <a:pt x="13148" y="16525"/>
                      <a:pt x="11527" y="16525"/>
                    </a:cubicBezTo>
                    <a:cubicBezTo>
                      <a:pt x="10920" y="16525"/>
                      <a:pt x="10310" y="16460"/>
                      <a:pt x="9704" y="16331"/>
                    </a:cubicBezTo>
                    <a:cubicBezTo>
                      <a:pt x="7477" y="15842"/>
                      <a:pt x="5572" y="14521"/>
                      <a:pt x="4346" y="12604"/>
                    </a:cubicBezTo>
                    <a:cubicBezTo>
                      <a:pt x="4024" y="12116"/>
                      <a:pt x="3536" y="11771"/>
                      <a:pt x="2965" y="11651"/>
                    </a:cubicBezTo>
                    <a:cubicBezTo>
                      <a:pt x="2807" y="11619"/>
                      <a:pt x="2649" y="11602"/>
                      <a:pt x="2491" y="11602"/>
                    </a:cubicBezTo>
                    <a:cubicBezTo>
                      <a:pt x="2078" y="11602"/>
                      <a:pt x="1672" y="11716"/>
                      <a:pt x="1310" y="11949"/>
                    </a:cubicBezTo>
                    <a:cubicBezTo>
                      <a:pt x="298" y="12604"/>
                      <a:pt x="0" y="13961"/>
                      <a:pt x="655" y="14973"/>
                    </a:cubicBezTo>
                    <a:cubicBezTo>
                      <a:pt x="2524" y="17878"/>
                      <a:pt x="5406" y="19879"/>
                      <a:pt x="8775" y="20605"/>
                    </a:cubicBezTo>
                    <a:cubicBezTo>
                      <a:pt x="9692" y="20807"/>
                      <a:pt x="10620" y="20903"/>
                      <a:pt x="11537" y="20903"/>
                    </a:cubicBezTo>
                    <a:cubicBezTo>
                      <a:pt x="14002" y="20903"/>
                      <a:pt x="16407" y="20200"/>
                      <a:pt x="18502" y="18843"/>
                    </a:cubicBezTo>
                    <a:cubicBezTo>
                      <a:pt x="24491" y="14997"/>
                      <a:pt x="26230" y="6996"/>
                      <a:pt x="22372" y="1007"/>
                    </a:cubicBezTo>
                    <a:cubicBezTo>
                      <a:pt x="22050" y="519"/>
                      <a:pt x="21562" y="174"/>
                      <a:pt x="20991" y="55"/>
                    </a:cubicBezTo>
                    <a:cubicBezTo>
                      <a:pt x="20831" y="18"/>
                      <a:pt x="20671" y="0"/>
                      <a:pt x="20512" y="0"/>
                    </a:cubicBez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783" name="Google Shape;783;p14"/>
            <p:cNvGrpSpPr/>
            <p:nvPr/>
          </p:nvGrpSpPr>
          <p:grpSpPr>
            <a:xfrm>
              <a:off x="1034803" y="395463"/>
              <a:ext cx="730432" cy="730432"/>
              <a:chOff x="258700" y="2038025"/>
              <a:chExt cx="599846" cy="599846"/>
            </a:xfrm>
          </p:grpSpPr>
          <p:sp>
            <p:nvSpPr>
              <p:cNvPr id="784" name="Google Shape;784;p14"/>
              <p:cNvSpPr/>
              <p:nvPr/>
            </p:nvSpPr>
            <p:spPr>
              <a:xfrm>
                <a:off x="258700" y="2038025"/>
                <a:ext cx="477300" cy="477300"/>
              </a:xfrm>
              <a:prstGeom prst="rect">
                <a:avLst/>
              </a:prstGeom>
              <a:noFill/>
              <a:ln w="19050" cap="flat" cmpd="sng">
                <a:solidFill>
                  <a:srgbClr val="19191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85" name="Google Shape;785;p14"/>
              <p:cNvSpPr/>
              <p:nvPr/>
            </p:nvSpPr>
            <p:spPr>
              <a:xfrm>
                <a:off x="381246" y="2160571"/>
                <a:ext cx="477300" cy="4773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786" name="Google Shape;786;p14"/>
            <p:cNvGrpSpPr/>
            <p:nvPr/>
          </p:nvGrpSpPr>
          <p:grpSpPr>
            <a:xfrm>
              <a:off x="7398692" y="4139204"/>
              <a:ext cx="961107" cy="671257"/>
              <a:chOff x="5059762" y="4251410"/>
              <a:chExt cx="766800" cy="535549"/>
            </a:xfrm>
          </p:grpSpPr>
          <p:sp>
            <p:nvSpPr>
              <p:cNvPr id="787" name="Google Shape;787;p14"/>
              <p:cNvSpPr/>
              <p:nvPr/>
            </p:nvSpPr>
            <p:spPr>
              <a:xfrm>
                <a:off x="5524244" y="4251410"/>
                <a:ext cx="302318" cy="535549"/>
              </a:xfrm>
              <a:custGeom>
                <a:avLst/>
                <a:gdLst/>
                <a:ahLst/>
                <a:cxnLst/>
                <a:rect l="l" t="t" r="r" b="b"/>
                <a:pathLst>
                  <a:path w="4882" h="8648" extrusionOk="0">
                    <a:moveTo>
                      <a:pt x="821" y="0"/>
                    </a:moveTo>
                    <a:cubicBezTo>
                      <a:pt x="654" y="0"/>
                      <a:pt x="486" y="55"/>
                      <a:pt x="346" y="170"/>
                    </a:cubicBezTo>
                    <a:cubicBezTo>
                      <a:pt x="167" y="313"/>
                      <a:pt x="84" y="527"/>
                      <a:pt x="84" y="742"/>
                    </a:cubicBezTo>
                    <a:cubicBezTo>
                      <a:pt x="84" y="908"/>
                      <a:pt x="131" y="1075"/>
                      <a:pt x="250" y="1218"/>
                    </a:cubicBezTo>
                    <a:lnTo>
                      <a:pt x="3060" y="4623"/>
                    </a:lnTo>
                    <a:lnTo>
                      <a:pt x="298" y="7373"/>
                    </a:lnTo>
                    <a:cubicBezTo>
                      <a:pt x="12" y="7671"/>
                      <a:pt x="0" y="8135"/>
                      <a:pt x="298" y="8433"/>
                    </a:cubicBezTo>
                    <a:cubicBezTo>
                      <a:pt x="441" y="8576"/>
                      <a:pt x="631" y="8647"/>
                      <a:pt x="822" y="8647"/>
                    </a:cubicBezTo>
                    <a:cubicBezTo>
                      <a:pt x="1012" y="8647"/>
                      <a:pt x="1203" y="8576"/>
                      <a:pt x="1346" y="8433"/>
                    </a:cubicBezTo>
                    <a:lnTo>
                      <a:pt x="4584" y="5194"/>
                    </a:lnTo>
                    <a:cubicBezTo>
                      <a:pt x="4858" y="4933"/>
                      <a:pt x="4882" y="4492"/>
                      <a:pt x="4632" y="4206"/>
                    </a:cubicBezTo>
                    <a:lnTo>
                      <a:pt x="1393" y="265"/>
                    </a:lnTo>
                    <a:cubicBezTo>
                      <a:pt x="1246" y="91"/>
                      <a:pt x="1035" y="0"/>
                      <a:pt x="82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88" name="Google Shape;788;p14"/>
              <p:cNvSpPr/>
              <p:nvPr/>
            </p:nvSpPr>
            <p:spPr>
              <a:xfrm>
                <a:off x="5291972" y="4251410"/>
                <a:ext cx="302380" cy="535549"/>
              </a:xfrm>
              <a:custGeom>
                <a:avLst/>
                <a:gdLst/>
                <a:ahLst/>
                <a:cxnLst/>
                <a:rect l="l" t="t" r="r" b="b"/>
                <a:pathLst>
                  <a:path w="4883" h="8648" extrusionOk="0">
                    <a:moveTo>
                      <a:pt x="822" y="0"/>
                    </a:moveTo>
                    <a:cubicBezTo>
                      <a:pt x="655" y="0"/>
                      <a:pt x="487" y="55"/>
                      <a:pt x="346" y="170"/>
                    </a:cubicBezTo>
                    <a:cubicBezTo>
                      <a:pt x="168" y="313"/>
                      <a:pt x="72" y="527"/>
                      <a:pt x="72" y="742"/>
                    </a:cubicBezTo>
                    <a:cubicBezTo>
                      <a:pt x="72" y="908"/>
                      <a:pt x="132" y="1075"/>
                      <a:pt x="251" y="1218"/>
                    </a:cubicBezTo>
                    <a:lnTo>
                      <a:pt x="3061" y="4623"/>
                    </a:lnTo>
                    <a:lnTo>
                      <a:pt x="298" y="7373"/>
                    </a:lnTo>
                    <a:cubicBezTo>
                      <a:pt x="1" y="7671"/>
                      <a:pt x="1" y="8135"/>
                      <a:pt x="298" y="8433"/>
                    </a:cubicBezTo>
                    <a:cubicBezTo>
                      <a:pt x="441" y="8576"/>
                      <a:pt x="629" y="8647"/>
                      <a:pt x="818" y="8647"/>
                    </a:cubicBezTo>
                    <a:cubicBezTo>
                      <a:pt x="1007" y="8647"/>
                      <a:pt x="1197" y="8576"/>
                      <a:pt x="1346" y="8433"/>
                    </a:cubicBezTo>
                    <a:lnTo>
                      <a:pt x="4585" y="5194"/>
                    </a:lnTo>
                    <a:cubicBezTo>
                      <a:pt x="4859" y="4933"/>
                      <a:pt x="4882" y="4492"/>
                      <a:pt x="4632" y="4206"/>
                    </a:cubicBezTo>
                    <a:lnTo>
                      <a:pt x="1394" y="265"/>
                    </a:lnTo>
                    <a:cubicBezTo>
                      <a:pt x="1247" y="91"/>
                      <a:pt x="1035" y="0"/>
                      <a:pt x="82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89" name="Google Shape;789;p14"/>
              <p:cNvSpPr/>
              <p:nvPr/>
            </p:nvSpPr>
            <p:spPr>
              <a:xfrm>
                <a:off x="5059762" y="4251410"/>
                <a:ext cx="302318" cy="535549"/>
              </a:xfrm>
              <a:custGeom>
                <a:avLst/>
                <a:gdLst/>
                <a:ahLst/>
                <a:cxnLst/>
                <a:rect l="l" t="t" r="r" b="b"/>
                <a:pathLst>
                  <a:path w="4882" h="8648" extrusionOk="0">
                    <a:moveTo>
                      <a:pt x="821" y="0"/>
                    </a:moveTo>
                    <a:cubicBezTo>
                      <a:pt x="655" y="0"/>
                      <a:pt x="486" y="55"/>
                      <a:pt x="346" y="170"/>
                    </a:cubicBezTo>
                    <a:cubicBezTo>
                      <a:pt x="167" y="313"/>
                      <a:pt x="72" y="527"/>
                      <a:pt x="72" y="742"/>
                    </a:cubicBezTo>
                    <a:cubicBezTo>
                      <a:pt x="72" y="908"/>
                      <a:pt x="131" y="1075"/>
                      <a:pt x="238" y="1218"/>
                    </a:cubicBezTo>
                    <a:lnTo>
                      <a:pt x="3060" y="4623"/>
                    </a:lnTo>
                    <a:lnTo>
                      <a:pt x="298" y="7373"/>
                    </a:lnTo>
                    <a:cubicBezTo>
                      <a:pt x="0" y="7671"/>
                      <a:pt x="0" y="8135"/>
                      <a:pt x="298" y="8433"/>
                    </a:cubicBezTo>
                    <a:cubicBezTo>
                      <a:pt x="441" y="8576"/>
                      <a:pt x="628" y="8647"/>
                      <a:pt x="817" y="8647"/>
                    </a:cubicBezTo>
                    <a:cubicBezTo>
                      <a:pt x="1006" y="8647"/>
                      <a:pt x="1197" y="8576"/>
                      <a:pt x="1346" y="8433"/>
                    </a:cubicBezTo>
                    <a:lnTo>
                      <a:pt x="4584" y="5194"/>
                    </a:lnTo>
                    <a:cubicBezTo>
                      <a:pt x="4858" y="4933"/>
                      <a:pt x="4882" y="4492"/>
                      <a:pt x="4632" y="4206"/>
                    </a:cubicBezTo>
                    <a:lnTo>
                      <a:pt x="1393" y="265"/>
                    </a:lnTo>
                    <a:cubicBezTo>
                      <a:pt x="1246" y="91"/>
                      <a:pt x="1035" y="0"/>
                      <a:pt x="82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spTree>
    <p:extLst>
      <p:ext uri="{BB962C8B-B14F-4D97-AF65-F5344CB8AC3E}">
        <p14:creationId xmlns:p14="http://schemas.microsoft.com/office/powerpoint/2010/main" val="1984054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and Text">
  <p:cSld name="Title and Text">
    <p:spTree>
      <p:nvGrpSpPr>
        <p:cNvPr id="1" name="Shape 790"/>
        <p:cNvGrpSpPr/>
        <p:nvPr/>
      </p:nvGrpSpPr>
      <p:grpSpPr>
        <a:xfrm>
          <a:off x="0" y="0"/>
          <a:ext cx="0" cy="0"/>
          <a:chOff x="0" y="0"/>
          <a:chExt cx="0" cy="0"/>
        </a:xfrm>
      </p:grpSpPr>
      <p:grpSp>
        <p:nvGrpSpPr>
          <p:cNvPr id="791" name="Google Shape;791;p15"/>
          <p:cNvGrpSpPr/>
          <p:nvPr/>
        </p:nvGrpSpPr>
        <p:grpSpPr>
          <a:xfrm>
            <a:off x="-132666" y="0"/>
            <a:ext cx="12373732" cy="6857917"/>
            <a:chOff x="-99500" y="0"/>
            <a:chExt cx="9280299" cy="5143438"/>
          </a:xfrm>
        </p:grpSpPr>
        <p:sp>
          <p:nvSpPr>
            <p:cNvPr id="792" name="Google Shape;792;p15"/>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93" name="Google Shape;793;p15"/>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94" name="Google Shape;794;p15"/>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95" name="Google Shape;795;p15"/>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96" name="Google Shape;796;p15"/>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97" name="Google Shape;797;p15"/>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98" name="Google Shape;798;p15"/>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99" name="Google Shape;799;p15"/>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00" name="Google Shape;800;p15"/>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01" name="Google Shape;801;p15"/>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02" name="Google Shape;802;p15"/>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03" name="Google Shape;803;p15"/>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04" name="Google Shape;804;p15"/>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05" name="Google Shape;805;p15"/>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06" name="Google Shape;806;p15"/>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07" name="Google Shape;807;p15"/>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08" name="Google Shape;808;p15"/>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09" name="Google Shape;809;p15"/>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10" name="Google Shape;810;p15"/>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11" name="Google Shape;811;p15"/>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12" name="Google Shape;812;p15"/>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13" name="Google Shape;813;p15"/>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14" name="Google Shape;814;p15"/>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15" name="Google Shape;815;p15"/>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16" name="Google Shape;816;p15"/>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17" name="Google Shape;817;p15"/>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18" name="Google Shape;818;p15"/>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19" name="Google Shape;819;p15"/>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20" name="Google Shape;820;p15"/>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21" name="Google Shape;821;p15"/>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22" name="Google Shape;822;p15"/>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23" name="Google Shape;823;p15"/>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24" name="Google Shape;824;p15"/>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25" name="Google Shape;825;p15"/>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26" name="Google Shape;826;p15"/>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27" name="Google Shape;827;p15"/>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28" name="Google Shape;828;p15"/>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29" name="Google Shape;829;p15"/>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30" name="Google Shape;830;p15"/>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31" name="Google Shape;831;p15"/>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32" name="Google Shape;832;p15"/>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33" name="Google Shape;833;p15"/>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34" name="Google Shape;834;p15"/>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835" name="Google Shape;835;p15"/>
          <p:cNvSpPr txBox="1">
            <a:spLocks noGrp="1"/>
          </p:cNvSpPr>
          <p:nvPr>
            <p:ph type="subTitle" idx="1"/>
          </p:nvPr>
        </p:nvSpPr>
        <p:spPr>
          <a:xfrm>
            <a:off x="960000" y="1797155"/>
            <a:ext cx="3676400" cy="14492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800"/>
              <a:buNone/>
              <a:defRPr sz="2133"/>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836" name="Google Shape;836;p15"/>
          <p:cNvSpPr txBox="1">
            <a:spLocks noGrp="1"/>
          </p:cNvSpPr>
          <p:nvPr>
            <p:ph type="title"/>
          </p:nvPr>
        </p:nvSpPr>
        <p:spPr>
          <a:xfrm>
            <a:off x="960000" y="720000"/>
            <a:ext cx="10272000" cy="636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837" name="Google Shape;837;p15"/>
          <p:cNvSpPr/>
          <p:nvPr/>
        </p:nvSpPr>
        <p:spPr>
          <a:xfrm rot="-5110726">
            <a:off x="10604263" y="110413"/>
            <a:ext cx="1339120" cy="1607773"/>
          </a:xfrm>
          <a:custGeom>
            <a:avLst/>
            <a:gdLst/>
            <a:ahLst/>
            <a:cxnLst/>
            <a:rect l="l" t="t" r="r" b="b"/>
            <a:pathLst>
              <a:path w="16765" h="21444" extrusionOk="0">
                <a:moveTo>
                  <a:pt x="16372" y="1"/>
                </a:moveTo>
                <a:cubicBezTo>
                  <a:pt x="6478" y="1929"/>
                  <a:pt x="1" y="11550"/>
                  <a:pt x="1930" y="21444"/>
                </a:cubicBezTo>
                <a:lnTo>
                  <a:pt x="3966" y="21039"/>
                </a:lnTo>
                <a:cubicBezTo>
                  <a:pt x="2263" y="12276"/>
                  <a:pt x="8002" y="3751"/>
                  <a:pt x="16765" y="2049"/>
                </a:cubicBezTo>
                <a:lnTo>
                  <a:pt x="16372" y="1"/>
                </a:lnTo>
                <a:close/>
              </a:path>
            </a:pathLst>
          </a:cu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838" name="Google Shape;838;p15"/>
          <p:cNvGrpSpPr/>
          <p:nvPr/>
        </p:nvGrpSpPr>
        <p:grpSpPr>
          <a:xfrm>
            <a:off x="11108098" y="5370402"/>
            <a:ext cx="1185685" cy="1193853"/>
            <a:chOff x="8178551" y="3950913"/>
            <a:chExt cx="965438" cy="972088"/>
          </a:xfrm>
        </p:grpSpPr>
        <p:sp>
          <p:nvSpPr>
            <p:cNvPr id="839" name="Google Shape;839;p15"/>
            <p:cNvSpPr/>
            <p:nvPr/>
          </p:nvSpPr>
          <p:spPr>
            <a:xfrm>
              <a:off x="8302789" y="4081200"/>
              <a:ext cx="841200" cy="8418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40" name="Google Shape;840;p15"/>
            <p:cNvSpPr/>
            <p:nvPr/>
          </p:nvSpPr>
          <p:spPr>
            <a:xfrm>
              <a:off x="8178551" y="3950913"/>
              <a:ext cx="841200" cy="8418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841" name="Google Shape;841;p15"/>
            <p:cNvGrpSpPr/>
            <p:nvPr/>
          </p:nvGrpSpPr>
          <p:grpSpPr>
            <a:xfrm>
              <a:off x="8432695" y="4036997"/>
              <a:ext cx="411509" cy="596828"/>
              <a:chOff x="2041313" y="3869325"/>
              <a:chExt cx="195575" cy="283650"/>
            </a:xfrm>
          </p:grpSpPr>
          <p:sp>
            <p:nvSpPr>
              <p:cNvPr id="842" name="Google Shape;842;p15"/>
              <p:cNvSpPr/>
              <p:nvPr/>
            </p:nvSpPr>
            <p:spPr>
              <a:xfrm>
                <a:off x="2041313" y="3869325"/>
                <a:ext cx="195575" cy="96125"/>
              </a:xfrm>
              <a:custGeom>
                <a:avLst/>
                <a:gdLst/>
                <a:ahLst/>
                <a:cxnLst/>
                <a:rect l="l" t="t" r="r" b="b"/>
                <a:pathLst>
                  <a:path w="7823" h="3845" extrusionOk="0">
                    <a:moveTo>
                      <a:pt x="4273" y="1"/>
                    </a:moveTo>
                    <a:cubicBezTo>
                      <a:pt x="4202" y="1"/>
                      <a:pt x="4130" y="24"/>
                      <a:pt x="4072" y="71"/>
                    </a:cubicBezTo>
                    <a:lnTo>
                      <a:pt x="143" y="3309"/>
                    </a:lnTo>
                    <a:cubicBezTo>
                      <a:pt x="24" y="3416"/>
                      <a:pt x="0" y="3607"/>
                      <a:pt x="107" y="3726"/>
                    </a:cubicBezTo>
                    <a:cubicBezTo>
                      <a:pt x="167" y="3797"/>
                      <a:pt x="250" y="3845"/>
                      <a:pt x="334" y="3845"/>
                    </a:cubicBezTo>
                    <a:cubicBezTo>
                      <a:pt x="405" y="3845"/>
                      <a:pt x="465" y="3821"/>
                      <a:pt x="524" y="3773"/>
                    </a:cubicBezTo>
                    <a:lnTo>
                      <a:pt x="4251" y="702"/>
                    </a:lnTo>
                    <a:lnTo>
                      <a:pt x="7287" y="3750"/>
                    </a:lnTo>
                    <a:cubicBezTo>
                      <a:pt x="7346" y="3809"/>
                      <a:pt x="7421" y="3839"/>
                      <a:pt x="7495" y="3839"/>
                    </a:cubicBezTo>
                    <a:cubicBezTo>
                      <a:pt x="7570" y="3839"/>
                      <a:pt x="7644" y="3809"/>
                      <a:pt x="7704" y="3750"/>
                    </a:cubicBezTo>
                    <a:cubicBezTo>
                      <a:pt x="7823" y="3631"/>
                      <a:pt x="7823" y="3440"/>
                      <a:pt x="7704" y="3333"/>
                    </a:cubicBezTo>
                    <a:lnTo>
                      <a:pt x="4477" y="82"/>
                    </a:lnTo>
                    <a:cubicBezTo>
                      <a:pt x="4422" y="27"/>
                      <a:pt x="4348" y="1"/>
                      <a:pt x="427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43" name="Google Shape;843;p15"/>
              <p:cNvSpPr/>
              <p:nvPr/>
            </p:nvSpPr>
            <p:spPr>
              <a:xfrm>
                <a:off x="2041313" y="3963125"/>
                <a:ext cx="195575" cy="96100"/>
              </a:xfrm>
              <a:custGeom>
                <a:avLst/>
                <a:gdLst/>
                <a:ahLst/>
                <a:cxnLst/>
                <a:rect l="l" t="t" r="r" b="b"/>
                <a:pathLst>
                  <a:path w="7823" h="3844" extrusionOk="0">
                    <a:moveTo>
                      <a:pt x="4267" y="0"/>
                    </a:moveTo>
                    <a:cubicBezTo>
                      <a:pt x="4198" y="0"/>
                      <a:pt x="4128" y="24"/>
                      <a:pt x="4072" y="69"/>
                    </a:cubicBezTo>
                    <a:lnTo>
                      <a:pt x="143" y="3307"/>
                    </a:lnTo>
                    <a:cubicBezTo>
                      <a:pt x="24" y="3415"/>
                      <a:pt x="0" y="3605"/>
                      <a:pt x="107" y="3736"/>
                    </a:cubicBezTo>
                    <a:cubicBezTo>
                      <a:pt x="167" y="3808"/>
                      <a:pt x="250" y="3843"/>
                      <a:pt x="334" y="3843"/>
                    </a:cubicBezTo>
                    <a:cubicBezTo>
                      <a:pt x="405" y="3843"/>
                      <a:pt x="465" y="3819"/>
                      <a:pt x="524" y="3772"/>
                    </a:cubicBezTo>
                    <a:lnTo>
                      <a:pt x="4251" y="700"/>
                    </a:lnTo>
                    <a:lnTo>
                      <a:pt x="7287" y="3748"/>
                    </a:lnTo>
                    <a:cubicBezTo>
                      <a:pt x="7346" y="3808"/>
                      <a:pt x="7421" y="3837"/>
                      <a:pt x="7495" y="3837"/>
                    </a:cubicBezTo>
                    <a:cubicBezTo>
                      <a:pt x="7570" y="3837"/>
                      <a:pt x="7644" y="3808"/>
                      <a:pt x="7704" y="3748"/>
                    </a:cubicBezTo>
                    <a:cubicBezTo>
                      <a:pt x="7823" y="3629"/>
                      <a:pt x="7823" y="3450"/>
                      <a:pt x="7704" y="3331"/>
                    </a:cubicBezTo>
                    <a:lnTo>
                      <a:pt x="4477" y="93"/>
                    </a:lnTo>
                    <a:cubicBezTo>
                      <a:pt x="4420" y="30"/>
                      <a:pt x="4344" y="0"/>
                      <a:pt x="426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44" name="Google Shape;844;p15"/>
              <p:cNvSpPr/>
              <p:nvPr/>
            </p:nvSpPr>
            <p:spPr>
              <a:xfrm>
                <a:off x="2041313" y="4056875"/>
                <a:ext cx="195575" cy="96100"/>
              </a:xfrm>
              <a:custGeom>
                <a:avLst/>
                <a:gdLst/>
                <a:ahLst/>
                <a:cxnLst/>
                <a:rect l="l" t="t" r="r" b="b"/>
                <a:pathLst>
                  <a:path w="7823" h="3844" extrusionOk="0">
                    <a:moveTo>
                      <a:pt x="4267" y="1"/>
                    </a:moveTo>
                    <a:cubicBezTo>
                      <a:pt x="4198" y="1"/>
                      <a:pt x="4128" y="24"/>
                      <a:pt x="4072" y="69"/>
                    </a:cubicBezTo>
                    <a:lnTo>
                      <a:pt x="143" y="3308"/>
                    </a:lnTo>
                    <a:cubicBezTo>
                      <a:pt x="24" y="3415"/>
                      <a:pt x="0" y="3606"/>
                      <a:pt x="107" y="3737"/>
                    </a:cubicBezTo>
                    <a:cubicBezTo>
                      <a:pt x="167" y="3808"/>
                      <a:pt x="250" y="3844"/>
                      <a:pt x="334" y="3844"/>
                    </a:cubicBezTo>
                    <a:cubicBezTo>
                      <a:pt x="405" y="3844"/>
                      <a:pt x="465" y="3820"/>
                      <a:pt x="524" y="3772"/>
                    </a:cubicBezTo>
                    <a:lnTo>
                      <a:pt x="4251" y="700"/>
                    </a:lnTo>
                    <a:lnTo>
                      <a:pt x="7287" y="3748"/>
                    </a:lnTo>
                    <a:cubicBezTo>
                      <a:pt x="7346" y="3808"/>
                      <a:pt x="7421" y="3838"/>
                      <a:pt x="7495" y="3838"/>
                    </a:cubicBezTo>
                    <a:cubicBezTo>
                      <a:pt x="7570" y="3838"/>
                      <a:pt x="7644" y="3808"/>
                      <a:pt x="7704" y="3748"/>
                    </a:cubicBezTo>
                    <a:cubicBezTo>
                      <a:pt x="7823" y="3629"/>
                      <a:pt x="7823" y="3451"/>
                      <a:pt x="7704" y="3332"/>
                    </a:cubicBezTo>
                    <a:lnTo>
                      <a:pt x="4477" y="93"/>
                    </a:lnTo>
                    <a:cubicBezTo>
                      <a:pt x="4420" y="30"/>
                      <a:pt x="4344" y="1"/>
                      <a:pt x="426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spTree>
    <p:extLst>
      <p:ext uri="{BB962C8B-B14F-4D97-AF65-F5344CB8AC3E}">
        <p14:creationId xmlns:p14="http://schemas.microsoft.com/office/powerpoint/2010/main" val="30544902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itle and Text 2">
  <p:cSld name="Title and Text 2">
    <p:spTree>
      <p:nvGrpSpPr>
        <p:cNvPr id="1" name="Shape 845"/>
        <p:cNvGrpSpPr/>
        <p:nvPr/>
      </p:nvGrpSpPr>
      <p:grpSpPr>
        <a:xfrm>
          <a:off x="0" y="0"/>
          <a:ext cx="0" cy="0"/>
          <a:chOff x="0" y="0"/>
          <a:chExt cx="0" cy="0"/>
        </a:xfrm>
      </p:grpSpPr>
      <p:grpSp>
        <p:nvGrpSpPr>
          <p:cNvPr id="846" name="Google Shape;846;p16"/>
          <p:cNvGrpSpPr/>
          <p:nvPr/>
        </p:nvGrpSpPr>
        <p:grpSpPr>
          <a:xfrm>
            <a:off x="-132666" y="0"/>
            <a:ext cx="12373732" cy="6857917"/>
            <a:chOff x="-99500" y="0"/>
            <a:chExt cx="9280299" cy="5143438"/>
          </a:xfrm>
        </p:grpSpPr>
        <p:sp>
          <p:nvSpPr>
            <p:cNvPr id="847" name="Google Shape;847;p16"/>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48" name="Google Shape;848;p16"/>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49" name="Google Shape;849;p16"/>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50" name="Google Shape;850;p16"/>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51" name="Google Shape;851;p16"/>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52" name="Google Shape;852;p16"/>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53" name="Google Shape;853;p16"/>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54" name="Google Shape;854;p16"/>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55" name="Google Shape;855;p16"/>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56" name="Google Shape;856;p16"/>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57" name="Google Shape;857;p16"/>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58" name="Google Shape;858;p16"/>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59" name="Google Shape;859;p16"/>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60" name="Google Shape;860;p16"/>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61" name="Google Shape;861;p16"/>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62" name="Google Shape;862;p16"/>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63" name="Google Shape;863;p16"/>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64" name="Google Shape;864;p16"/>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65" name="Google Shape;865;p16"/>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66" name="Google Shape;866;p16"/>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67" name="Google Shape;867;p16"/>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68" name="Google Shape;868;p16"/>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69" name="Google Shape;869;p16"/>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70" name="Google Shape;870;p16"/>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71" name="Google Shape;871;p16"/>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72" name="Google Shape;872;p16"/>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73" name="Google Shape;873;p16"/>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74" name="Google Shape;874;p16"/>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75" name="Google Shape;875;p16"/>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76" name="Google Shape;876;p16"/>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77" name="Google Shape;877;p16"/>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78" name="Google Shape;878;p16"/>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79" name="Google Shape;879;p16"/>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80" name="Google Shape;880;p16"/>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81" name="Google Shape;881;p16"/>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82" name="Google Shape;882;p16"/>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83" name="Google Shape;883;p16"/>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84" name="Google Shape;884;p16"/>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85" name="Google Shape;885;p16"/>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86" name="Google Shape;886;p16"/>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87" name="Google Shape;887;p16"/>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88" name="Google Shape;888;p16"/>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89" name="Google Shape;889;p16"/>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890" name="Google Shape;890;p16"/>
          <p:cNvSpPr txBox="1">
            <a:spLocks noGrp="1"/>
          </p:cNvSpPr>
          <p:nvPr>
            <p:ph type="subTitle" idx="1"/>
          </p:nvPr>
        </p:nvSpPr>
        <p:spPr>
          <a:xfrm>
            <a:off x="1299867" y="3794500"/>
            <a:ext cx="4150000" cy="14492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8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891" name="Google Shape;891;p16"/>
          <p:cNvSpPr txBox="1">
            <a:spLocks noGrp="1"/>
          </p:cNvSpPr>
          <p:nvPr>
            <p:ph type="title"/>
          </p:nvPr>
        </p:nvSpPr>
        <p:spPr>
          <a:xfrm>
            <a:off x="1299867" y="1521733"/>
            <a:ext cx="4150000" cy="2161200"/>
          </a:xfrm>
          <a:prstGeom prst="rect">
            <a:avLst/>
          </a:prstGeom>
        </p:spPr>
        <p:txBody>
          <a:bodyPr spcFirstLastPara="1" wrap="square" lIns="91425" tIns="91425" rIns="91425" bIns="91425" anchor="ctr" anchorCtr="0">
            <a:noAutofit/>
          </a:bodyPr>
          <a:lstStyle>
            <a:lvl1pPr lvl="0"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grpSp>
        <p:nvGrpSpPr>
          <p:cNvPr id="892" name="Google Shape;892;p16"/>
          <p:cNvGrpSpPr/>
          <p:nvPr/>
        </p:nvGrpSpPr>
        <p:grpSpPr>
          <a:xfrm>
            <a:off x="403407" y="176386"/>
            <a:ext cx="11100855" cy="6445223"/>
            <a:chOff x="302555" y="132289"/>
            <a:chExt cx="8325641" cy="4833917"/>
          </a:xfrm>
        </p:grpSpPr>
        <p:sp>
          <p:nvSpPr>
            <p:cNvPr id="893" name="Google Shape;893;p16"/>
            <p:cNvSpPr/>
            <p:nvPr/>
          </p:nvSpPr>
          <p:spPr>
            <a:xfrm rot="-5110726">
              <a:off x="443372" y="3812210"/>
              <a:ext cx="1004340" cy="1205830"/>
            </a:xfrm>
            <a:custGeom>
              <a:avLst/>
              <a:gdLst/>
              <a:ahLst/>
              <a:cxnLst/>
              <a:rect l="l" t="t" r="r" b="b"/>
              <a:pathLst>
                <a:path w="16765" h="21444" extrusionOk="0">
                  <a:moveTo>
                    <a:pt x="16372" y="1"/>
                  </a:moveTo>
                  <a:cubicBezTo>
                    <a:pt x="6478" y="1929"/>
                    <a:pt x="1" y="11550"/>
                    <a:pt x="1930" y="21444"/>
                  </a:cubicBezTo>
                  <a:lnTo>
                    <a:pt x="3966" y="21039"/>
                  </a:lnTo>
                  <a:cubicBezTo>
                    <a:pt x="2263" y="12276"/>
                    <a:pt x="8002" y="3751"/>
                    <a:pt x="16765" y="2049"/>
                  </a:cubicBezTo>
                  <a:lnTo>
                    <a:pt x="1637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894" name="Google Shape;894;p16"/>
            <p:cNvGrpSpPr/>
            <p:nvPr/>
          </p:nvGrpSpPr>
          <p:grpSpPr>
            <a:xfrm>
              <a:off x="7812279" y="212574"/>
              <a:ext cx="815918" cy="654858"/>
              <a:chOff x="7819972" y="2816525"/>
              <a:chExt cx="604025" cy="484792"/>
            </a:xfrm>
          </p:grpSpPr>
          <p:sp>
            <p:nvSpPr>
              <p:cNvPr id="895" name="Google Shape;895;p16"/>
              <p:cNvSpPr/>
              <p:nvPr/>
            </p:nvSpPr>
            <p:spPr>
              <a:xfrm>
                <a:off x="8306297" y="2816525"/>
                <a:ext cx="117700" cy="484792"/>
              </a:xfrm>
              <a:custGeom>
                <a:avLst/>
                <a:gdLst/>
                <a:ahLst/>
                <a:cxnLst/>
                <a:rect l="l" t="t" r="r" b="b"/>
                <a:pathLst>
                  <a:path w="1775" h="7311" extrusionOk="0">
                    <a:moveTo>
                      <a:pt x="1" y="1"/>
                    </a:moveTo>
                    <a:lnTo>
                      <a:pt x="1" y="7311"/>
                    </a:lnTo>
                    <a:lnTo>
                      <a:pt x="1775" y="7311"/>
                    </a:lnTo>
                    <a:lnTo>
                      <a:pt x="177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96" name="Google Shape;896;p16"/>
              <p:cNvSpPr/>
              <p:nvPr/>
            </p:nvSpPr>
            <p:spPr>
              <a:xfrm>
                <a:off x="8063135" y="2816525"/>
                <a:ext cx="117700" cy="484792"/>
              </a:xfrm>
              <a:custGeom>
                <a:avLst/>
                <a:gdLst/>
                <a:ahLst/>
                <a:cxnLst/>
                <a:rect l="l" t="t" r="r" b="b"/>
                <a:pathLst>
                  <a:path w="1775" h="7311" extrusionOk="0">
                    <a:moveTo>
                      <a:pt x="1" y="1"/>
                    </a:moveTo>
                    <a:lnTo>
                      <a:pt x="1" y="7311"/>
                    </a:lnTo>
                    <a:lnTo>
                      <a:pt x="1775" y="7311"/>
                    </a:lnTo>
                    <a:lnTo>
                      <a:pt x="177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97" name="Google Shape;897;p16"/>
              <p:cNvSpPr/>
              <p:nvPr/>
            </p:nvSpPr>
            <p:spPr>
              <a:xfrm>
                <a:off x="7819972" y="2816525"/>
                <a:ext cx="118496" cy="484792"/>
              </a:xfrm>
              <a:custGeom>
                <a:avLst/>
                <a:gdLst/>
                <a:ahLst/>
                <a:cxnLst/>
                <a:rect l="l" t="t" r="r" b="b"/>
                <a:pathLst>
                  <a:path w="1787" h="7311" extrusionOk="0">
                    <a:moveTo>
                      <a:pt x="0" y="1"/>
                    </a:moveTo>
                    <a:lnTo>
                      <a:pt x="0" y="7311"/>
                    </a:lnTo>
                    <a:lnTo>
                      <a:pt x="1786" y="7311"/>
                    </a:lnTo>
                    <a:lnTo>
                      <a:pt x="17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898" name="Google Shape;898;p16"/>
            <p:cNvGrpSpPr/>
            <p:nvPr/>
          </p:nvGrpSpPr>
          <p:grpSpPr>
            <a:xfrm rot="-7799738">
              <a:off x="458307" y="217688"/>
              <a:ext cx="524006" cy="645565"/>
              <a:chOff x="8908257" y="678472"/>
              <a:chExt cx="288846" cy="355852"/>
            </a:xfrm>
          </p:grpSpPr>
          <p:sp>
            <p:nvSpPr>
              <p:cNvPr id="899" name="Google Shape;899;p16"/>
              <p:cNvSpPr/>
              <p:nvPr/>
            </p:nvSpPr>
            <p:spPr>
              <a:xfrm rot="-5400000">
                <a:off x="8917627" y="669102"/>
                <a:ext cx="270105" cy="288846"/>
              </a:xfrm>
              <a:custGeom>
                <a:avLst/>
                <a:gdLst/>
                <a:ahLst/>
                <a:cxnLst/>
                <a:rect l="l" t="t" r="r" b="b"/>
                <a:pathLst>
                  <a:path w="7538" h="8061" extrusionOk="0">
                    <a:moveTo>
                      <a:pt x="1096" y="0"/>
                    </a:moveTo>
                    <a:lnTo>
                      <a:pt x="548" y="4025"/>
                    </a:lnTo>
                    <a:lnTo>
                      <a:pt x="1" y="8061"/>
                    </a:lnTo>
                    <a:lnTo>
                      <a:pt x="3775" y="6525"/>
                    </a:lnTo>
                    <a:lnTo>
                      <a:pt x="7537" y="4977"/>
                    </a:lnTo>
                    <a:lnTo>
                      <a:pt x="4323" y="2489"/>
                    </a:lnTo>
                    <a:lnTo>
                      <a:pt x="1096" y="0"/>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00" name="Google Shape;900;p16"/>
              <p:cNvSpPr/>
              <p:nvPr/>
            </p:nvSpPr>
            <p:spPr>
              <a:xfrm rot="-5400000">
                <a:off x="8917627" y="754848"/>
                <a:ext cx="270105" cy="288846"/>
              </a:xfrm>
              <a:custGeom>
                <a:avLst/>
                <a:gdLst/>
                <a:ahLst/>
                <a:cxnLst/>
                <a:rect l="l" t="t" r="r" b="b"/>
                <a:pathLst>
                  <a:path w="7538" h="8061" extrusionOk="0">
                    <a:moveTo>
                      <a:pt x="1096" y="0"/>
                    </a:moveTo>
                    <a:lnTo>
                      <a:pt x="548" y="4025"/>
                    </a:lnTo>
                    <a:lnTo>
                      <a:pt x="1" y="8061"/>
                    </a:lnTo>
                    <a:lnTo>
                      <a:pt x="3763" y="6525"/>
                    </a:lnTo>
                    <a:lnTo>
                      <a:pt x="7537" y="4977"/>
                    </a:lnTo>
                    <a:lnTo>
                      <a:pt x="4311" y="2489"/>
                    </a:lnTo>
                    <a:lnTo>
                      <a:pt x="109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spTree>
    <p:extLst>
      <p:ext uri="{BB962C8B-B14F-4D97-AF65-F5344CB8AC3E}">
        <p14:creationId xmlns:p14="http://schemas.microsoft.com/office/powerpoint/2010/main" val="18564113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and Text 3">
  <p:cSld name="Title and Text 3">
    <p:spTree>
      <p:nvGrpSpPr>
        <p:cNvPr id="1" name="Shape 901"/>
        <p:cNvGrpSpPr/>
        <p:nvPr/>
      </p:nvGrpSpPr>
      <p:grpSpPr>
        <a:xfrm>
          <a:off x="0" y="0"/>
          <a:ext cx="0" cy="0"/>
          <a:chOff x="0" y="0"/>
          <a:chExt cx="0" cy="0"/>
        </a:xfrm>
      </p:grpSpPr>
      <p:grpSp>
        <p:nvGrpSpPr>
          <p:cNvPr id="902" name="Google Shape;902;p17"/>
          <p:cNvGrpSpPr/>
          <p:nvPr/>
        </p:nvGrpSpPr>
        <p:grpSpPr>
          <a:xfrm>
            <a:off x="-132666" y="0"/>
            <a:ext cx="12373732" cy="6857917"/>
            <a:chOff x="-99500" y="0"/>
            <a:chExt cx="9280299" cy="5143438"/>
          </a:xfrm>
        </p:grpSpPr>
        <p:sp>
          <p:nvSpPr>
            <p:cNvPr id="903" name="Google Shape;903;p17"/>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04" name="Google Shape;904;p17"/>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05" name="Google Shape;905;p17"/>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06" name="Google Shape;906;p17"/>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07" name="Google Shape;907;p17"/>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08" name="Google Shape;908;p17"/>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09" name="Google Shape;909;p17"/>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10" name="Google Shape;910;p17"/>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11" name="Google Shape;911;p17"/>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12" name="Google Shape;912;p17"/>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13" name="Google Shape;913;p17"/>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14" name="Google Shape;914;p17"/>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15" name="Google Shape;915;p17"/>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16" name="Google Shape;916;p17"/>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17" name="Google Shape;917;p17"/>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18" name="Google Shape;918;p17"/>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19" name="Google Shape;919;p17"/>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20" name="Google Shape;920;p17"/>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21" name="Google Shape;921;p17"/>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22" name="Google Shape;922;p17"/>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23" name="Google Shape;923;p17"/>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24" name="Google Shape;924;p17"/>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25" name="Google Shape;925;p17"/>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26" name="Google Shape;926;p17"/>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27" name="Google Shape;927;p17"/>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28" name="Google Shape;928;p17"/>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29" name="Google Shape;929;p17"/>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30" name="Google Shape;930;p17"/>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31" name="Google Shape;931;p17"/>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32" name="Google Shape;932;p17"/>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33" name="Google Shape;933;p17"/>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34" name="Google Shape;934;p17"/>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35" name="Google Shape;935;p17"/>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36" name="Google Shape;936;p17"/>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37" name="Google Shape;937;p17"/>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38" name="Google Shape;938;p17"/>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39" name="Google Shape;939;p17"/>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40" name="Google Shape;940;p17"/>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41" name="Google Shape;941;p17"/>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42" name="Google Shape;942;p17"/>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43" name="Google Shape;943;p17"/>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44" name="Google Shape;944;p17"/>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45" name="Google Shape;945;p17"/>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946" name="Google Shape;946;p17"/>
          <p:cNvSpPr txBox="1">
            <a:spLocks noGrp="1"/>
          </p:cNvSpPr>
          <p:nvPr>
            <p:ph type="subTitle" idx="1"/>
          </p:nvPr>
        </p:nvSpPr>
        <p:spPr>
          <a:xfrm>
            <a:off x="7493367" y="2503367"/>
            <a:ext cx="3738800" cy="14492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800"/>
              <a:buNone/>
              <a:defRPr sz="2133"/>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947" name="Google Shape;947;p17"/>
          <p:cNvSpPr txBox="1">
            <a:spLocks noGrp="1"/>
          </p:cNvSpPr>
          <p:nvPr>
            <p:ph type="title"/>
          </p:nvPr>
        </p:nvSpPr>
        <p:spPr>
          <a:xfrm>
            <a:off x="960000" y="720000"/>
            <a:ext cx="10272000" cy="636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grpSp>
        <p:nvGrpSpPr>
          <p:cNvPr id="948" name="Google Shape;948;p17"/>
          <p:cNvGrpSpPr/>
          <p:nvPr/>
        </p:nvGrpSpPr>
        <p:grpSpPr>
          <a:xfrm>
            <a:off x="95194" y="114071"/>
            <a:ext cx="11761333" cy="6605349"/>
            <a:chOff x="71395" y="85553"/>
            <a:chExt cx="8821000" cy="4954012"/>
          </a:xfrm>
        </p:grpSpPr>
        <p:grpSp>
          <p:nvGrpSpPr>
            <p:cNvPr id="949" name="Google Shape;949;p17"/>
            <p:cNvGrpSpPr/>
            <p:nvPr/>
          </p:nvGrpSpPr>
          <p:grpSpPr>
            <a:xfrm rot="5400000">
              <a:off x="244857" y="-87909"/>
              <a:ext cx="1185179" cy="1532103"/>
              <a:chOff x="194863" y="3229838"/>
              <a:chExt cx="1354800" cy="1751375"/>
            </a:xfrm>
          </p:grpSpPr>
          <p:sp>
            <p:nvSpPr>
              <p:cNvPr id="950" name="Google Shape;950;p17"/>
              <p:cNvSpPr/>
              <p:nvPr/>
            </p:nvSpPr>
            <p:spPr>
              <a:xfrm>
                <a:off x="194863" y="3229850"/>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51" name="Google Shape;951;p17"/>
              <p:cNvSpPr/>
              <p:nvPr/>
            </p:nvSpPr>
            <p:spPr>
              <a:xfrm>
                <a:off x="194863" y="3625841"/>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52" name="Google Shape;952;p17"/>
              <p:cNvSpPr/>
              <p:nvPr/>
            </p:nvSpPr>
            <p:spPr>
              <a:xfrm>
                <a:off x="194863" y="4021831"/>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53" name="Google Shape;953;p17"/>
              <p:cNvSpPr/>
              <p:nvPr/>
            </p:nvSpPr>
            <p:spPr>
              <a:xfrm>
                <a:off x="194863" y="4417822"/>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54" name="Google Shape;954;p17"/>
              <p:cNvSpPr/>
              <p:nvPr/>
            </p:nvSpPr>
            <p:spPr>
              <a:xfrm>
                <a:off x="194863" y="4813813"/>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55" name="Google Shape;955;p17"/>
              <p:cNvSpPr/>
              <p:nvPr/>
            </p:nvSpPr>
            <p:spPr>
              <a:xfrm>
                <a:off x="788563" y="3229838"/>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56" name="Google Shape;956;p17"/>
              <p:cNvSpPr/>
              <p:nvPr/>
            </p:nvSpPr>
            <p:spPr>
              <a:xfrm>
                <a:off x="788563" y="3625828"/>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57" name="Google Shape;957;p17"/>
              <p:cNvSpPr/>
              <p:nvPr/>
            </p:nvSpPr>
            <p:spPr>
              <a:xfrm>
                <a:off x="788563" y="4021819"/>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58" name="Google Shape;958;p17"/>
              <p:cNvSpPr/>
              <p:nvPr/>
            </p:nvSpPr>
            <p:spPr>
              <a:xfrm>
                <a:off x="788563" y="4417809"/>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59" name="Google Shape;959;p17"/>
              <p:cNvSpPr/>
              <p:nvPr/>
            </p:nvSpPr>
            <p:spPr>
              <a:xfrm>
                <a:off x="788563" y="4813800"/>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60" name="Google Shape;960;p17"/>
              <p:cNvSpPr/>
              <p:nvPr/>
            </p:nvSpPr>
            <p:spPr>
              <a:xfrm>
                <a:off x="1382263" y="3229838"/>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61" name="Google Shape;961;p17"/>
              <p:cNvSpPr/>
              <p:nvPr/>
            </p:nvSpPr>
            <p:spPr>
              <a:xfrm>
                <a:off x="1382263" y="3625828"/>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62" name="Google Shape;962;p17"/>
              <p:cNvSpPr/>
              <p:nvPr/>
            </p:nvSpPr>
            <p:spPr>
              <a:xfrm>
                <a:off x="1382263" y="4021819"/>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63" name="Google Shape;963;p17"/>
              <p:cNvSpPr/>
              <p:nvPr/>
            </p:nvSpPr>
            <p:spPr>
              <a:xfrm>
                <a:off x="1382263" y="4417809"/>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64" name="Google Shape;964;p17"/>
              <p:cNvSpPr/>
              <p:nvPr/>
            </p:nvSpPr>
            <p:spPr>
              <a:xfrm>
                <a:off x="1382263" y="4813800"/>
                <a:ext cx="167400" cy="1674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965" name="Google Shape;965;p17"/>
            <p:cNvSpPr/>
            <p:nvPr/>
          </p:nvSpPr>
          <p:spPr>
            <a:xfrm>
              <a:off x="7831925" y="3766327"/>
              <a:ext cx="1060470" cy="1273238"/>
            </a:xfrm>
            <a:custGeom>
              <a:avLst/>
              <a:gdLst/>
              <a:ahLst/>
              <a:cxnLst/>
              <a:rect l="l" t="t" r="r" b="b"/>
              <a:pathLst>
                <a:path w="16765" h="21444" extrusionOk="0">
                  <a:moveTo>
                    <a:pt x="16372" y="1"/>
                  </a:moveTo>
                  <a:cubicBezTo>
                    <a:pt x="6478" y="1929"/>
                    <a:pt x="1" y="11550"/>
                    <a:pt x="1930" y="21444"/>
                  </a:cubicBezTo>
                  <a:lnTo>
                    <a:pt x="3966" y="21039"/>
                  </a:lnTo>
                  <a:cubicBezTo>
                    <a:pt x="2263" y="12276"/>
                    <a:pt x="8002" y="3751"/>
                    <a:pt x="16765" y="2049"/>
                  </a:cubicBezTo>
                  <a:lnTo>
                    <a:pt x="1637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10853426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AC0E51-FF82-E60F-8DD0-3B68E482003B}"/>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08C59AC6-418F-57CF-D576-22B101F79DF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52E7F0F5-8FDA-D149-A79C-8F2B85E284F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763A5F75-662F-FA66-6B18-85BF9E08F072}"/>
              </a:ext>
            </a:extLst>
          </p:cNvPr>
          <p:cNvSpPr>
            <a:spLocks noGrp="1"/>
          </p:cNvSpPr>
          <p:nvPr>
            <p:ph type="dt" sz="half" idx="10"/>
          </p:nvPr>
        </p:nvSpPr>
        <p:spPr/>
        <p:txBody>
          <a:bodyPr/>
          <a:lstStyle/>
          <a:p>
            <a:fld id="{1E32E15C-1ABB-4FCE-A664-E12BA74059BF}" type="datetimeFigureOut">
              <a:rPr lang="en-IN" smtClean="0"/>
              <a:t>13-01-2023</a:t>
            </a:fld>
            <a:endParaRPr lang="en-IN"/>
          </a:p>
        </p:txBody>
      </p:sp>
      <p:sp>
        <p:nvSpPr>
          <p:cNvPr id="6" name="Footer Placeholder 5">
            <a:extLst>
              <a:ext uri="{FF2B5EF4-FFF2-40B4-BE49-F238E27FC236}">
                <a16:creationId xmlns:a16="http://schemas.microsoft.com/office/drawing/2014/main" id="{A855DE1A-F8CD-064E-BB2B-7EE719235EBB}"/>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69D3053B-FF6A-846F-28FC-AC44A40D8C27}"/>
              </a:ext>
            </a:extLst>
          </p:cNvPr>
          <p:cNvSpPr>
            <a:spLocks noGrp="1"/>
          </p:cNvSpPr>
          <p:nvPr>
            <p:ph type="sldNum" sz="quarter" idx="12"/>
          </p:nvPr>
        </p:nvSpPr>
        <p:spPr/>
        <p:txBody>
          <a:bodyPr/>
          <a:lstStyle/>
          <a:p>
            <a:fld id="{B4B60327-AE25-4737-85CF-0B04EF4FAC0C}" type="slidenum">
              <a:rPr lang="en-IN" smtClean="0"/>
              <a:t>‹#›</a:t>
            </a:fld>
            <a:endParaRPr lang="en-IN"/>
          </a:p>
        </p:txBody>
      </p:sp>
    </p:spTree>
    <p:extLst>
      <p:ext uri="{BB962C8B-B14F-4D97-AF65-F5344CB8AC3E}">
        <p14:creationId xmlns:p14="http://schemas.microsoft.com/office/powerpoint/2010/main" val="33644769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itle and three columns">
  <p:cSld name="Title and three columns">
    <p:spTree>
      <p:nvGrpSpPr>
        <p:cNvPr id="1" name="Shape 966"/>
        <p:cNvGrpSpPr/>
        <p:nvPr/>
      </p:nvGrpSpPr>
      <p:grpSpPr>
        <a:xfrm>
          <a:off x="0" y="0"/>
          <a:ext cx="0" cy="0"/>
          <a:chOff x="0" y="0"/>
          <a:chExt cx="0" cy="0"/>
        </a:xfrm>
      </p:grpSpPr>
      <p:grpSp>
        <p:nvGrpSpPr>
          <p:cNvPr id="967" name="Google Shape;967;p18"/>
          <p:cNvGrpSpPr/>
          <p:nvPr/>
        </p:nvGrpSpPr>
        <p:grpSpPr>
          <a:xfrm>
            <a:off x="-132666" y="0"/>
            <a:ext cx="12373732" cy="6857917"/>
            <a:chOff x="-99500" y="0"/>
            <a:chExt cx="9280299" cy="5143438"/>
          </a:xfrm>
        </p:grpSpPr>
        <p:sp>
          <p:nvSpPr>
            <p:cNvPr id="968" name="Google Shape;968;p18"/>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69" name="Google Shape;969;p18"/>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70" name="Google Shape;970;p18"/>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71" name="Google Shape;971;p18"/>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72" name="Google Shape;972;p18"/>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73" name="Google Shape;973;p18"/>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74" name="Google Shape;974;p18"/>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75" name="Google Shape;975;p18"/>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76" name="Google Shape;976;p18"/>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77" name="Google Shape;977;p18"/>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78" name="Google Shape;978;p18"/>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79" name="Google Shape;979;p18"/>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80" name="Google Shape;980;p18"/>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81" name="Google Shape;981;p18"/>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82" name="Google Shape;982;p18"/>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83" name="Google Shape;983;p18"/>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84" name="Google Shape;984;p18"/>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85" name="Google Shape;985;p18"/>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86" name="Google Shape;986;p18"/>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87" name="Google Shape;987;p18"/>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88" name="Google Shape;988;p18"/>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89" name="Google Shape;989;p18"/>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90" name="Google Shape;990;p18"/>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91" name="Google Shape;991;p18"/>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92" name="Google Shape;992;p18"/>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93" name="Google Shape;993;p18"/>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94" name="Google Shape;994;p18"/>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95" name="Google Shape;995;p18"/>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96" name="Google Shape;996;p18"/>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97" name="Google Shape;997;p18"/>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98" name="Google Shape;998;p18"/>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99" name="Google Shape;999;p18"/>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00" name="Google Shape;1000;p18"/>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01" name="Google Shape;1001;p18"/>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02" name="Google Shape;1002;p18"/>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03" name="Google Shape;1003;p18"/>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04" name="Google Shape;1004;p18"/>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05" name="Google Shape;1005;p18"/>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06" name="Google Shape;1006;p18"/>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07" name="Google Shape;1007;p18"/>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08" name="Google Shape;1008;p18"/>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09" name="Google Shape;1009;p18"/>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10" name="Google Shape;1010;p18"/>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011" name="Google Shape;1011;p18"/>
          <p:cNvSpPr txBox="1">
            <a:spLocks noGrp="1"/>
          </p:cNvSpPr>
          <p:nvPr>
            <p:ph type="title"/>
          </p:nvPr>
        </p:nvSpPr>
        <p:spPr>
          <a:xfrm>
            <a:off x="960000" y="3697784"/>
            <a:ext cx="3115200" cy="7036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3200">
                <a:solidFill>
                  <a:schemeClr val="dk1"/>
                </a:solidFill>
              </a:defRPr>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012" name="Google Shape;1012;p18"/>
          <p:cNvSpPr txBox="1">
            <a:spLocks noGrp="1"/>
          </p:cNvSpPr>
          <p:nvPr>
            <p:ph type="subTitle" idx="1"/>
          </p:nvPr>
        </p:nvSpPr>
        <p:spPr>
          <a:xfrm>
            <a:off x="960000" y="4479817"/>
            <a:ext cx="31152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013" name="Google Shape;1013;p18"/>
          <p:cNvSpPr txBox="1">
            <a:spLocks noGrp="1"/>
          </p:cNvSpPr>
          <p:nvPr>
            <p:ph type="title" idx="2"/>
          </p:nvPr>
        </p:nvSpPr>
        <p:spPr>
          <a:xfrm>
            <a:off x="4538400" y="3697784"/>
            <a:ext cx="3115200" cy="7036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3200">
                <a:solidFill>
                  <a:schemeClr val="dk1"/>
                </a:solidFill>
              </a:defRPr>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014" name="Google Shape;1014;p18"/>
          <p:cNvSpPr txBox="1">
            <a:spLocks noGrp="1"/>
          </p:cNvSpPr>
          <p:nvPr>
            <p:ph type="subTitle" idx="3"/>
          </p:nvPr>
        </p:nvSpPr>
        <p:spPr>
          <a:xfrm>
            <a:off x="4538400" y="4479817"/>
            <a:ext cx="31152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015" name="Google Shape;1015;p18"/>
          <p:cNvSpPr txBox="1">
            <a:spLocks noGrp="1"/>
          </p:cNvSpPr>
          <p:nvPr>
            <p:ph type="title" idx="4"/>
          </p:nvPr>
        </p:nvSpPr>
        <p:spPr>
          <a:xfrm>
            <a:off x="8116800" y="3697784"/>
            <a:ext cx="3115200" cy="7036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3200">
                <a:solidFill>
                  <a:schemeClr val="dk1"/>
                </a:solidFill>
              </a:defRPr>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016" name="Google Shape;1016;p18"/>
          <p:cNvSpPr txBox="1">
            <a:spLocks noGrp="1"/>
          </p:cNvSpPr>
          <p:nvPr>
            <p:ph type="subTitle" idx="5"/>
          </p:nvPr>
        </p:nvSpPr>
        <p:spPr>
          <a:xfrm>
            <a:off x="8116800" y="4479817"/>
            <a:ext cx="31152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017" name="Google Shape;1017;p18"/>
          <p:cNvSpPr txBox="1">
            <a:spLocks noGrp="1"/>
          </p:cNvSpPr>
          <p:nvPr>
            <p:ph type="title" idx="6"/>
          </p:nvPr>
        </p:nvSpPr>
        <p:spPr>
          <a:xfrm>
            <a:off x="960000" y="710567"/>
            <a:ext cx="10272000" cy="6464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grpSp>
        <p:nvGrpSpPr>
          <p:cNvPr id="1018" name="Google Shape;1018;p18"/>
          <p:cNvGrpSpPr/>
          <p:nvPr/>
        </p:nvGrpSpPr>
        <p:grpSpPr>
          <a:xfrm>
            <a:off x="-361272" y="58617"/>
            <a:ext cx="13035651" cy="7189984"/>
            <a:chOff x="-270954" y="43963"/>
            <a:chExt cx="9776738" cy="5392488"/>
          </a:xfrm>
        </p:grpSpPr>
        <p:sp>
          <p:nvSpPr>
            <p:cNvPr id="1019" name="Google Shape;1019;p18"/>
            <p:cNvSpPr/>
            <p:nvPr/>
          </p:nvSpPr>
          <p:spPr>
            <a:xfrm rot="-990535">
              <a:off x="7768488" y="3970403"/>
              <a:ext cx="1590166" cy="1266213"/>
            </a:xfrm>
            <a:custGeom>
              <a:avLst/>
              <a:gdLst/>
              <a:ahLst/>
              <a:cxnLst/>
              <a:rect l="l" t="t" r="r" b="b"/>
              <a:pathLst>
                <a:path w="26325" h="20962" extrusionOk="0">
                  <a:moveTo>
                    <a:pt x="20700" y="1"/>
                  </a:moveTo>
                  <a:cubicBezTo>
                    <a:pt x="20318" y="1"/>
                    <a:pt x="19931" y="106"/>
                    <a:pt x="19586" y="328"/>
                  </a:cubicBezTo>
                  <a:cubicBezTo>
                    <a:pt x="18622" y="947"/>
                    <a:pt x="18336" y="2233"/>
                    <a:pt x="18955" y="3197"/>
                  </a:cubicBezTo>
                  <a:cubicBezTo>
                    <a:pt x="21598" y="7293"/>
                    <a:pt x="20407" y="12770"/>
                    <a:pt x="16312" y="15401"/>
                  </a:cubicBezTo>
                  <a:cubicBezTo>
                    <a:pt x="14865" y="16328"/>
                    <a:pt x="13224" y="16807"/>
                    <a:pt x="11552" y="16807"/>
                  </a:cubicBezTo>
                  <a:cubicBezTo>
                    <a:pt x="10925" y="16807"/>
                    <a:pt x="10294" y="16740"/>
                    <a:pt x="9668" y="16604"/>
                  </a:cubicBezTo>
                  <a:cubicBezTo>
                    <a:pt x="7358" y="16104"/>
                    <a:pt x="5382" y="14734"/>
                    <a:pt x="4108" y="12758"/>
                  </a:cubicBezTo>
                  <a:cubicBezTo>
                    <a:pt x="3710" y="12139"/>
                    <a:pt x="3038" y="11800"/>
                    <a:pt x="2353" y="11800"/>
                  </a:cubicBezTo>
                  <a:cubicBezTo>
                    <a:pt x="1970" y="11800"/>
                    <a:pt x="1584" y="11905"/>
                    <a:pt x="1238" y="12127"/>
                  </a:cubicBezTo>
                  <a:cubicBezTo>
                    <a:pt x="274" y="12758"/>
                    <a:pt x="0" y="14044"/>
                    <a:pt x="619" y="15008"/>
                  </a:cubicBezTo>
                  <a:cubicBezTo>
                    <a:pt x="2489" y="17925"/>
                    <a:pt x="5394" y="19938"/>
                    <a:pt x="8775" y="20664"/>
                  </a:cubicBezTo>
                  <a:cubicBezTo>
                    <a:pt x="9704" y="20866"/>
                    <a:pt x="10632" y="20961"/>
                    <a:pt x="11561" y="20961"/>
                  </a:cubicBezTo>
                  <a:cubicBezTo>
                    <a:pt x="14026" y="20961"/>
                    <a:pt x="16443" y="20259"/>
                    <a:pt x="18562" y="18902"/>
                  </a:cubicBezTo>
                  <a:cubicBezTo>
                    <a:pt x="24587" y="15020"/>
                    <a:pt x="26325" y="6972"/>
                    <a:pt x="22455" y="959"/>
                  </a:cubicBezTo>
                  <a:cubicBezTo>
                    <a:pt x="22058" y="340"/>
                    <a:pt x="21386" y="1"/>
                    <a:pt x="2070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1020" name="Google Shape;1020;p18"/>
            <p:cNvGrpSpPr/>
            <p:nvPr/>
          </p:nvGrpSpPr>
          <p:grpSpPr>
            <a:xfrm rot="-6429243">
              <a:off x="110900" y="-10180"/>
              <a:ext cx="1045891" cy="1571008"/>
              <a:chOff x="2225863" y="2465300"/>
              <a:chExt cx="505700" cy="759600"/>
            </a:xfrm>
          </p:grpSpPr>
          <p:sp>
            <p:nvSpPr>
              <p:cNvPr id="1021" name="Google Shape;1021;p18"/>
              <p:cNvSpPr/>
              <p:nvPr/>
            </p:nvSpPr>
            <p:spPr>
              <a:xfrm>
                <a:off x="2225863" y="2465300"/>
                <a:ext cx="505700" cy="759600"/>
              </a:xfrm>
              <a:custGeom>
                <a:avLst/>
                <a:gdLst/>
                <a:ahLst/>
                <a:cxnLst/>
                <a:rect l="l" t="t" r="r" b="b"/>
                <a:pathLst>
                  <a:path w="20228" h="30384" extrusionOk="0">
                    <a:moveTo>
                      <a:pt x="19838" y="0"/>
                    </a:moveTo>
                    <a:cubicBezTo>
                      <a:pt x="19834" y="0"/>
                      <a:pt x="19829" y="4"/>
                      <a:pt x="19824" y="10"/>
                    </a:cubicBezTo>
                    <a:lnTo>
                      <a:pt x="0" y="4463"/>
                    </a:lnTo>
                    <a:lnTo>
                      <a:pt x="16252" y="30383"/>
                    </a:lnTo>
                    <a:cubicBezTo>
                      <a:pt x="16252" y="30383"/>
                      <a:pt x="20228" y="0"/>
                      <a:pt x="1983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22" name="Google Shape;1022;p18"/>
              <p:cNvSpPr/>
              <p:nvPr/>
            </p:nvSpPr>
            <p:spPr>
              <a:xfrm>
                <a:off x="2666988" y="2475975"/>
                <a:ext cx="40800" cy="169975"/>
              </a:xfrm>
              <a:custGeom>
                <a:avLst/>
                <a:gdLst/>
                <a:ahLst/>
                <a:cxnLst/>
                <a:rect l="l" t="t" r="r" b="b"/>
                <a:pathLst>
                  <a:path w="1632" h="6799" extrusionOk="0">
                    <a:moveTo>
                      <a:pt x="310" y="0"/>
                    </a:moveTo>
                    <a:lnTo>
                      <a:pt x="0" y="72"/>
                    </a:lnTo>
                    <a:lnTo>
                      <a:pt x="1512" y="6799"/>
                    </a:lnTo>
                    <a:cubicBezTo>
                      <a:pt x="1548" y="6477"/>
                      <a:pt x="1596" y="6156"/>
                      <a:pt x="1631" y="5834"/>
                    </a:cubicBezTo>
                    <a:lnTo>
                      <a:pt x="3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23" name="Google Shape;1023;p18"/>
              <p:cNvSpPr/>
              <p:nvPr/>
            </p:nvSpPr>
            <p:spPr>
              <a:xfrm>
                <a:off x="2615788" y="2487575"/>
                <a:ext cx="73250" cy="314050"/>
              </a:xfrm>
              <a:custGeom>
                <a:avLst/>
                <a:gdLst/>
                <a:ahLst/>
                <a:cxnLst/>
                <a:rect l="l" t="t" r="r" b="b"/>
                <a:pathLst>
                  <a:path w="2930" h="12562" extrusionOk="0">
                    <a:moveTo>
                      <a:pt x="310" y="0"/>
                    </a:moveTo>
                    <a:lnTo>
                      <a:pt x="0" y="72"/>
                    </a:lnTo>
                    <a:lnTo>
                      <a:pt x="2810" y="12561"/>
                    </a:lnTo>
                    <a:cubicBezTo>
                      <a:pt x="2846" y="12252"/>
                      <a:pt x="2894" y="11930"/>
                      <a:pt x="2929" y="11609"/>
                    </a:cubicBezTo>
                    <a:lnTo>
                      <a:pt x="3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24" name="Google Shape;1024;p18"/>
              <p:cNvSpPr/>
              <p:nvPr/>
            </p:nvSpPr>
            <p:spPr>
              <a:xfrm>
                <a:off x="2564588" y="2498875"/>
                <a:ext cx="105100" cy="456350"/>
              </a:xfrm>
              <a:custGeom>
                <a:avLst/>
                <a:gdLst/>
                <a:ahLst/>
                <a:cxnLst/>
                <a:rect l="l" t="t" r="r" b="b"/>
                <a:pathLst>
                  <a:path w="4204" h="18254" extrusionOk="0">
                    <a:moveTo>
                      <a:pt x="322" y="1"/>
                    </a:moveTo>
                    <a:lnTo>
                      <a:pt x="0" y="72"/>
                    </a:lnTo>
                    <a:lnTo>
                      <a:pt x="4084" y="18253"/>
                    </a:lnTo>
                    <a:cubicBezTo>
                      <a:pt x="4132" y="17944"/>
                      <a:pt x="4168" y="17634"/>
                      <a:pt x="4203" y="17312"/>
                    </a:cubicBezTo>
                    <a:lnTo>
                      <a:pt x="32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25" name="Google Shape;1025;p18"/>
              <p:cNvSpPr/>
              <p:nvPr/>
            </p:nvSpPr>
            <p:spPr>
              <a:xfrm>
                <a:off x="2513388" y="2510500"/>
                <a:ext cx="136950" cy="597400"/>
              </a:xfrm>
              <a:custGeom>
                <a:avLst/>
                <a:gdLst/>
                <a:ahLst/>
                <a:cxnLst/>
                <a:rect l="l" t="t" r="r" b="b"/>
                <a:pathLst>
                  <a:path w="5478" h="23896" extrusionOk="0">
                    <a:moveTo>
                      <a:pt x="322" y="0"/>
                    </a:moveTo>
                    <a:lnTo>
                      <a:pt x="1" y="72"/>
                    </a:lnTo>
                    <a:lnTo>
                      <a:pt x="5358" y="23896"/>
                    </a:lnTo>
                    <a:cubicBezTo>
                      <a:pt x="5394" y="23586"/>
                      <a:pt x="5442" y="23277"/>
                      <a:pt x="5477" y="22955"/>
                    </a:cubicBezTo>
                    <a:lnTo>
                      <a:pt x="32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26" name="Google Shape;1026;p18"/>
              <p:cNvSpPr/>
              <p:nvPr/>
            </p:nvSpPr>
            <p:spPr>
              <a:xfrm>
                <a:off x="2462188" y="2522100"/>
                <a:ext cx="163750" cy="692975"/>
              </a:xfrm>
              <a:custGeom>
                <a:avLst/>
                <a:gdLst/>
                <a:ahLst/>
                <a:cxnLst/>
                <a:rect l="l" t="t" r="r" b="b"/>
                <a:pathLst>
                  <a:path w="6550" h="27719" extrusionOk="0">
                    <a:moveTo>
                      <a:pt x="322" y="1"/>
                    </a:moveTo>
                    <a:lnTo>
                      <a:pt x="1" y="72"/>
                    </a:lnTo>
                    <a:lnTo>
                      <a:pt x="6037" y="26897"/>
                    </a:lnTo>
                    <a:lnTo>
                      <a:pt x="6549" y="27718"/>
                    </a:lnTo>
                    <a:lnTo>
                      <a:pt x="32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27" name="Google Shape;1027;p18"/>
              <p:cNvSpPr/>
              <p:nvPr/>
            </p:nvSpPr>
            <p:spPr>
              <a:xfrm>
                <a:off x="2410988" y="2533400"/>
                <a:ext cx="131300" cy="548025"/>
              </a:xfrm>
              <a:custGeom>
                <a:avLst/>
                <a:gdLst/>
                <a:ahLst/>
                <a:cxnLst/>
                <a:rect l="l" t="t" r="r" b="b"/>
                <a:pathLst>
                  <a:path w="5252" h="21921" extrusionOk="0">
                    <a:moveTo>
                      <a:pt x="322" y="1"/>
                    </a:moveTo>
                    <a:lnTo>
                      <a:pt x="1" y="72"/>
                    </a:lnTo>
                    <a:lnTo>
                      <a:pt x="4728" y="21099"/>
                    </a:lnTo>
                    <a:lnTo>
                      <a:pt x="5252" y="21920"/>
                    </a:lnTo>
                    <a:lnTo>
                      <a:pt x="32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28" name="Google Shape;1028;p18"/>
              <p:cNvSpPr/>
              <p:nvPr/>
            </p:nvSpPr>
            <p:spPr>
              <a:xfrm>
                <a:off x="2359788" y="2545025"/>
                <a:ext cx="98550" cy="402750"/>
              </a:xfrm>
              <a:custGeom>
                <a:avLst/>
                <a:gdLst/>
                <a:ahLst/>
                <a:cxnLst/>
                <a:rect l="l" t="t" r="r" b="b"/>
                <a:pathLst>
                  <a:path w="3942" h="16110" extrusionOk="0">
                    <a:moveTo>
                      <a:pt x="322" y="0"/>
                    </a:moveTo>
                    <a:lnTo>
                      <a:pt x="1" y="72"/>
                    </a:lnTo>
                    <a:lnTo>
                      <a:pt x="3430" y="15288"/>
                    </a:lnTo>
                    <a:lnTo>
                      <a:pt x="3942" y="16109"/>
                    </a:lnTo>
                    <a:lnTo>
                      <a:pt x="32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29" name="Google Shape;1029;p18"/>
              <p:cNvSpPr/>
              <p:nvPr/>
            </p:nvSpPr>
            <p:spPr>
              <a:xfrm>
                <a:off x="2308613" y="2556625"/>
                <a:ext cx="65800" cy="257500"/>
              </a:xfrm>
              <a:custGeom>
                <a:avLst/>
                <a:gdLst/>
                <a:ahLst/>
                <a:cxnLst/>
                <a:rect l="l" t="t" r="r" b="b"/>
                <a:pathLst>
                  <a:path w="2632" h="10300" extrusionOk="0">
                    <a:moveTo>
                      <a:pt x="322" y="1"/>
                    </a:moveTo>
                    <a:lnTo>
                      <a:pt x="0" y="72"/>
                    </a:lnTo>
                    <a:lnTo>
                      <a:pt x="2119" y="9478"/>
                    </a:lnTo>
                    <a:lnTo>
                      <a:pt x="2631" y="10300"/>
                    </a:lnTo>
                    <a:lnTo>
                      <a:pt x="32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30" name="Google Shape;1030;p18"/>
              <p:cNvSpPr/>
              <p:nvPr/>
            </p:nvSpPr>
            <p:spPr>
              <a:xfrm>
                <a:off x="2257713" y="2567950"/>
                <a:ext cx="33050" cy="112525"/>
              </a:xfrm>
              <a:custGeom>
                <a:avLst/>
                <a:gdLst/>
                <a:ahLst/>
                <a:cxnLst/>
                <a:rect l="l" t="t" r="r" b="b"/>
                <a:pathLst>
                  <a:path w="1322" h="4501" extrusionOk="0">
                    <a:moveTo>
                      <a:pt x="310" y="0"/>
                    </a:moveTo>
                    <a:lnTo>
                      <a:pt x="0" y="72"/>
                    </a:lnTo>
                    <a:lnTo>
                      <a:pt x="810" y="3679"/>
                    </a:lnTo>
                    <a:lnTo>
                      <a:pt x="1322" y="4501"/>
                    </a:lnTo>
                    <a:lnTo>
                      <a:pt x="3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031" name="Google Shape;1031;p18"/>
            <p:cNvGrpSpPr/>
            <p:nvPr/>
          </p:nvGrpSpPr>
          <p:grpSpPr>
            <a:xfrm>
              <a:off x="8638228" y="64060"/>
              <a:ext cx="343823" cy="1830357"/>
              <a:chOff x="2277938" y="3169500"/>
              <a:chExt cx="76825" cy="409000"/>
            </a:xfrm>
          </p:grpSpPr>
          <p:sp>
            <p:nvSpPr>
              <p:cNvPr id="1032" name="Google Shape;1032;p18"/>
              <p:cNvSpPr/>
              <p:nvPr/>
            </p:nvSpPr>
            <p:spPr>
              <a:xfrm>
                <a:off x="2297288" y="3183800"/>
                <a:ext cx="57475" cy="57450"/>
              </a:xfrm>
              <a:custGeom>
                <a:avLst/>
                <a:gdLst/>
                <a:ahLst/>
                <a:cxnLst/>
                <a:rect l="l" t="t" r="r" b="b"/>
                <a:pathLst>
                  <a:path w="2299" h="2298" extrusionOk="0">
                    <a:moveTo>
                      <a:pt x="1144" y="0"/>
                    </a:moveTo>
                    <a:cubicBezTo>
                      <a:pt x="513" y="0"/>
                      <a:pt x="1" y="512"/>
                      <a:pt x="1" y="1143"/>
                    </a:cubicBezTo>
                    <a:cubicBezTo>
                      <a:pt x="1" y="1786"/>
                      <a:pt x="513" y="2298"/>
                      <a:pt x="1144" y="2298"/>
                    </a:cubicBezTo>
                    <a:cubicBezTo>
                      <a:pt x="1787" y="2298"/>
                      <a:pt x="2299" y="1786"/>
                      <a:pt x="2299" y="1143"/>
                    </a:cubicBezTo>
                    <a:cubicBezTo>
                      <a:pt x="2299" y="512"/>
                      <a:pt x="1787" y="0"/>
                      <a:pt x="114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33" name="Google Shape;1033;p18"/>
              <p:cNvSpPr/>
              <p:nvPr/>
            </p:nvSpPr>
            <p:spPr>
              <a:xfrm>
                <a:off x="2297288" y="3296000"/>
                <a:ext cx="57475" cy="57775"/>
              </a:xfrm>
              <a:custGeom>
                <a:avLst/>
                <a:gdLst/>
                <a:ahLst/>
                <a:cxnLst/>
                <a:rect l="l" t="t" r="r" b="b"/>
                <a:pathLst>
                  <a:path w="2299" h="2311" extrusionOk="0">
                    <a:moveTo>
                      <a:pt x="1144" y="1"/>
                    </a:moveTo>
                    <a:cubicBezTo>
                      <a:pt x="513" y="1"/>
                      <a:pt x="1" y="513"/>
                      <a:pt x="1" y="1156"/>
                    </a:cubicBezTo>
                    <a:cubicBezTo>
                      <a:pt x="1" y="1787"/>
                      <a:pt x="513" y="2311"/>
                      <a:pt x="1144" y="2311"/>
                    </a:cubicBezTo>
                    <a:cubicBezTo>
                      <a:pt x="1787" y="2311"/>
                      <a:pt x="2299" y="1787"/>
                      <a:pt x="2299" y="1156"/>
                    </a:cubicBezTo>
                    <a:cubicBezTo>
                      <a:pt x="2299" y="513"/>
                      <a:pt x="1787" y="1"/>
                      <a:pt x="114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34" name="Google Shape;1034;p18"/>
              <p:cNvSpPr/>
              <p:nvPr/>
            </p:nvSpPr>
            <p:spPr>
              <a:xfrm>
                <a:off x="2297288" y="3408525"/>
                <a:ext cx="57475" cy="57475"/>
              </a:xfrm>
              <a:custGeom>
                <a:avLst/>
                <a:gdLst/>
                <a:ahLst/>
                <a:cxnLst/>
                <a:rect l="l" t="t" r="r" b="b"/>
                <a:pathLst>
                  <a:path w="2299" h="2299" extrusionOk="0">
                    <a:moveTo>
                      <a:pt x="1144" y="0"/>
                    </a:moveTo>
                    <a:cubicBezTo>
                      <a:pt x="513" y="0"/>
                      <a:pt x="1" y="512"/>
                      <a:pt x="1" y="1143"/>
                    </a:cubicBezTo>
                    <a:cubicBezTo>
                      <a:pt x="1" y="1786"/>
                      <a:pt x="513" y="2298"/>
                      <a:pt x="1144" y="2298"/>
                    </a:cubicBezTo>
                    <a:cubicBezTo>
                      <a:pt x="1787" y="2298"/>
                      <a:pt x="2299" y="1786"/>
                      <a:pt x="2299" y="1143"/>
                    </a:cubicBezTo>
                    <a:cubicBezTo>
                      <a:pt x="2299" y="512"/>
                      <a:pt x="1787" y="0"/>
                      <a:pt x="114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35" name="Google Shape;1035;p18"/>
              <p:cNvSpPr/>
              <p:nvPr/>
            </p:nvSpPr>
            <p:spPr>
              <a:xfrm>
                <a:off x="2297288" y="3520725"/>
                <a:ext cx="57475" cy="57775"/>
              </a:xfrm>
              <a:custGeom>
                <a:avLst/>
                <a:gdLst/>
                <a:ahLst/>
                <a:cxnLst/>
                <a:rect l="l" t="t" r="r" b="b"/>
                <a:pathLst>
                  <a:path w="2299" h="2311" extrusionOk="0">
                    <a:moveTo>
                      <a:pt x="1144" y="1"/>
                    </a:moveTo>
                    <a:cubicBezTo>
                      <a:pt x="513" y="1"/>
                      <a:pt x="1" y="513"/>
                      <a:pt x="1" y="1156"/>
                    </a:cubicBezTo>
                    <a:cubicBezTo>
                      <a:pt x="1" y="1787"/>
                      <a:pt x="513" y="2311"/>
                      <a:pt x="1144" y="2311"/>
                    </a:cubicBezTo>
                    <a:cubicBezTo>
                      <a:pt x="1787" y="2311"/>
                      <a:pt x="2299" y="1787"/>
                      <a:pt x="2299" y="1156"/>
                    </a:cubicBezTo>
                    <a:cubicBezTo>
                      <a:pt x="2299" y="513"/>
                      <a:pt x="1787" y="1"/>
                      <a:pt x="114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36" name="Google Shape;1036;p18"/>
              <p:cNvSpPr/>
              <p:nvPr/>
            </p:nvSpPr>
            <p:spPr>
              <a:xfrm>
                <a:off x="2277938" y="3169500"/>
                <a:ext cx="57775" cy="57475"/>
              </a:xfrm>
              <a:custGeom>
                <a:avLst/>
                <a:gdLst/>
                <a:ahLst/>
                <a:cxnLst/>
                <a:rect l="l" t="t" r="r" b="b"/>
                <a:pathLst>
                  <a:path w="2311" h="2299" extrusionOk="0">
                    <a:moveTo>
                      <a:pt x="1156" y="1"/>
                    </a:moveTo>
                    <a:cubicBezTo>
                      <a:pt x="525" y="1"/>
                      <a:pt x="1" y="513"/>
                      <a:pt x="1" y="1144"/>
                    </a:cubicBezTo>
                    <a:cubicBezTo>
                      <a:pt x="1" y="1787"/>
                      <a:pt x="525" y="2298"/>
                      <a:pt x="1156" y="2298"/>
                    </a:cubicBezTo>
                    <a:cubicBezTo>
                      <a:pt x="1799" y="2298"/>
                      <a:pt x="2311" y="1787"/>
                      <a:pt x="2311" y="1144"/>
                    </a:cubicBezTo>
                    <a:cubicBezTo>
                      <a:pt x="2311" y="513"/>
                      <a:pt x="1799" y="1"/>
                      <a:pt x="115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37" name="Google Shape;1037;p18"/>
              <p:cNvSpPr/>
              <p:nvPr/>
            </p:nvSpPr>
            <p:spPr>
              <a:xfrm>
                <a:off x="2277938" y="3281725"/>
                <a:ext cx="57775" cy="57775"/>
              </a:xfrm>
              <a:custGeom>
                <a:avLst/>
                <a:gdLst/>
                <a:ahLst/>
                <a:cxnLst/>
                <a:rect l="l" t="t" r="r" b="b"/>
                <a:pathLst>
                  <a:path w="2311" h="2311" extrusionOk="0">
                    <a:moveTo>
                      <a:pt x="1156" y="0"/>
                    </a:moveTo>
                    <a:cubicBezTo>
                      <a:pt x="525" y="0"/>
                      <a:pt x="1" y="512"/>
                      <a:pt x="1" y="1155"/>
                    </a:cubicBezTo>
                    <a:cubicBezTo>
                      <a:pt x="1" y="1786"/>
                      <a:pt x="525" y="2310"/>
                      <a:pt x="1156" y="2310"/>
                    </a:cubicBezTo>
                    <a:cubicBezTo>
                      <a:pt x="1799" y="2310"/>
                      <a:pt x="2311" y="1786"/>
                      <a:pt x="2311" y="1155"/>
                    </a:cubicBezTo>
                    <a:cubicBezTo>
                      <a:pt x="2311" y="512"/>
                      <a:pt x="1799" y="0"/>
                      <a:pt x="115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38" name="Google Shape;1038;p18"/>
              <p:cNvSpPr/>
              <p:nvPr/>
            </p:nvSpPr>
            <p:spPr>
              <a:xfrm>
                <a:off x="2277938" y="3394225"/>
                <a:ext cx="57775" cy="57475"/>
              </a:xfrm>
              <a:custGeom>
                <a:avLst/>
                <a:gdLst/>
                <a:ahLst/>
                <a:cxnLst/>
                <a:rect l="l" t="t" r="r" b="b"/>
                <a:pathLst>
                  <a:path w="2311" h="2299" extrusionOk="0">
                    <a:moveTo>
                      <a:pt x="1156" y="1"/>
                    </a:moveTo>
                    <a:cubicBezTo>
                      <a:pt x="525" y="1"/>
                      <a:pt x="1" y="513"/>
                      <a:pt x="1" y="1144"/>
                    </a:cubicBezTo>
                    <a:cubicBezTo>
                      <a:pt x="1" y="1787"/>
                      <a:pt x="525" y="2299"/>
                      <a:pt x="1156" y="2299"/>
                    </a:cubicBezTo>
                    <a:cubicBezTo>
                      <a:pt x="1799" y="2299"/>
                      <a:pt x="2311" y="1787"/>
                      <a:pt x="2311" y="1144"/>
                    </a:cubicBezTo>
                    <a:cubicBezTo>
                      <a:pt x="2311" y="513"/>
                      <a:pt x="1799" y="1"/>
                      <a:pt x="115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39" name="Google Shape;1039;p18"/>
              <p:cNvSpPr/>
              <p:nvPr/>
            </p:nvSpPr>
            <p:spPr>
              <a:xfrm>
                <a:off x="2277938" y="3506450"/>
                <a:ext cx="57775" cy="57775"/>
              </a:xfrm>
              <a:custGeom>
                <a:avLst/>
                <a:gdLst/>
                <a:ahLst/>
                <a:cxnLst/>
                <a:rect l="l" t="t" r="r" b="b"/>
                <a:pathLst>
                  <a:path w="2311" h="2311" extrusionOk="0">
                    <a:moveTo>
                      <a:pt x="1156" y="0"/>
                    </a:moveTo>
                    <a:cubicBezTo>
                      <a:pt x="525" y="0"/>
                      <a:pt x="1" y="512"/>
                      <a:pt x="1" y="1155"/>
                    </a:cubicBezTo>
                    <a:cubicBezTo>
                      <a:pt x="1" y="1786"/>
                      <a:pt x="525" y="2310"/>
                      <a:pt x="1156" y="2310"/>
                    </a:cubicBezTo>
                    <a:cubicBezTo>
                      <a:pt x="1799" y="2310"/>
                      <a:pt x="2311" y="1786"/>
                      <a:pt x="2311" y="1155"/>
                    </a:cubicBezTo>
                    <a:cubicBezTo>
                      <a:pt x="2311" y="512"/>
                      <a:pt x="1799" y="0"/>
                      <a:pt x="115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spTree>
    <p:extLst>
      <p:ext uri="{BB962C8B-B14F-4D97-AF65-F5344CB8AC3E}">
        <p14:creationId xmlns:p14="http://schemas.microsoft.com/office/powerpoint/2010/main" val="8533029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and four columns">
  <p:cSld name="Title and four columns">
    <p:spTree>
      <p:nvGrpSpPr>
        <p:cNvPr id="1" name="Shape 1040"/>
        <p:cNvGrpSpPr/>
        <p:nvPr/>
      </p:nvGrpSpPr>
      <p:grpSpPr>
        <a:xfrm>
          <a:off x="0" y="0"/>
          <a:ext cx="0" cy="0"/>
          <a:chOff x="0" y="0"/>
          <a:chExt cx="0" cy="0"/>
        </a:xfrm>
      </p:grpSpPr>
      <p:grpSp>
        <p:nvGrpSpPr>
          <p:cNvPr id="1041" name="Google Shape;1041;p19"/>
          <p:cNvGrpSpPr/>
          <p:nvPr/>
        </p:nvGrpSpPr>
        <p:grpSpPr>
          <a:xfrm>
            <a:off x="-132666" y="0"/>
            <a:ext cx="12373732" cy="6857917"/>
            <a:chOff x="-99500" y="0"/>
            <a:chExt cx="9280299" cy="5143438"/>
          </a:xfrm>
        </p:grpSpPr>
        <p:sp>
          <p:nvSpPr>
            <p:cNvPr id="1042" name="Google Shape;1042;p19"/>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43" name="Google Shape;1043;p19"/>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44" name="Google Shape;1044;p19"/>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45" name="Google Shape;1045;p19"/>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46" name="Google Shape;1046;p19"/>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47" name="Google Shape;1047;p19"/>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48" name="Google Shape;1048;p19"/>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49" name="Google Shape;1049;p19"/>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50" name="Google Shape;1050;p19"/>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51" name="Google Shape;1051;p19"/>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52" name="Google Shape;1052;p19"/>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53" name="Google Shape;1053;p19"/>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54" name="Google Shape;1054;p19"/>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55" name="Google Shape;1055;p19"/>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56" name="Google Shape;1056;p19"/>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57" name="Google Shape;1057;p19"/>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58" name="Google Shape;1058;p19"/>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59" name="Google Shape;1059;p19"/>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60" name="Google Shape;1060;p19"/>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61" name="Google Shape;1061;p19"/>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62" name="Google Shape;1062;p19"/>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63" name="Google Shape;1063;p19"/>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64" name="Google Shape;1064;p19"/>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65" name="Google Shape;1065;p19"/>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66" name="Google Shape;1066;p19"/>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67" name="Google Shape;1067;p19"/>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68" name="Google Shape;1068;p19"/>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69" name="Google Shape;1069;p19"/>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70" name="Google Shape;1070;p19"/>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71" name="Google Shape;1071;p19"/>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72" name="Google Shape;1072;p19"/>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73" name="Google Shape;1073;p19"/>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74" name="Google Shape;1074;p19"/>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75" name="Google Shape;1075;p19"/>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76" name="Google Shape;1076;p19"/>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77" name="Google Shape;1077;p19"/>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78" name="Google Shape;1078;p19"/>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79" name="Google Shape;1079;p19"/>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80" name="Google Shape;1080;p19"/>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81" name="Google Shape;1081;p19"/>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82" name="Google Shape;1082;p19"/>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83" name="Google Shape;1083;p19"/>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84" name="Google Shape;1084;p19"/>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085" name="Google Shape;1085;p19"/>
          <p:cNvSpPr txBox="1">
            <a:spLocks noGrp="1"/>
          </p:cNvSpPr>
          <p:nvPr>
            <p:ph type="title"/>
          </p:nvPr>
        </p:nvSpPr>
        <p:spPr>
          <a:xfrm>
            <a:off x="1956337" y="2038584"/>
            <a:ext cx="3822800" cy="7036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3200">
                <a:solidFill>
                  <a:schemeClr val="dk1"/>
                </a:solidFill>
              </a:defRPr>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086" name="Google Shape;1086;p19"/>
          <p:cNvSpPr txBox="1">
            <a:spLocks noGrp="1"/>
          </p:cNvSpPr>
          <p:nvPr>
            <p:ph type="subTitle" idx="1"/>
          </p:nvPr>
        </p:nvSpPr>
        <p:spPr>
          <a:xfrm>
            <a:off x="1956337" y="2617417"/>
            <a:ext cx="38228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087" name="Google Shape;1087;p19"/>
          <p:cNvSpPr txBox="1">
            <a:spLocks noGrp="1"/>
          </p:cNvSpPr>
          <p:nvPr>
            <p:ph type="title" idx="2"/>
          </p:nvPr>
        </p:nvSpPr>
        <p:spPr>
          <a:xfrm>
            <a:off x="6412837" y="3481233"/>
            <a:ext cx="3822800" cy="7036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3200">
                <a:solidFill>
                  <a:schemeClr val="dk1"/>
                </a:solidFill>
              </a:defRPr>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088" name="Google Shape;1088;p19"/>
          <p:cNvSpPr txBox="1">
            <a:spLocks noGrp="1"/>
          </p:cNvSpPr>
          <p:nvPr>
            <p:ph type="subTitle" idx="3"/>
          </p:nvPr>
        </p:nvSpPr>
        <p:spPr>
          <a:xfrm>
            <a:off x="6412837" y="4060067"/>
            <a:ext cx="38228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089" name="Google Shape;1089;p19"/>
          <p:cNvSpPr txBox="1">
            <a:spLocks noGrp="1"/>
          </p:cNvSpPr>
          <p:nvPr>
            <p:ph type="title" idx="4"/>
          </p:nvPr>
        </p:nvSpPr>
        <p:spPr>
          <a:xfrm>
            <a:off x="6412837" y="2038584"/>
            <a:ext cx="3822800" cy="7036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3200">
                <a:solidFill>
                  <a:schemeClr val="dk1"/>
                </a:solidFill>
              </a:defRPr>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090" name="Google Shape;1090;p19"/>
          <p:cNvSpPr txBox="1">
            <a:spLocks noGrp="1"/>
          </p:cNvSpPr>
          <p:nvPr>
            <p:ph type="subTitle" idx="5"/>
          </p:nvPr>
        </p:nvSpPr>
        <p:spPr>
          <a:xfrm>
            <a:off x="6412837" y="2617417"/>
            <a:ext cx="38228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091" name="Google Shape;1091;p19"/>
          <p:cNvSpPr txBox="1">
            <a:spLocks noGrp="1"/>
          </p:cNvSpPr>
          <p:nvPr>
            <p:ph type="title" idx="6"/>
          </p:nvPr>
        </p:nvSpPr>
        <p:spPr>
          <a:xfrm>
            <a:off x="1956337" y="3481233"/>
            <a:ext cx="3822800" cy="7036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3200">
                <a:solidFill>
                  <a:schemeClr val="dk1"/>
                </a:solidFill>
              </a:defRPr>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092" name="Google Shape;1092;p19"/>
          <p:cNvSpPr txBox="1">
            <a:spLocks noGrp="1"/>
          </p:cNvSpPr>
          <p:nvPr>
            <p:ph type="subTitle" idx="7"/>
          </p:nvPr>
        </p:nvSpPr>
        <p:spPr>
          <a:xfrm>
            <a:off x="1956337" y="4060067"/>
            <a:ext cx="38228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093" name="Google Shape;1093;p19"/>
          <p:cNvSpPr txBox="1">
            <a:spLocks noGrp="1"/>
          </p:cNvSpPr>
          <p:nvPr>
            <p:ph type="title" idx="8"/>
          </p:nvPr>
        </p:nvSpPr>
        <p:spPr>
          <a:xfrm>
            <a:off x="960000" y="710567"/>
            <a:ext cx="10272000" cy="6464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1094" name="Google Shape;1094;p19"/>
          <p:cNvSpPr/>
          <p:nvPr/>
        </p:nvSpPr>
        <p:spPr>
          <a:xfrm rot="5400000">
            <a:off x="11210867" y="5033867"/>
            <a:ext cx="1356800" cy="703600"/>
          </a:xfrm>
          <a:prstGeom prst="rect">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095" name="Google Shape;1095;p19"/>
          <p:cNvSpPr/>
          <p:nvPr/>
        </p:nvSpPr>
        <p:spPr>
          <a:xfrm>
            <a:off x="11003467" y="5472800"/>
            <a:ext cx="1330400" cy="1330400"/>
          </a:xfrm>
          <a:prstGeom prst="donut">
            <a:avLst>
              <a:gd name="adj" fmla="val 25000"/>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265319685"/>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BCD68-621A-416D-984E-95D628554973}"/>
              </a:ext>
            </a:extLst>
          </p:cNvPr>
          <p:cNvSpPr>
            <a:spLocks noGrp="1"/>
          </p:cNvSpPr>
          <p:nvPr>
            <p:ph type="title"/>
          </p:nvPr>
        </p:nvSpPr>
        <p:spPr/>
        <p:txBody>
          <a:bodyPr/>
          <a:lstStyle/>
          <a:p>
            <a:r>
              <a:rPr lang="en-US"/>
              <a:t>Click to edit Master title style</a:t>
            </a:r>
            <a:endParaRPr lang="en-MY"/>
          </a:p>
        </p:txBody>
      </p:sp>
      <p:sp>
        <p:nvSpPr>
          <p:cNvPr id="3" name="Content Placeholder 2">
            <a:extLst>
              <a:ext uri="{FF2B5EF4-FFF2-40B4-BE49-F238E27FC236}">
                <a16:creationId xmlns:a16="http://schemas.microsoft.com/office/drawing/2014/main" id="{A583D796-624E-4738-86C0-AD1391A656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Content Placeholder 3">
            <a:extLst>
              <a:ext uri="{FF2B5EF4-FFF2-40B4-BE49-F238E27FC236}">
                <a16:creationId xmlns:a16="http://schemas.microsoft.com/office/drawing/2014/main" id="{A868F0B3-7E2F-41BD-92F6-EF9365E5CD3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5" name="Date Placeholder 4">
            <a:extLst>
              <a:ext uri="{FF2B5EF4-FFF2-40B4-BE49-F238E27FC236}">
                <a16:creationId xmlns:a16="http://schemas.microsoft.com/office/drawing/2014/main" id="{7294692D-6AD7-4F88-B757-CCEA3D2B1F0A}"/>
              </a:ext>
            </a:extLst>
          </p:cNvPr>
          <p:cNvSpPr>
            <a:spLocks noGrp="1"/>
          </p:cNvSpPr>
          <p:nvPr>
            <p:ph type="dt" sz="half" idx="10"/>
          </p:nvPr>
        </p:nvSpPr>
        <p:spPr/>
        <p:txBody>
          <a:bodyPr/>
          <a:lstStyle/>
          <a:p>
            <a:fld id="{E152F814-A5A9-4915-BA2C-D498CBB3B7CE}" type="datetimeFigureOut">
              <a:rPr lang="en-MY" smtClean="0"/>
              <a:t>13/1/2023</a:t>
            </a:fld>
            <a:endParaRPr lang="en-MY"/>
          </a:p>
        </p:txBody>
      </p:sp>
      <p:sp>
        <p:nvSpPr>
          <p:cNvPr id="6" name="Footer Placeholder 5">
            <a:extLst>
              <a:ext uri="{FF2B5EF4-FFF2-40B4-BE49-F238E27FC236}">
                <a16:creationId xmlns:a16="http://schemas.microsoft.com/office/drawing/2014/main" id="{52C4E867-7B57-4AD9-9B30-2B13E6AC57D4}"/>
              </a:ext>
            </a:extLst>
          </p:cNvPr>
          <p:cNvSpPr>
            <a:spLocks noGrp="1"/>
          </p:cNvSpPr>
          <p:nvPr>
            <p:ph type="ftr" sz="quarter" idx="11"/>
          </p:nvPr>
        </p:nvSpPr>
        <p:spPr/>
        <p:txBody>
          <a:bodyPr/>
          <a:lstStyle/>
          <a:p>
            <a:endParaRPr lang="en-MY"/>
          </a:p>
        </p:txBody>
      </p:sp>
      <p:sp>
        <p:nvSpPr>
          <p:cNvPr id="7" name="Slide Number Placeholder 6">
            <a:extLst>
              <a:ext uri="{FF2B5EF4-FFF2-40B4-BE49-F238E27FC236}">
                <a16:creationId xmlns:a16="http://schemas.microsoft.com/office/drawing/2014/main" id="{82C69390-C76F-4AAD-BCC1-5A2282872E84}"/>
              </a:ext>
            </a:extLst>
          </p:cNvPr>
          <p:cNvSpPr>
            <a:spLocks noGrp="1"/>
          </p:cNvSpPr>
          <p:nvPr>
            <p:ph type="sldNum" sz="quarter" idx="12"/>
          </p:nvPr>
        </p:nvSpPr>
        <p:spPr/>
        <p:txBody>
          <a:bodyPr/>
          <a:lstStyle/>
          <a:p>
            <a:fld id="{3854563D-E486-48D4-A129-56097E180FBF}" type="slidenum">
              <a:rPr lang="en-MY" smtClean="0"/>
              <a:t>‹#›</a:t>
            </a:fld>
            <a:endParaRPr lang="en-MY"/>
          </a:p>
        </p:txBody>
      </p:sp>
    </p:spTree>
    <p:extLst>
      <p:ext uri="{BB962C8B-B14F-4D97-AF65-F5344CB8AC3E}">
        <p14:creationId xmlns:p14="http://schemas.microsoft.com/office/powerpoint/2010/main" val="5130661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itle and six columns">
  <p:cSld name="Title and six columns">
    <p:spTree>
      <p:nvGrpSpPr>
        <p:cNvPr id="1" name="Shape 1096"/>
        <p:cNvGrpSpPr/>
        <p:nvPr/>
      </p:nvGrpSpPr>
      <p:grpSpPr>
        <a:xfrm>
          <a:off x="0" y="0"/>
          <a:ext cx="0" cy="0"/>
          <a:chOff x="0" y="0"/>
          <a:chExt cx="0" cy="0"/>
        </a:xfrm>
      </p:grpSpPr>
      <p:grpSp>
        <p:nvGrpSpPr>
          <p:cNvPr id="1097" name="Google Shape;1097;p20"/>
          <p:cNvGrpSpPr/>
          <p:nvPr/>
        </p:nvGrpSpPr>
        <p:grpSpPr>
          <a:xfrm>
            <a:off x="-132666" y="0"/>
            <a:ext cx="12373732" cy="6857917"/>
            <a:chOff x="-99500" y="0"/>
            <a:chExt cx="9280299" cy="5143438"/>
          </a:xfrm>
        </p:grpSpPr>
        <p:sp>
          <p:nvSpPr>
            <p:cNvPr id="1098" name="Google Shape;1098;p20"/>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99" name="Google Shape;1099;p20"/>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00" name="Google Shape;1100;p20"/>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01" name="Google Shape;1101;p20"/>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02" name="Google Shape;1102;p20"/>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03" name="Google Shape;1103;p20"/>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04" name="Google Shape;1104;p20"/>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05" name="Google Shape;1105;p20"/>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06" name="Google Shape;1106;p20"/>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07" name="Google Shape;1107;p20"/>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08" name="Google Shape;1108;p20"/>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09" name="Google Shape;1109;p20"/>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10" name="Google Shape;1110;p20"/>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11" name="Google Shape;1111;p20"/>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12" name="Google Shape;1112;p20"/>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13" name="Google Shape;1113;p20"/>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14" name="Google Shape;1114;p20"/>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15" name="Google Shape;1115;p20"/>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16" name="Google Shape;1116;p20"/>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17" name="Google Shape;1117;p20"/>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18" name="Google Shape;1118;p20"/>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19" name="Google Shape;1119;p20"/>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20" name="Google Shape;1120;p20"/>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21" name="Google Shape;1121;p20"/>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22" name="Google Shape;1122;p20"/>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23" name="Google Shape;1123;p20"/>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24" name="Google Shape;1124;p20"/>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25" name="Google Shape;1125;p20"/>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26" name="Google Shape;1126;p20"/>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27" name="Google Shape;1127;p20"/>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28" name="Google Shape;1128;p20"/>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29" name="Google Shape;1129;p20"/>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30" name="Google Shape;1130;p20"/>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31" name="Google Shape;1131;p20"/>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32" name="Google Shape;1132;p20"/>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33" name="Google Shape;1133;p20"/>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34" name="Google Shape;1134;p20"/>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35" name="Google Shape;1135;p20"/>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36" name="Google Shape;1136;p20"/>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37" name="Google Shape;1137;p20"/>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38" name="Google Shape;1138;p20"/>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39" name="Google Shape;1139;p20"/>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40" name="Google Shape;1140;p20"/>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141" name="Google Shape;1141;p20"/>
          <p:cNvSpPr txBox="1">
            <a:spLocks noGrp="1"/>
          </p:cNvSpPr>
          <p:nvPr>
            <p:ph type="title"/>
          </p:nvPr>
        </p:nvSpPr>
        <p:spPr>
          <a:xfrm>
            <a:off x="960000" y="2695840"/>
            <a:ext cx="3074000" cy="381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3200">
                <a:solidFill>
                  <a:schemeClr val="dk1"/>
                </a:solidFill>
              </a:defRPr>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142" name="Google Shape;1142;p20"/>
          <p:cNvSpPr txBox="1">
            <a:spLocks noGrp="1"/>
          </p:cNvSpPr>
          <p:nvPr>
            <p:ph type="subTitle" idx="1"/>
          </p:nvPr>
        </p:nvSpPr>
        <p:spPr>
          <a:xfrm>
            <a:off x="960000" y="3077041"/>
            <a:ext cx="30740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143" name="Google Shape;1143;p20"/>
          <p:cNvSpPr txBox="1">
            <a:spLocks noGrp="1"/>
          </p:cNvSpPr>
          <p:nvPr>
            <p:ph type="title" idx="2"/>
          </p:nvPr>
        </p:nvSpPr>
        <p:spPr>
          <a:xfrm>
            <a:off x="4502997" y="2695840"/>
            <a:ext cx="3074000" cy="381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3200">
                <a:solidFill>
                  <a:schemeClr val="dk1"/>
                </a:solidFill>
              </a:defRPr>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144" name="Google Shape;1144;p20"/>
          <p:cNvSpPr txBox="1">
            <a:spLocks noGrp="1"/>
          </p:cNvSpPr>
          <p:nvPr>
            <p:ph type="subTitle" idx="3"/>
          </p:nvPr>
        </p:nvSpPr>
        <p:spPr>
          <a:xfrm>
            <a:off x="4502995" y="3077041"/>
            <a:ext cx="30740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145" name="Google Shape;1145;p20"/>
          <p:cNvSpPr txBox="1">
            <a:spLocks noGrp="1"/>
          </p:cNvSpPr>
          <p:nvPr>
            <p:ph type="title" idx="4"/>
          </p:nvPr>
        </p:nvSpPr>
        <p:spPr>
          <a:xfrm>
            <a:off x="960000" y="5013449"/>
            <a:ext cx="3074000" cy="381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3200">
                <a:solidFill>
                  <a:schemeClr val="dk1"/>
                </a:solidFill>
              </a:defRPr>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146" name="Google Shape;1146;p20"/>
          <p:cNvSpPr txBox="1">
            <a:spLocks noGrp="1"/>
          </p:cNvSpPr>
          <p:nvPr>
            <p:ph type="subTitle" idx="5"/>
          </p:nvPr>
        </p:nvSpPr>
        <p:spPr>
          <a:xfrm>
            <a:off x="960000" y="5394649"/>
            <a:ext cx="30740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147" name="Google Shape;1147;p20"/>
          <p:cNvSpPr txBox="1">
            <a:spLocks noGrp="1"/>
          </p:cNvSpPr>
          <p:nvPr>
            <p:ph type="title" idx="6"/>
          </p:nvPr>
        </p:nvSpPr>
        <p:spPr>
          <a:xfrm>
            <a:off x="4503005" y="5013449"/>
            <a:ext cx="3186000" cy="381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3200">
                <a:solidFill>
                  <a:schemeClr val="dk1"/>
                </a:solidFill>
              </a:defRPr>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148" name="Google Shape;1148;p20"/>
          <p:cNvSpPr txBox="1">
            <a:spLocks noGrp="1"/>
          </p:cNvSpPr>
          <p:nvPr>
            <p:ph type="subTitle" idx="7"/>
          </p:nvPr>
        </p:nvSpPr>
        <p:spPr>
          <a:xfrm>
            <a:off x="4503003" y="5394649"/>
            <a:ext cx="31860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149" name="Google Shape;1149;p20"/>
          <p:cNvSpPr txBox="1">
            <a:spLocks noGrp="1"/>
          </p:cNvSpPr>
          <p:nvPr>
            <p:ph type="title" idx="8"/>
          </p:nvPr>
        </p:nvSpPr>
        <p:spPr>
          <a:xfrm>
            <a:off x="8158065" y="2695840"/>
            <a:ext cx="3074000" cy="381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3200">
                <a:solidFill>
                  <a:schemeClr val="dk1"/>
                </a:solidFill>
              </a:defRPr>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150" name="Google Shape;1150;p20"/>
          <p:cNvSpPr txBox="1">
            <a:spLocks noGrp="1"/>
          </p:cNvSpPr>
          <p:nvPr>
            <p:ph type="subTitle" idx="9"/>
          </p:nvPr>
        </p:nvSpPr>
        <p:spPr>
          <a:xfrm>
            <a:off x="8158067" y="3077041"/>
            <a:ext cx="30740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151" name="Google Shape;1151;p20"/>
          <p:cNvSpPr txBox="1">
            <a:spLocks noGrp="1"/>
          </p:cNvSpPr>
          <p:nvPr>
            <p:ph type="title" idx="13"/>
          </p:nvPr>
        </p:nvSpPr>
        <p:spPr>
          <a:xfrm>
            <a:off x="8158065" y="5013449"/>
            <a:ext cx="3074000" cy="381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3200">
                <a:solidFill>
                  <a:schemeClr val="dk1"/>
                </a:solidFill>
              </a:defRPr>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152" name="Google Shape;1152;p20"/>
          <p:cNvSpPr txBox="1">
            <a:spLocks noGrp="1"/>
          </p:cNvSpPr>
          <p:nvPr>
            <p:ph type="subTitle" idx="14"/>
          </p:nvPr>
        </p:nvSpPr>
        <p:spPr>
          <a:xfrm>
            <a:off x="8158060" y="5394649"/>
            <a:ext cx="30740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153" name="Google Shape;1153;p20"/>
          <p:cNvSpPr txBox="1">
            <a:spLocks noGrp="1"/>
          </p:cNvSpPr>
          <p:nvPr>
            <p:ph type="title" idx="15"/>
          </p:nvPr>
        </p:nvSpPr>
        <p:spPr>
          <a:xfrm>
            <a:off x="960000" y="710567"/>
            <a:ext cx="10272000" cy="6464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grpSp>
        <p:nvGrpSpPr>
          <p:cNvPr id="1154" name="Google Shape;1154;p20"/>
          <p:cNvGrpSpPr/>
          <p:nvPr/>
        </p:nvGrpSpPr>
        <p:grpSpPr>
          <a:xfrm>
            <a:off x="-309387" y="-101450"/>
            <a:ext cx="12198341" cy="6968492"/>
            <a:chOff x="-232040" y="-76088"/>
            <a:chExt cx="9148756" cy="5226369"/>
          </a:xfrm>
        </p:grpSpPr>
        <p:grpSp>
          <p:nvGrpSpPr>
            <p:cNvPr id="1155" name="Google Shape;1155;p20"/>
            <p:cNvGrpSpPr/>
            <p:nvPr/>
          </p:nvGrpSpPr>
          <p:grpSpPr>
            <a:xfrm rot="-5400000">
              <a:off x="8470391" y="293648"/>
              <a:ext cx="399936" cy="492712"/>
              <a:chOff x="8908257" y="678472"/>
              <a:chExt cx="288846" cy="355852"/>
            </a:xfrm>
          </p:grpSpPr>
          <p:sp>
            <p:nvSpPr>
              <p:cNvPr id="1156" name="Google Shape;1156;p20"/>
              <p:cNvSpPr/>
              <p:nvPr/>
            </p:nvSpPr>
            <p:spPr>
              <a:xfrm rot="-5400000">
                <a:off x="8917627" y="669102"/>
                <a:ext cx="270105" cy="288846"/>
              </a:xfrm>
              <a:custGeom>
                <a:avLst/>
                <a:gdLst/>
                <a:ahLst/>
                <a:cxnLst/>
                <a:rect l="l" t="t" r="r" b="b"/>
                <a:pathLst>
                  <a:path w="7538" h="8061" extrusionOk="0">
                    <a:moveTo>
                      <a:pt x="1096" y="0"/>
                    </a:moveTo>
                    <a:lnTo>
                      <a:pt x="548" y="4025"/>
                    </a:lnTo>
                    <a:lnTo>
                      <a:pt x="1" y="8061"/>
                    </a:lnTo>
                    <a:lnTo>
                      <a:pt x="3775" y="6525"/>
                    </a:lnTo>
                    <a:lnTo>
                      <a:pt x="7537" y="4977"/>
                    </a:lnTo>
                    <a:lnTo>
                      <a:pt x="4323" y="2489"/>
                    </a:lnTo>
                    <a:lnTo>
                      <a:pt x="109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57" name="Google Shape;1157;p20"/>
              <p:cNvSpPr/>
              <p:nvPr/>
            </p:nvSpPr>
            <p:spPr>
              <a:xfrm rot="-5400000">
                <a:off x="8917627" y="754848"/>
                <a:ext cx="270105" cy="288846"/>
              </a:xfrm>
              <a:custGeom>
                <a:avLst/>
                <a:gdLst/>
                <a:ahLst/>
                <a:cxnLst/>
                <a:rect l="l" t="t" r="r" b="b"/>
                <a:pathLst>
                  <a:path w="7538" h="8061" extrusionOk="0">
                    <a:moveTo>
                      <a:pt x="1096" y="0"/>
                    </a:moveTo>
                    <a:lnTo>
                      <a:pt x="548" y="4025"/>
                    </a:lnTo>
                    <a:lnTo>
                      <a:pt x="1" y="8061"/>
                    </a:lnTo>
                    <a:lnTo>
                      <a:pt x="3763" y="6525"/>
                    </a:lnTo>
                    <a:lnTo>
                      <a:pt x="7537" y="4977"/>
                    </a:lnTo>
                    <a:lnTo>
                      <a:pt x="4311" y="2489"/>
                    </a:lnTo>
                    <a:lnTo>
                      <a:pt x="10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158" name="Google Shape;1158;p20"/>
            <p:cNvGrpSpPr/>
            <p:nvPr/>
          </p:nvGrpSpPr>
          <p:grpSpPr>
            <a:xfrm>
              <a:off x="-5" y="4622573"/>
              <a:ext cx="657480" cy="527708"/>
              <a:chOff x="5707045" y="2821600"/>
              <a:chExt cx="657480" cy="527708"/>
            </a:xfrm>
          </p:grpSpPr>
          <p:sp>
            <p:nvSpPr>
              <p:cNvPr id="1159" name="Google Shape;1159;p20"/>
              <p:cNvSpPr/>
              <p:nvPr/>
            </p:nvSpPr>
            <p:spPr>
              <a:xfrm>
                <a:off x="6236405" y="2821600"/>
                <a:ext cx="128119" cy="527708"/>
              </a:xfrm>
              <a:custGeom>
                <a:avLst/>
                <a:gdLst/>
                <a:ahLst/>
                <a:cxnLst/>
                <a:rect l="l" t="t" r="r" b="b"/>
                <a:pathLst>
                  <a:path w="1775" h="7311" extrusionOk="0">
                    <a:moveTo>
                      <a:pt x="1" y="1"/>
                    </a:moveTo>
                    <a:lnTo>
                      <a:pt x="1" y="7311"/>
                    </a:lnTo>
                    <a:lnTo>
                      <a:pt x="1775" y="7311"/>
                    </a:lnTo>
                    <a:lnTo>
                      <a:pt x="17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60" name="Google Shape;1160;p20"/>
              <p:cNvSpPr/>
              <p:nvPr/>
            </p:nvSpPr>
            <p:spPr>
              <a:xfrm>
                <a:off x="5971725" y="2821600"/>
                <a:ext cx="128119" cy="527708"/>
              </a:xfrm>
              <a:custGeom>
                <a:avLst/>
                <a:gdLst/>
                <a:ahLst/>
                <a:cxnLst/>
                <a:rect l="l" t="t" r="r" b="b"/>
                <a:pathLst>
                  <a:path w="1775" h="7311" extrusionOk="0">
                    <a:moveTo>
                      <a:pt x="1" y="1"/>
                    </a:moveTo>
                    <a:lnTo>
                      <a:pt x="1" y="7311"/>
                    </a:lnTo>
                    <a:lnTo>
                      <a:pt x="1775" y="7311"/>
                    </a:lnTo>
                    <a:lnTo>
                      <a:pt x="17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61" name="Google Shape;1161;p20"/>
              <p:cNvSpPr/>
              <p:nvPr/>
            </p:nvSpPr>
            <p:spPr>
              <a:xfrm>
                <a:off x="5707045" y="2821600"/>
                <a:ext cx="128986" cy="527708"/>
              </a:xfrm>
              <a:custGeom>
                <a:avLst/>
                <a:gdLst/>
                <a:ahLst/>
                <a:cxnLst/>
                <a:rect l="l" t="t" r="r" b="b"/>
                <a:pathLst>
                  <a:path w="1787" h="7311" extrusionOk="0">
                    <a:moveTo>
                      <a:pt x="0" y="1"/>
                    </a:moveTo>
                    <a:lnTo>
                      <a:pt x="0" y="7311"/>
                    </a:lnTo>
                    <a:lnTo>
                      <a:pt x="1786" y="7311"/>
                    </a:lnTo>
                    <a:lnTo>
                      <a:pt x="178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162" name="Google Shape;1162;p20"/>
            <p:cNvGrpSpPr/>
            <p:nvPr/>
          </p:nvGrpSpPr>
          <p:grpSpPr>
            <a:xfrm>
              <a:off x="-232040" y="-76088"/>
              <a:ext cx="889503" cy="884747"/>
              <a:chOff x="4299638" y="1915175"/>
              <a:chExt cx="495600" cy="492950"/>
            </a:xfrm>
          </p:grpSpPr>
          <p:sp>
            <p:nvSpPr>
              <p:cNvPr id="1163" name="Google Shape;1163;p20"/>
              <p:cNvSpPr/>
              <p:nvPr/>
            </p:nvSpPr>
            <p:spPr>
              <a:xfrm>
                <a:off x="4432688" y="2009825"/>
                <a:ext cx="362550" cy="398300"/>
              </a:xfrm>
              <a:custGeom>
                <a:avLst/>
                <a:gdLst/>
                <a:ahLst/>
                <a:cxnLst/>
                <a:rect l="l" t="t" r="r" b="b"/>
                <a:pathLst>
                  <a:path w="14502" h="15932" extrusionOk="0">
                    <a:moveTo>
                      <a:pt x="0" y="1"/>
                    </a:moveTo>
                    <a:lnTo>
                      <a:pt x="0" y="15931"/>
                    </a:lnTo>
                    <a:lnTo>
                      <a:pt x="14502" y="15931"/>
                    </a:lnTo>
                    <a:lnTo>
                      <a:pt x="1450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64" name="Google Shape;1164;p20"/>
              <p:cNvSpPr/>
              <p:nvPr/>
            </p:nvSpPr>
            <p:spPr>
              <a:xfrm>
                <a:off x="4299638" y="1915175"/>
                <a:ext cx="410475" cy="410500"/>
              </a:xfrm>
              <a:custGeom>
                <a:avLst/>
                <a:gdLst/>
                <a:ahLst/>
                <a:cxnLst/>
                <a:rect l="l" t="t" r="r" b="b"/>
                <a:pathLst>
                  <a:path w="16419" h="16420" extrusionOk="0">
                    <a:moveTo>
                      <a:pt x="0" y="1"/>
                    </a:moveTo>
                    <a:lnTo>
                      <a:pt x="0" y="16419"/>
                    </a:lnTo>
                    <a:lnTo>
                      <a:pt x="16419" y="16419"/>
                    </a:lnTo>
                    <a:lnTo>
                      <a:pt x="164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65" name="Google Shape;1165;p20"/>
              <p:cNvSpPr/>
              <p:nvPr/>
            </p:nvSpPr>
            <p:spPr>
              <a:xfrm>
                <a:off x="4404688" y="1979700"/>
                <a:ext cx="200350" cy="98325"/>
              </a:xfrm>
              <a:custGeom>
                <a:avLst/>
                <a:gdLst/>
                <a:ahLst/>
                <a:cxnLst/>
                <a:rect l="l" t="t" r="r" b="b"/>
                <a:pathLst>
                  <a:path w="8014" h="3933" extrusionOk="0">
                    <a:moveTo>
                      <a:pt x="4375" y="0"/>
                    </a:moveTo>
                    <a:cubicBezTo>
                      <a:pt x="4306" y="0"/>
                      <a:pt x="4236" y="24"/>
                      <a:pt x="4180" y="75"/>
                    </a:cubicBezTo>
                    <a:lnTo>
                      <a:pt x="144" y="3397"/>
                    </a:lnTo>
                    <a:cubicBezTo>
                      <a:pt x="13" y="3504"/>
                      <a:pt x="1" y="3694"/>
                      <a:pt x="108" y="3825"/>
                    </a:cubicBezTo>
                    <a:cubicBezTo>
                      <a:pt x="156" y="3897"/>
                      <a:pt x="251" y="3932"/>
                      <a:pt x="334" y="3932"/>
                    </a:cubicBezTo>
                    <a:cubicBezTo>
                      <a:pt x="394" y="3932"/>
                      <a:pt x="465" y="3909"/>
                      <a:pt x="525" y="3861"/>
                    </a:cubicBezTo>
                    <a:lnTo>
                      <a:pt x="4347" y="706"/>
                    </a:lnTo>
                    <a:lnTo>
                      <a:pt x="7478" y="3837"/>
                    </a:lnTo>
                    <a:cubicBezTo>
                      <a:pt x="7532" y="3897"/>
                      <a:pt x="7606" y="3926"/>
                      <a:pt x="7682" y="3926"/>
                    </a:cubicBezTo>
                    <a:cubicBezTo>
                      <a:pt x="7758" y="3926"/>
                      <a:pt x="7835" y="3897"/>
                      <a:pt x="7895" y="3837"/>
                    </a:cubicBezTo>
                    <a:cubicBezTo>
                      <a:pt x="8014" y="3730"/>
                      <a:pt x="8014" y="3540"/>
                      <a:pt x="7895" y="3420"/>
                    </a:cubicBezTo>
                    <a:lnTo>
                      <a:pt x="4585" y="87"/>
                    </a:lnTo>
                    <a:cubicBezTo>
                      <a:pt x="4528" y="30"/>
                      <a:pt x="4452" y="0"/>
                      <a:pt x="437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66" name="Google Shape;1166;p20"/>
              <p:cNvSpPr/>
              <p:nvPr/>
            </p:nvSpPr>
            <p:spPr>
              <a:xfrm>
                <a:off x="4404688" y="2076075"/>
                <a:ext cx="200350" cy="98250"/>
              </a:xfrm>
              <a:custGeom>
                <a:avLst/>
                <a:gdLst/>
                <a:ahLst/>
                <a:cxnLst/>
                <a:rect l="l" t="t" r="r" b="b"/>
                <a:pathLst>
                  <a:path w="8014" h="3930" extrusionOk="0">
                    <a:moveTo>
                      <a:pt x="4368" y="1"/>
                    </a:moveTo>
                    <a:cubicBezTo>
                      <a:pt x="4301" y="1"/>
                      <a:pt x="4234" y="22"/>
                      <a:pt x="4180" y="66"/>
                    </a:cubicBezTo>
                    <a:lnTo>
                      <a:pt x="144" y="3399"/>
                    </a:lnTo>
                    <a:cubicBezTo>
                      <a:pt x="13" y="3506"/>
                      <a:pt x="1" y="3685"/>
                      <a:pt x="108" y="3816"/>
                    </a:cubicBezTo>
                    <a:cubicBezTo>
                      <a:pt x="156" y="3887"/>
                      <a:pt x="251" y="3923"/>
                      <a:pt x="334" y="3923"/>
                    </a:cubicBezTo>
                    <a:cubicBezTo>
                      <a:pt x="394" y="3923"/>
                      <a:pt x="465" y="3899"/>
                      <a:pt x="525" y="3864"/>
                    </a:cubicBezTo>
                    <a:lnTo>
                      <a:pt x="4347" y="697"/>
                    </a:lnTo>
                    <a:lnTo>
                      <a:pt x="7478" y="3840"/>
                    </a:lnTo>
                    <a:cubicBezTo>
                      <a:pt x="7532" y="3899"/>
                      <a:pt x="7606" y="3929"/>
                      <a:pt x="7682" y="3929"/>
                    </a:cubicBezTo>
                    <a:cubicBezTo>
                      <a:pt x="7758" y="3929"/>
                      <a:pt x="7835" y="3899"/>
                      <a:pt x="7895" y="3840"/>
                    </a:cubicBezTo>
                    <a:cubicBezTo>
                      <a:pt x="8014" y="3721"/>
                      <a:pt x="8014" y="3530"/>
                      <a:pt x="7895" y="3423"/>
                    </a:cubicBezTo>
                    <a:lnTo>
                      <a:pt x="4585" y="89"/>
                    </a:lnTo>
                    <a:cubicBezTo>
                      <a:pt x="4527" y="31"/>
                      <a:pt x="4447" y="1"/>
                      <a:pt x="436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67" name="Google Shape;1167;p20"/>
              <p:cNvSpPr/>
              <p:nvPr/>
            </p:nvSpPr>
            <p:spPr>
              <a:xfrm>
                <a:off x="4404688" y="2172275"/>
                <a:ext cx="200350" cy="98325"/>
              </a:xfrm>
              <a:custGeom>
                <a:avLst/>
                <a:gdLst/>
                <a:ahLst/>
                <a:cxnLst/>
                <a:rect l="l" t="t" r="r" b="b"/>
                <a:pathLst>
                  <a:path w="8014" h="3933" extrusionOk="0">
                    <a:moveTo>
                      <a:pt x="4375" y="0"/>
                    </a:moveTo>
                    <a:cubicBezTo>
                      <a:pt x="4306" y="0"/>
                      <a:pt x="4236" y="25"/>
                      <a:pt x="4180" y="75"/>
                    </a:cubicBezTo>
                    <a:lnTo>
                      <a:pt x="144" y="3397"/>
                    </a:lnTo>
                    <a:cubicBezTo>
                      <a:pt x="13" y="3504"/>
                      <a:pt x="1" y="3695"/>
                      <a:pt x="108" y="3826"/>
                    </a:cubicBezTo>
                    <a:cubicBezTo>
                      <a:pt x="156" y="3897"/>
                      <a:pt x="251" y="3933"/>
                      <a:pt x="334" y="3933"/>
                    </a:cubicBezTo>
                    <a:cubicBezTo>
                      <a:pt x="394" y="3933"/>
                      <a:pt x="465" y="3909"/>
                      <a:pt x="525" y="3861"/>
                    </a:cubicBezTo>
                    <a:lnTo>
                      <a:pt x="4347" y="706"/>
                    </a:lnTo>
                    <a:lnTo>
                      <a:pt x="7478" y="3838"/>
                    </a:lnTo>
                    <a:cubicBezTo>
                      <a:pt x="7532" y="3897"/>
                      <a:pt x="7606" y="3927"/>
                      <a:pt x="7682" y="3927"/>
                    </a:cubicBezTo>
                    <a:cubicBezTo>
                      <a:pt x="7758" y="3927"/>
                      <a:pt x="7835" y="3897"/>
                      <a:pt x="7895" y="3838"/>
                    </a:cubicBezTo>
                    <a:cubicBezTo>
                      <a:pt x="8014" y="3730"/>
                      <a:pt x="8014" y="3540"/>
                      <a:pt x="7895" y="3421"/>
                    </a:cubicBezTo>
                    <a:lnTo>
                      <a:pt x="4585" y="87"/>
                    </a:lnTo>
                    <a:cubicBezTo>
                      <a:pt x="4528" y="31"/>
                      <a:pt x="4452" y="0"/>
                      <a:pt x="437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spTree>
    <p:extLst>
      <p:ext uri="{BB962C8B-B14F-4D97-AF65-F5344CB8AC3E}">
        <p14:creationId xmlns:p14="http://schemas.microsoft.com/office/powerpoint/2010/main" val="42049944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Numbers and text">
  <p:cSld name="Numbers and text">
    <p:spTree>
      <p:nvGrpSpPr>
        <p:cNvPr id="1" name="Shape 1168"/>
        <p:cNvGrpSpPr/>
        <p:nvPr/>
      </p:nvGrpSpPr>
      <p:grpSpPr>
        <a:xfrm>
          <a:off x="0" y="0"/>
          <a:ext cx="0" cy="0"/>
          <a:chOff x="0" y="0"/>
          <a:chExt cx="0" cy="0"/>
        </a:xfrm>
      </p:grpSpPr>
      <p:grpSp>
        <p:nvGrpSpPr>
          <p:cNvPr id="1169" name="Google Shape;1169;p21"/>
          <p:cNvGrpSpPr/>
          <p:nvPr/>
        </p:nvGrpSpPr>
        <p:grpSpPr>
          <a:xfrm>
            <a:off x="-132666" y="0"/>
            <a:ext cx="12373732" cy="6857917"/>
            <a:chOff x="-99500" y="0"/>
            <a:chExt cx="9280299" cy="5143438"/>
          </a:xfrm>
        </p:grpSpPr>
        <p:sp>
          <p:nvSpPr>
            <p:cNvPr id="1170" name="Google Shape;1170;p21"/>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71" name="Google Shape;1171;p21"/>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72" name="Google Shape;1172;p21"/>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73" name="Google Shape;1173;p21"/>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74" name="Google Shape;1174;p21"/>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75" name="Google Shape;1175;p21"/>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76" name="Google Shape;1176;p21"/>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77" name="Google Shape;1177;p21"/>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78" name="Google Shape;1178;p21"/>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79" name="Google Shape;1179;p21"/>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80" name="Google Shape;1180;p21"/>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81" name="Google Shape;1181;p21"/>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82" name="Google Shape;1182;p21"/>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83" name="Google Shape;1183;p21"/>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84" name="Google Shape;1184;p21"/>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85" name="Google Shape;1185;p21"/>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86" name="Google Shape;1186;p21"/>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87" name="Google Shape;1187;p21"/>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88" name="Google Shape;1188;p21"/>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89" name="Google Shape;1189;p21"/>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90" name="Google Shape;1190;p21"/>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91" name="Google Shape;1191;p21"/>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92" name="Google Shape;1192;p21"/>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93" name="Google Shape;1193;p21"/>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94" name="Google Shape;1194;p21"/>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95" name="Google Shape;1195;p21"/>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96" name="Google Shape;1196;p21"/>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97" name="Google Shape;1197;p21"/>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98" name="Google Shape;1198;p21"/>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99" name="Google Shape;1199;p21"/>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00" name="Google Shape;1200;p21"/>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01" name="Google Shape;1201;p21"/>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02" name="Google Shape;1202;p21"/>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03" name="Google Shape;1203;p21"/>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04" name="Google Shape;1204;p21"/>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05" name="Google Shape;1205;p21"/>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06" name="Google Shape;1206;p21"/>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07" name="Google Shape;1207;p21"/>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08" name="Google Shape;1208;p21"/>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09" name="Google Shape;1209;p21"/>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10" name="Google Shape;1210;p21"/>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11" name="Google Shape;1211;p21"/>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12" name="Google Shape;1212;p21"/>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213" name="Google Shape;1213;p21"/>
          <p:cNvSpPr txBox="1">
            <a:spLocks noGrp="1"/>
          </p:cNvSpPr>
          <p:nvPr>
            <p:ph type="title" hasCustomPrompt="1"/>
          </p:nvPr>
        </p:nvSpPr>
        <p:spPr>
          <a:xfrm>
            <a:off x="1712000" y="720000"/>
            <a:ext cx="8768000" cy="11044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6200"/>
              <a:buNone/>
              <a:defRPr sz="7333"/>
            </a:lvl1pPr>
            <a:lvl2pPr lvl="1" algn="ctr" rtl="0">
              <a:spcBef>
                <a:spcPts val="0"/>
              </a:spcBef>
              <a:spcAft>
                <a:spcPts val="0"/>
              </a:spcAft>
              <a:buSzPts val="6200"/>
              <a:buNone/>
              <a:defRPr sz="8266"/>
            </a:lvl2pPr>
            <a:lvl3pPr lvl="2" algn="ctr" rtl="0">
              <a:spcBef>
                <a:spcPts val="0"/>
              </a:spcBef>
              <a:spcAft>
                <a:spcPts val="0"/>
              </a:spcAft>
              <a:buSzPts val="6200"/>
              <a:buNone/>
              <a:defRPr sz="8266"/>
            </a:lvl3pPr>
            <a:lvl4pPr lvl="3" algn="ctr" rtl="0">
              <a:spcBef>
                <a:spcPts val="0"/>
              </a:spcBef>
              <a:spcAft>
                <a:spcPts val="0"/>
              </a:spcAft>
              <a:buSzPts val="6200"/>
              <a:buNone/>
              <a:defRPr sz="8266"/>
            </a:lvl4pPr>
            <a:lvl5pPr lvl="4" algn="ctr" rtl="0">
              <a:spcBef>
                <a:spcPts val="0"/>
              </a:spcBef>
              <a:spcAft>
                <a:spcPts val="0"/>
              </a:spcAft>
              <a:buSzPts val="6200"/>
              <a:buNone/>
              <a:defRPr sz="8266"/>
            </a:lvl5pPr>
            <a:lvl6pPr lvl="5" algn="ctr" rtl="0">
              <a:spcBef>
                <a:spcPts val="0"/>
              </a:spcBef>
              <a:spcAft>
                <a:spcPts val="0"/>
              </a:spcAft>
              <a:buSzPts val="6200"/>
              <a:buNone/>
              <a:defRPr sz="8266"/>
            </a:lvl6pPr>
            <a:lvl7pPr lvl="6" algn="ctr" rtl="0">
              <a:spcBef>
                <a:spcPts val="0"/>
              </a:spcBef>
              <a:spcAft>
                <a:spcPts val="0"/>
              </a:spcAft>
              <a:buSzPts val="6200"/>
              <a:buNone/>
              <a:defRPr sz="8266"/>
            </a:lvl7pPr>
            <a:lvl8pPr lvl="7" algn="ctr" rtl="0">
              <a:spcBef>
                <a:spcPts val="0"/>
              </a:spcBef>
              <a:spcAft>
                <a:spcPts val="0"/>
              </a:spcAft>
              <a:buSzPts val="6200"/>
              <a:buNone/>
              <a:defRPr sz="8266"/>
            </a:lvl8pPr>
            <a:lvl9pPr lvl="8" algn="ctr" rtl="0">
              <a:spcBef>
                <a:spcPts val="0"/>
              </a:spcBef>
              <a:spcAft>
                <a:spcPts val="0"/>
              </a:spcAft>
              <a:buSzPts val="6200"/>
              <a:buNone/>
              <a:defRPr sz="8266"/>
            </a:lvl9pPr>
          </a:lstStyle>
          <a:p>
            <a:r>
              <a:t>xx%</a:t>
            </a:r>
          </a:p>
        </p:txBody>
      </p:sp>
      <p:sp>
        <p:nvSpPr>
          <p:cNvPr id="1214" name="Google Shape;1214;p21"/>
          <p:cNvSpPr txBox="1">
            <a:spLocks noGrp="1"/>
          </p:cNvSpPr>
          <p:nvPr>
            <p:ph type="subTitle" idx="1"/>
          </p:nvPr>
        </p:nvSpPr>
        <p:spPr>
          <a:xfrm>
            <a:off x="1712000" y="1661367"/>
            <a:ext cx="8768000" cy="5936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215" name="Google Shape;1215;p21"/>
          <p:cNvSpPr txBox="1">
            <a:spLocks noGrp="1"/>
          </p:cNvSpPr>
          <p:nvPr>
            <p:ph type="title" idx="2" hasCustomPrompt="1"/>
          </p:nvPr>
        </p:nvSpPr>
        <p:spPr>
          <a:xfrm>
            <a:off x="1712000" y="2661517"/>
            <a:ext cx="8768000" cy="11044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6200"/>
              <a:buNone/>
              <a:defRPr sz="7333"/>
            </a:lvl1pPr>
            <a:lvl2pPr lvl="1" algn="ctr" rtl="0">
              <a:spcBef>
                <a:spcPts val="0"/>
              </a:spcBef>
              <a:spcAft>
                <a:spcPts val="0"/>
              </a:spcAft>
              <a:buSzPts val="6200"/>
              <a:buNone/>
              <a:defRPr sz="8266"/>
            </a:lvl2pPr>
            <a:lvl3pPr lvl="2" algn="ctr" rtl="0">
              <a:spcBef>
                <a:spcPts val="0"/>
              </a:spcBef>
              <a:spcAft>
                <a:spcPts val="0"/>
              </a:spcAft>
              <a:buSzPts val="6200"/>
              <a:buNone/>
              <a:defRPr sz="8266"/>
            </a:lvl3pPr>
            <a:lvl4pPr lvl="3" algn="ctr" rtl="0">
              <a:spcBef>
                <a:spcPts val="0"/>
              </a:spcBef>
              <a:spcAft>
                <a:spcPts val="0"/>
              </a:spcAft>
              <a:buSzPts val="6200"/>
              <a:buNone/>
              <a:defRPr sz="8266"/>
            </a:lvl4pPr>
            <a:lvl5pPr lvl="4" algn="ctr" rtl="0">
              <a:spcBef>
                <a:spcPts val="0"/>
              </a:spcBef>
              <a:spcAft>
                <a:spcPts val="0"/>
              </a:spcAft>
              <a:buSzPts val="6200"/>
              <a:buNone/>
              <a:defRPr sz="8266"/>
            </a:lvl5pPr>
            <a:lvl6pPr lvl="5" algn="ctr" rtl="0">
              <a:spcBef>
                <a:spcPts val="0"/>
              </a:spcBef>
              <a:spcAft>
                <a:spcPts val="0"/>
              </a:spcAft>
              <a:buSzPts val="6200"/>
              <a:buNone/>
              <a:defRPr sz="8266"/>
            </a:lvl6pPr>
            <a:lvl7pPr lvl="6" algn="ctr" rtl="0">
              <a:spcBef>
                <a:spcPts val="0"/>
              </a:spcBef>
              <a:spcAft>
                <a:spcPts val="0"/>
              </a:spcAft>
              <a:buSzPts val="6200"/>
              <a:buNone/>
              <a:defRPr sz="8266"/>
            </a:lvl7pPr>
            <a:lvl8pPr lvl="7" algn="ctr" rtl="0">
              <a:spcBef>
                <a:spcPts val="0"/>
              </a:spcBef>
              <a:spcAft>
                <a:spcPts val="0"/>
              </a:spcAft>
              <a:buSzPts val="6200"/>
              <a:buNone/>
              <a:defRPr sz="8266"/>
            </a:lvl8pPr>
            <a:lvl9pPr lvl="8" algn="ctr" rtl="0">
              <a:spcBef>
                <a:spcPts val="0"/>
              </a:spcBef>
              <a:spcAft>
                <a:spcPts val="0"/>
              </a:spcAft>
              <a:buSzPts val="6200"/>
              <a:buNone/>
              <a:defRPr sz="8266"/>
            </a:lvl9pPr>
          </a:lstStyle>
          <a:p>
            <a:r>
              <a:t>xx%</a:t>
            </a:r>
          </a:p>
        </p:txBody>
      </p:sp>
      <p:sp>
        <p:nvSpPr>
          <p:cNvPr id="1216" name="Google Shape;1216;p21"/>
          <p:cNvSpPr txBox="1">
            <a:spLocks noGrp="1"/>
          </p:cNvSpPr>
          <p:nvPr>
            <p:ph type="subTitle" idx="3"/>
          </p:nvPr>
        </p:nvSpPr>
        <p:spPr>
          <a:xfrm>
            <a:off x="1712000" y="3602884"/>
            <a:ext cx="8768000" cy="5936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217" name="Google Shape;1217;p21"/>
          <p:cNvSpPr txBox="1">
            <a:spLocks noGrp="1"/>
          </p:cNvSpPr>
          <p:nvPr>
            <p:ph type="title" idx="4" hasCustomPrompt="1"/>
          </p:nvPr>
        </p:nvSpPr>
        <p:spPr>
          <a:xfrm>
            <a:off x="1712000" y="4603051"/>
            <a:ext cx="8768000" cy="11044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6200"/>
              <a:buNone/>
              <a:defRPr sz="7333"/>
            </a:lvl1pPr>
            <a:lvl2pPr lvl="1" algn="ctr" rtl="0">
              <a:spcBef>
                <a:spcPts val="0"/>
              </a:spcBef>
              <a:spcAft>
                <a:spcPts val="0"/>
              </a:spcAft>
              <a:buSzPts val="6200"/>
              <a:buNone/>
              <a:defRPr sz="8266"/>
            </a:lvl2pPr>
            <a:lvl3pPr lvl="2" algn="ctr" rtl="0">
              <a:spcBef>
                <a:spcPts val="0"/>
              </a:spcBef>
              <a:spcAft>
                <a:spcPts val="0"/>
              </a:spcAft>
              <a:buSzPts val="6200"/>
              <a:buNone/>
              <a:defRPr sz="8266"/>
            </a:lvl3pPr>
            <a:lvl4pPr lvl="3" algn="ctr" rtl="0">
              <a:spcBef>
                <a:spcPts val="0"/>
              </a:spcBef>
              <a:spcAft>
                <a:spcPts val="0"/>
              </a:spcAft>
              <a:buSzPts val="6200"/>
              <a:buNone/>
              <a:defRPr sz="8266"/>
            </a:lvl4pPr>
            <a:lvl5pPr lvl="4" algn="ctr" rtl="0">
              <a:spcBef>
                <a:spcPts val="0"/>
              </a:spcBef>
              <a:spcAft>
                <a:spcPts val="0"/>
              </a:spcAft>
              <a:buSzPts val="6200"/>
              <a:buNone/>
              <a:defRPr sz="8266"/>
            </a:lvl5pPr>
            <a:lvl6pPr lvl="5" algn="ctr" rtl="0">
              <a:spcBef>
                <a:spcPts val="0"/>
              </a:spcBef>
              <a:spcAft>
                <a:spcPts val="0"/>
              </a:spcAft>
              <a:buSzPts val="6200"/>
              <a:buNone/>
              <a:defRPr sz="8266"/>
            </a:lvl6pPr>
            <a:lvl7pPr lvl="6" algn="ctr" rtl="0">
              <a:spcBef>
                <a:spcPts val="0"/>
              </a:spcBef>
              <a:spcAft>
                <a:spcPts val="0"/>
              </a:spcAft>
              <a:buSzPts val="6200"/>
              <a:buNone/>
              <a:defRPr sz="8266"/>
            </a:lvl7pPr>
            <a:lvl8pPr lvl="7" algn="ctr" rtl="0">
              <a:spcBef>
                <a:spcPts val="0"/>
              </a:spcBef>
              <a:spcAft>
                <a:spcPts val="0"/>
              </a:spcAft>
              <a:buSzPts val="6200"/>
              <a:buNone/>
              <a:defRPr sz="8266"/>
            </a:lvl8pPr>
            <a:lvl9pPr lvl="8" algn="ctr" rtl="0">
              <a:spcBef>
                <a:spcPts val="0"/>
              </a:spcBef>
              <a:spcAft>
                <a:spcPts val="0"/>
              </a:spcAft>
              <a:buSzPts val="6200"/>
              <a:buNone/>
              <a:defRPr sz="8266"/>
            </a:lvl9pPr>
          </a:lstStyle>
          <a:p>
            <a:r>
              <a:t>xx%</a:t>
            </a:r>
          </a:p>
        </p:txBody>
      </p:sp>
      <p:sp>
        <p:nvSpPr>
          <p:cNvPr id="1218" name="Google Shape;1218;p21"/>
          <p:cNvSpPr txBox="1">
            <a:spLocks noGrp="1"/>
          </p:cNvSpPr>
          <p:nvPr>
            <p:ph type="subTitle" idx="5"/>
          </p:nvPr>
        </p:nvSpPr>
        <p:spPr>
          <a:xfrm>
            <a:off x="1712000" y="5544417"/>
            <a:ext cx="8768000" cy="5936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grpSp>
        <p:nvGrpSpPr>
          <p:cNvPr id="1219" name="Google Shape;1219;p21"/>
          <p:cNvGrpSpPr/>
          <p:nvPr/>
        </p:nvGrpSpPr>
        <p:grpSpPr>
          <a:xfrm>
            <a:off x="0" y="720001"/>
            <a:ext cx="12191987" cy="5899635"/>
            <a:chOff x="0" y="540001"/>
            <a:chExt cx="9143990" cy="4424726"/>
          </a:xfrm>
        </p:grpSpPr>
        <p:grpSp>
          <p:nvGrpSpPr>
            <p:cNvPr id="1220" name="Google Shape;1220;p21"/>
            <p:cNvGrpSpPr/>
            <p:nvPr/>
          </p:nvGrpSpPr>
          <p:grpSpPr>
            <a:xfrm>
              <a:off x="7289388" y="540001"/>
              <a:ext cx="1854602" cy="510100"/>
              <a:chOff x="6532638" y="1585075"/>
              <a:chExt cx="619150" cy="170300"/>
            </a:xfrm>
          </p:grpSpPr>
          <p:sp>
            <p:nvSpPr>
              <p:cNvPr id="1221" name="Google Shape;1221;p21"/>
              <p:cNvSpPr/>
              <p:nvPr/>
            </p:nvSpPr>
            <p:spPr>
              <a:xfrm>
                <a:off x="6532638" y="1585075"/>
                <a:ext cx="619150" cy="170300"/>
              </a:xfrm>
              <a:custGeom>
                <a:avLst/>
                <a:gdLst/>
                <a:ahLst/>
                <a:cxnLst/>
                <a:rect l="l" t="t" r="r" b="b"/>
                <a:pathLst>
                  <a:path w="24766" h="6812" extrusionOk="0">
                    <a:moveTo>
                      <a:pt x="1" y="1"/>
                    </a:moveTo>
                    <a:lnTo>
                      <a:pt x="1" y="6811"/>
                    </a:lnTo>
                    <a:lnTo>
                      <a:pt x="24766" y="6811"/>
                    </a:lnTo>
                    <a:lnTo>
                      <a:pt x="24766" y="1"/>
                    </a:lnTo>
                    <a:close/>
                  </a:path>
                </a:pathLst>
              </a:custGeom>
              <a:solidFill>
                <a:srgbClr val="FF7D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22" name="Google Shape;1222;p21"/>
              <p:cNvSpPr/>
              <p:nvPr/>
            </p:nvSpPr>
            <p:spPr>
              <a:xfrm>
                <a:off x="6555263" y="1585075"/>
                <a:ext cx="14325" cy="170300"/>
              </a:xfrm>
              <a:custGeom>
                <a:avLst/>
                <a:gdLst/>
                <a:ahLst/>
                <a:cxnLst/>
                <a:rect l="l" t="t" r="r" b="b"/>
                <a:pathLst>
                  <a:path w="573" h="6812" extrusionOk="0">
                    <a:moveTo>
                      <a:pt x="1" y="1"/>
                    </a:moveTo>
                    <a:lnTo>
                      <a:pt x="1"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23" name="Google Shape;1223;p21"/>
              <p:cNvSpPr/>
              <p:nvPr/>
            </p:nvSpPr>
            <p:spPr>
              <a:xfrm>
                <a:off x="6595738" y="1585075"/>
                <a:ext cx="14325" cy="170300"/>
              </a:xfrm>
              <a:custGeom>
                <a:avLst/>
                <a:gdLst/>
                <a:ahLst/>
                <a:cxnLst/>
                <a:rect l="l" t="t" r="r" b="b"/>
                <a:pathLst>
                  <a:path w="573" h="6812" extrusionOk="0">
                    <a:moveTo>
                      <a:pt x="1" y="1"/>
                    </a:moveTo>
                    <a:lnTo>
                      <a:pt x="1"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24" name="Google Shape;1224;p21"/>
              <p:cNvSpPr/>
              <p:nvPr/>
            </p:nvSpPr>
            <p:spPr>
              <a:xfrm>
                <a:off x="6636238" y="1585075"/>
                <a:ext cx="14300" cy="170300"/>
              </a:xfrm>
              <a:custGeom>
                <a:avLst/>
                <a:gdLst/>
                <a:ahLst/>
                <a:cxnLst/>
                <a:rect l="l" t="t" r="r" b="b"/>
                <a:pathLst>
                  <a:path w="572" h="6812" extrusionOk="0">
                    <a:moveTo>
                      <a:pt x="0" y="1"/>
                    </a:moveTo>
                    <a:lnTo>
                      <a:pt x="0"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25" name="Google Shape;1225;p21"/>
              <p:cNvSpPr/>
              <p:nvPr/>
            </p:nvSpPr>
            <p:spPr>
              <a:xfrm>
                <a:off x="6676713" y="1585075"/>
                <a:ext cx="14300" cy="170300"/>
              </a:xfrm>
              <a:custGeom>
                <a:avLst/>
                <a:gdLst/>
                <a:ahLst/>
                <a:cxnLst/>
                <a:rect l="l" t="t" r="r" b="b"/>
                <a:pathLst>
                  <a:path w="572" h="6812" extrusionOk="0">
                    <a:moveTo>
                      <a:pt x="0" y="1"/>
                    </a:moveTo>
                    <a:lnTo>
                      <a:pt x="0"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26" name="Google Shape;1226;p21"/>
              <p:cNvSpPr/>
              <p:nvPr/>
            </p:nvSpPr>
            <p:spPr>
              <a:xfrm>
                <a:off x="6717188" y="1585075"/>
                <a:ext cx="14325" cy="170300"/>
              </a:xfrm>
              <a:custGeom>
                <a:avLst/>
                <a:gdLst/>
                <a:ahLst/>
                <a:cxnLst/>
                <a:rect l="l" t="t" r="r" b="b"/>
                <a:pathLst>
                  <a:path w="573" h="6812" extrusionOk="0">
                    <a:moveTo>
                      <a:pt x="1" y="1"/>
                    </a:moveTo>
                    <a:lnTo>
                      <a:pt x="1"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27" name="Google Shape;1227;p21"/>
              <p:cNvSpPr/>
              <p:nvPr/>
            </p:nvSpPr>
            <p:spPr>
              <a:xfrm>
                <a:off x="6757663" y="1585075"/>
                <a:ext cx="14325" cy="170300"/>
              </a:xfrm>
              <a:custGeom>
                <a:avLst/>
                <a:gdLst/>
                <a:ahLst/>
                <a:cxnLst/>
                <a:rect l="l" t="t" r="r" b="b"/>
                <a:pathLst>
                  <a:path w="573" h="6812" extrusionOk="0">
                    <a:moveTo>
                      <a:pt x="1" y="1"/>
                    </a:moveTo>
                    <a:lnTo>
                      <a:pt x="1"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28" name="Google Shape;1228;p21"/>
              <p:cNvSpPr/>
              <p:nvPr/>
            </p:nvSpPr>
            <p:spPr>
              <a:xfrm>
                <a:off x="6798163" y="1585075"/>
                <a:ext cx="14300" cy="170300"/>
              </a:xfrm>
              <a:custGeom>
                <a:avLst/>
                <a:gdLst/>
                <a:ahLst/>
                <a:cxnLst/>
                <a:rect l="l" t="t" r="r" b="b"/>
                <a:pathLst>
                  <a:path w="572" h="6812" extrusionOk="0">
                    <a:moveTo>
                      <a:pt x="0" y="1"/>
                    </a:moveTo>
                    <a:lnTo>
                      <a:pt x="0"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29" name="Google Shape;1229;p21"/>
              <p:cNvSpPr/>
              <p:nvPr/>
            </p:nvSpPr>
            <p:spPr>
              <a:xfrm>
                <a:off x="6838638" y="1585075"/>
                <a:ext cx="14300" cy="170300"/>
              </a:xfrm>
              <a:custGeom>
                <a:avLst/>
                <a:gdLst/>
                <a:ahLst/>
                <a:cxnLst/>
                <a:rect l="l" t="t" r="r" b="b"/>
                <a:pathLst>
                  <a:path w="572" h="6812" extrusionOk="0">
                    <a:moveTo>
                      <a:pt x="0" y="1"/>
                    </a:moveTo>
                    <a:lnTo>
                      <a:pt x="0"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30" name="Google Shape;1230;p21"/>
              <p:cNvSpPr/>
              <p:nvPr/>
            </p:nvSpPr>
            <p:spPr>
              <a:xfrm>
                <a:off x="6879113" y="1585075"/>
                <a:ext cx="14325" cy="170300"/>
              </a:xfrm>
              <a:custGeom>
                <a:avLst/>
                <a:gdLst/>
                <a:ahLst/>
                <a:cxnLst/>
                <a:rect l="l" t="t" r="r" b="b"/>
                <a:pathLst>
                  <a:path w="573" h="6812" extrusionOk="0">
                    <a:moveTo>
                      <a:pt x="1" y="1"/>
                    </a:moveTo>
                    <a:lnTo>
                      <a:pt x="1"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31" name="Google Shape;1231;p21"/>
              <p:cNvSpPr/>
              <p:nvPr/>
            </p:nvSpPr>
            <p:spPr>
              <a:xfrm>
                <a:off x="6919588" y="1585075"/>
                <a:ext cx="14325" cy="170300"/>
              </a:xfrm>
              <a:custGeom>
                <a:avLst/>
                <a:gdLst/>
                <a:ahLst/>
                <a:cxnLst/>
                <a:rect l="l" t="t" r="r" b="b"/>
                <a:pathLst>
                  <a:path w="573" h="6812" extrusionOk="0">
                    <a:moveTo>
                      <a:pt x="1" y="1"/>
                    </a:moveTo>
                    <a:lnTo>
                      <a:pt x="1"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32" name="Google Shape;1232;p21"/>
              <p:cNvSpPr/>
              <p:nvPr/>
            </p:nvSpPr>
            <p:spPr>
              <a:xfrm>
                <a:off x="6960088" y="1585075"/>
                <a:ext cx="14300" cy="170300"/>
              </a:xfrm>
              <a:custGeom>
                <a:avLst/>
                <a:gdLst/>
                <a:ahLst/>
                <a:cxnLst/>
                <a:rect l="l" t="t" r="r" b="b"/>
                <a:pathLst>
                  <a:path w="572" h="6812" extrusionOk="0">
                    <a:moveTo>
                      <a:pt x="0" y="1"/>
                    </a:moveTo>
                    <a:lnTo>
                      <a:pt x="0"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33" name="Google Shape;1233;p21"/>
              <p:cNvSpPr/>
              <p:nvPr/>
            </p:nvSpPr>
            <p:spPr>
              <a:xfrm>
                <a:off x="7000563" y="1585075"/>
                <a:ext cx="14300" cy="170300"/>
              </a:xfrm>
              <a:custGeom>
                <a:avLst/>
                <a:gdLst/>
                <a:ahLst/>
                <a:cxnLst/>
                <a:rect l="l" t="t" r="r" b="b"/>
                <a:pathLst>
                  <a:path w="572" h="6812" extrusionOk="0">
                    <a:moveTo>
                      <a:pt x="0" y="1"/>
                    </a:moveTo>
                    <a:lnTo>
                      <a:pt x="0"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34" name="Google Shape;1234;p21"/>
              <p:cNvSpPr/>
              <p:nvPr/>
            </p:nvSpPr>
            <p:spPr>
              <a:xfrm>
                <a:off x="7041038" y="1585075"/>
                <a:ext cx="14325" cy="170300"/>
              </a:xfrm>
              <a:custGeom>
                <a:avLst/>
                <a:gdLst/>
                <a:ahLst/>
                <a:cxnLst/>
                <a:rect l="l" t="t" r="r" b="b"/>
                <a:pathLst>
                  <a:path w="573" h="6812" extrusionOk="0">
                    <a:moveTo>
                      <a:pt x="1" y="1"/>
                    </a:moveTo>
                    <a:lnTo>
                      <a:pt x="1"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35" name="Google Shape;1235;p21"/>
              <p:cNvSpPr/>
              <p:nvPr/>
            </p:nvSpPr>
            <p:spPr>
              <a:xfrm>
                <a:off x="7081213" y="1585075"/>
                <a:ext cx="14625" cy="170300"/>
              </a:xfrm>
              <a:custGeom>
                <a:avLst/>
                <a:gdLst/>
                <a:ahLst/>
                <a:cxnLst/>
                <a:rect l="l" t="t" r="r" b="b"/>
                <a:pathLst>
                  <a:path w="585" h="6812" extrusionOk="0">
                    <a:moveTo>
                      <a:pt x="1" y="1"/>
                    </a:moveTo>
                    <a:lnTo>
                      <a:pt x="1" y="6811"/>
                    </a:lnTo>
                    <a:lnTo>
                      <a:pt x="584" y="6811"/>
                    </a:lnTo>
                    <a:lnTo>
                      <a:pt x="584"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36" name="Google Shape;1236;p21"/>
              <p:cNvSpPr/>
              <p:nvPr/>
            </p:nvSpPr>
            <p:spPr>
              <a:xfrm>
                <a:off x="7121713" y="1585075"/>
                <a:ext cx="14600" cy="170300"/>
              </a:xfrm>
              <a:custGeom>
                <a:avLst/>
                <a:gdLst/>
                <a:ahLst/>
                <a:cxnLst/>
                <a:rect l="l" t="t" r="r" b="b"/>
                <a:pathLst>
                  <a:path w="584" h="6812" extrusionOk="0">
                    <a:moveTo>
                      <a:pt x="0" y="1"/>
                    </a:moveTo>
                    <a:lnTo>
                      <a:pt x="0" y="6811"/>
                    </a:lnTo>
                    <a:lnTo>
                      <a:pt x="584" y="6811"/>
                    </a:lnTo>
                    <a:lnTo>
                      <a:pt x="584"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237" name="Google Shape;1237;p21"/>
            <p:cNvGrpSpPr/>
            <p:nvPr/>
          </p:nvGrpSpPr>
          <p:grpSpPr>
            <a:xfrm>
              <a:off x="484364" y="708669"/>
              <a:ext cx="852387" cy="828311"/>
              <a:chOff x="5109838" y="3156700"/>
              <a:chExt cx="306625" cy="297975"/>
            </a:xfrm>
          </p:grpSpPr>
          <p:sp>
            <p:nvSpPr>
              <p:cNvPr id="1238" name="Google Shape;1238;p21"/>
              <p:cNvSpPr/>
              <p:nvPr/>
            </p:nvSpPr>
            <p:spPr>
              <a:xfrm>
                <a:off x="5246763" y="3180825"/>
                <a:ext cx="65525" cy="273850"/>
              </a:xfrm>
              <a:custGeom>
                <a:avLst/>
                <a:gdLst/>
                <a:ahLst/>
                <a:cxnLst/>
                <a:rect l="l" t="t" r="r" b="b"/>
                <a:pathLst>
                  <a:path w="2621" h="10954" extrusionOk="0">
                    <a:moveTo>
                      <a:pt x="1" y="0"/>
                    </a:moveTo>
                    <a:lnTo>
                      <a:pt x="1" y="10954"/>
                    </a:lnTo>
                    <a:lnTo>
                      <a:pt x="2620" y="10954"/>
                    </a:lnTo>
                    <a:lnTo>
                      <a:pt x="2620"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39" name="Google Shape;1239;p21"/>
              <p:cNvSpPr/>
              <p:nvPr/>
            </p:nvSpPr>
            <p:spPr>
              <a:xfrm>
                <a:off x="5142888" y="3285000"/>
                <a:ext cx="273575" cy="65500"/>
              </a:xfrm>
              <a:custGeom>
                <a:avLst/>
                <a:gdLst/>
                <a:ahLst/>
                <a:cxnLst/>
                <a:rect l="l" t="t" r="r" b="b"/>
                <a:pathLst>
                  <a:path w="10943" h="2620" extrusionOk="0">
                    <a:moveTo>
                      <a:pt x="0" y="0"/>
                    </a:moveTo>
                    <a:lnTo>
                      <a:pt x="0" y="2620"/>
                    </a:lnTo>
                    <a:lnTo>
                      <a:pt x="10942" y="2620"/>
                    </a:lnTo>
                    <a:lnTo>
                      <a:pt x="10942"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40" name="Google Shape;1240;p21"/>
              <p:cNvSpPr/>
              <p:nvPr/>
            </p:nvSpPr>
            <p:spPr>
              <a:xfrm>
                <a:off x="5214038" y="3156700"/>
                <a:ext cx="65500" cy="273575"/>
              </a:xfrm>
              <a:custGeom>
                <a:avLst/>
                <a:gdLst/>
                <a:ahLst/>
                <a:cxnLst/>
                <a:rect l="l" t="t" r="r" b="b"/>
                <a:pathLst>
                  <a:path w="2620" h="10943" extrusionOk="0">
                    <a:moveTo>
                      <a:pt x="0" y="1"/>
                    </a:moveTo>
                    <a:lnTo>
                      <a:pt x="0" y="10942"/>
                    </a:lnTo>
                    <a:lnTo>
                      <a:pt x="2619" y="10942"/>
                    </a:lnTo>
                    <a:lnTo>
                      <a:pt x="2619" y="1"/>
                    </a:lnTo>
                    <a:close/>
                  </a:path>
                </a:pathLst>
              </a:custGeom>
              <a:solidFill>
                <a:srgbClr val="2DD5E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41" name="Google Shape;1241;p21"/>
              <p:cNvSpPr/>
              <p:nvPr/>
            </p:nvSpPr>
            <p:spPr>
              <a:xfrm>
                <a:off x="5109838" y="3260575"/>
                <a:ext cx="273875" cy="65525"/>
              </a:xfrm>
              <a:custGeom>
                <a:avLst/>
                <a:gdLst/>
                <a:ahLst/>
                <a:cxnLst/>
                <a:rect l="l" t="t" r="r" b="b"/>
                <a:pathLst>
                  <a:path w="10955" h="2621" extrusionOk="0">
                    <a:moveTo>
                      <a:pt x="1" y="1"/>
                    </a:moveTo>
                    <a:lnTo>
                      <a:pt x="1" y="2620"/>
                    </a:lnTo>
                    <a:lnTo>
                      <a:pt x="10955" y="2620"/>
                    </a:lnTo>
                    <a:lnTo>
                      <a:pt x="10955" y="1"/>
                    </a:lnTo>
                    <a:close/>
                  </a:path>
                </a:pathLst>
              </a:custGeom>
              <a:solidFill>
                <a:srgbClr val="2DD5E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242" name="Google Shape;1242;p21"/>
            <p:cNvGrpSpPr/>
            <p:nvPr/>
          </p:nvGrpSpPr>
          <p:grpSpPr>
            <a:xfrm>
              <a:off x="7790511" y="3313259"/>
              <a:ext cx="852377" cy="845055"/>
              <a:chOff x="8199075" y="707526"/>
              <a:chExt cx="698498" cy="692498"/>
            </a:xfrm>
          </p:grpSpPr>
          <p:sp>
            <p:nvSpPr>
              <p:cNvPr id="1243" name="Google Shape;1243;p21"/>
              <p:cNvSpPr/>
              <p:nvPr/>
            </p:nvSpPr>
            <p:spPr>
              <a:xfrm>
                <a:off x="8323973" y="832424"/>
                <a:ext cx="573600" cy="567600"/>
              </a:xfrm>
              <a:prstGeom prst="ellipse">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44" name="Google Shape;1244;p21"/>
              <p:cNvSpPr/>
              <p:nvPr/>
            </p:nvSpPr>
            <p:spPr>
              <a:xfrm>
                <a:off x="8199075" y="707526"/>
                <a:ext cx="573600" cy="5676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245" name="Google Shape;1245;p21"/>
            <p:cNvSpPr/>
            <p:nvPr/>
          </p:nvSpPr>
          <p:spPr>
            <a:xfrm rot="5400000">
              <a:off x="366600" y="3791727"/>
              <a:ext cx="806400" cy="15396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1246" name="Google Shape;1246;p21"/>
            <p:cNvGrpSpPr/>
            <p:nvPr/>
          </p:nvGrpSpPr>
          <p:grpSpPr>
            <a:xfrm rot="-5400000">
              <a:off x="728227" y="3713842"/>
              <a:ext cx="828297" cy="578500"/>
              <a:chOff x="5059762" y="4251410"/>
              <a:chExt cx="766800" cy="535549"/>
            </a:xfrm>
          </p:grpSpPr>
          <p:sp>
            <p:nvSpPr>
              <p:cNvPr id="1247" name="Google Shape;1247;p21"/>
              <p:cNvSpPr/>
              <p:nvPr/>
            </p:nvSpPr>
            <p:spPr>
              <a:xfrm>
                <a:off x="5524244" y="4251410"/>
                <a:ext cx="302318" cy="535549"/>
              </a:xfrm>
              <a:custGeom>
                <a:avLst/>
                <a:gdLst/>
                <a:ahLst/>
                <a:cxnLst/>
                <a:rect l="l" t="t" r="r" b="b"/>
                <a:pathLst>
                  <a:path w="4882" h="8648" extrusionOk="0">
                    <a:moveTo>
                      <a:pt x="821" y="0"/>
                    </a:moveTo>
                    <a:cubicBezTo>
                      <a:pt x="654" y="0"/>
                      <a:pt x="486" y="55"/>
                      <a:pt x="346" y="170"/>
                    </a:cubicBezTo>
                    <a:cubicBezTo>
                      <a:pt x="167" y="313"/>
                      <a:pt x="84" y="527"/>
                      <a:pt x="84" y="742"/>
                    </a:cubicBezTo>
                    <a:cubicBezTo>
                      <a:pt x="84" y="908"/>
                      <a:pt x="131" y="1075"/>
                      <a:pt x="250" y="1218"/>
                    </a:cubicBezTo>
                    <a:lnTo>
                      <a:pt x="3060" y="4623"/>
                    </a:lnTo>
                    <a:lnTo>
                      <a:pt x="298" y="7373"/>
                    </a:lnTo>
                    <a:cubicBezTo>
                      <a:pt x="12" y="7671"/>
                      <a:pt x="0" y="8135"/>
                      <a:pt x="298" y="8433"/>
                    </a:cubicBezTo>
                    <a:cubicBezTo>
                      <a:pt x="441" y="8576"/>
                      <a:pt x="631" y="8647"/>
                      <a:pt x="822" y="8647"/>
                    </a:cubicBezTo>
                    <a:cubicBezTo>
                      <a:pt x="1012" y="8647"/>
                      <a:pt x="1203" y="8576"/>
                      <a:pt x="1346" y="8433"/>
                    </a:cubicBezTo>
                    <a:lnTo>
                      <a:pt x="4584" y="5194"/>
                    </a:lnTo>
                    <a:cubicBezTo>
                      <a:pt x="4858" y="4933"/>
                      <a:pt x="4882" y="4492"/>
                      <a:pt x="4632" y="4206"/>
                    </a:cubicBezTo>
                    <a:lnTo>
                      <a:pt x="1393" y="265"/>
                    </a:lnTo>
                    <a:cubicBezTo>
                      <a:pt x="1246" y="91"/>
                      <a:pt x="1035" y="0"/>
                      <a:pt x="82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48" name="Google Shape;1248;p21"/>
              <p:cNvSpPr/>
              <p:nvPr/>
            </p:nvSpPr>
            <p:spPr>
              <a:xfrm>
                <a:off x="5291972" y="4251410"/>
                <a:ext cx="302380" cy="535549"/>
              </a:xfrm>
              <a:custGeom>
                <a:avLst/>
                <a:gdLst/>
                <a:ahLst/>
                <a:cxnLst/>
                <a:rect l="l" t="t" r="r" b="b"/>
                <a:pathLst>
                  <a:path w="4883" h="8648" extrusionOk="0">
                    <a:moveTo>
                      <a:pt x="822" y="0"/>
                    </a:moveTo>
                    <a:cubicBezTo>
                      <a:pt x="655" y="0"/>
                      <a:pt x="487" y="55"/>
                      <a:pt x="346" y="170"/>
                    </a:cubicBezTo>
                    <a:cubicBezTo>
                      <a:pt x="168" y="313"/>
                      <a:pt x="72" y="527"/>
                      <a:pt x="72" y="742"/>
                    </a:cubicBezTo>
                    <a:cubicBezTo>
                      <a:pt x="72" y="908"/>
                      <a:pt x="132" y="1075"/>
                      <a:pt x="251" y="1218"/>
                    </a:cubicBezTo>
                    <a:lnTo>
                      <a:pt x="3061" y="4623"/>
                    </a:lnTo>
                    <a:lnTo>
                      <a:pt x="298" y="7373"/>
                    </a:lnTo>
                    <a:cubicBezTo>
                      <a:pt x="1" y="7671"/>
                      <a:pt x="1" y="8135"/>
                      <a:pt x="298" y="8433"/>
                    </a:cubicBezTo>
                    <a:cubicBezTo>
                      <a:pt x="441" y="8576"/>
                      <a:pt x="629" y="8647"/>
                      <a:pt x="818" y="8647"/>
                    </a:cubicBezTo>
                    <a:cubicBezTo>
                      <a:pt x="1007" y="8647"/>
                      <a:pt x="1197" y="8576"/>
                      <a:pt x="1346" y="8433"/>
                    </a:cubicBezTo>
                    <a:lnTo>
                      <a:pt x="4585" y="5194"/>
                    </a:lnTo>
                    <a:cubicBezTo>
                      <a:pt x="4859" y="4933"/>
                      <a:pt x="4882" y="4492"/>
                      <a:pt x="4632" y="4206"/>
                    </a:cubicBezTo>
                    <a:lnTo>
                      <a:pt x="1394" y="265"/>
                    </a:lnTo>
                    <a:cubicBezTo>
                      <a:pt x="1247" y="91"/>
                      <a:pt x="1035" y="0"/>
                      <a:pt x="82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49" name="Google Shape;1249;p21"/>
              <p:cNvSpPr/>
              <p:nvPr/>
            </p:nvSpPr>
            <p:spPr>
              <a:xfrm>
                <a:off x="5059762" y="4251410"/>
                <a:ext cx="302318" cy="535549"/>
              </a:xfrm>
              <a:custGeom>
                <a:avLst/>
                <a:gdLst/>
                <a:ahLst/>
                <a:cxnLst/>
                <a:rect l="l" t="t" r="r" b="b"/>
                <a:pathLst>
                  <a:path w="4882" h="8648" extrusionOk="0">
                    <a:moveTo>
                      <a:pt x="821" y="0"/>
                    </a:moveTo>
                    <a:cubicBezTo>
                      <a:pt x="655" y="0"/>
                      <a:pt x="486" y="55"/>
                      <a:pt x="346" y="170"/>
                    </a:cubicBezTo>
                    <a:cubicBezTo>
                      <a:pt x="167" y="313"/>
                      <a:pt x="72" y="527"/>
                      <a:pt x="72" y="742"/>
                    </a:cubicBezTo>
                    <a:cubicBezTo>
                      <a:pt x="72" y="908"/>
                      <a:pt x="131" y="1075"/>
                      <a:pt x="238" y="1218"/>
                    </a:cubicBezTo>
                    <a:lnTo>
                      <a:pt x="3060" y="4623"/>
                    </a:lnTo>
                    <a:lnTo>
                      <a:pt x="298" y="7373"/>
                    </a:lnTo>
                    <a:cubicBezTo>
                      <a:pt x="0" y="7671"/>
                      <a:pt x="0" y="8135"/>
                      <a:pt x="298" y="8433"/>
                    </a:cubicBezTo>
                    <a:cubicBezTo>
                      <a:pt x="441" y="8576"/>
                      <a:pt x="628" y="8647"/>
                      <a:pt x="817" y="8647"/>
                    </a:cubicBezTo>
                    <a:cubicBezTo>
                      <a:pt x="1006" y="8647"/>
                      <a:pt x="1197" y="8576"/>
                      <a:pt x="1346" y="8433"/>
                    </a:cubicBezTo>
                    <a:lnTo>
                      <a:pt x="4584" y="5194"/>
                    </a:lnTo>
                    <a:cubicBezTo>
                      <a:pt x="4858" y="4933"/>
                      <a:pt x="4882" y="4492"/>
                      <a:pt x="4632" y="4206"/>
                    </a:cubicBezTo>
                    <a:lnTo>
                      <a:pt x="1393" y="265"/>
                    </a:lnTo>
                    <a:cubicBezTo>
                      <a:pt x="1246" y="91"/>
                      <a:pt x="1035" y="0"/>
                      <a:pt x="82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spTree>
    <p:extLst>
      <p:ext uri="{BB962C8B-B14F-4D97-AF65-F5344CB8AC3E}">
        <p14:creationId xmlns:p14="http://schemas.microsoft.com/office/powerpoint/2010/main" val="42252667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hanks">
  <p:cSld name="Thanks">
    <p:spTree>
      <p:nvGrpSpPr>
        <p:cNvPr id="1" name="Shape 1250"/>
        <p:cNvGrpSpPr/>
        <p:nvPr/>
      </p:nvGrpSpPr>
      <p:grpSpPr>
        <a:xfrm>
          <a:off x="0" y="0"/>
          <a:ext cx="0" cy="0"/>
          <a:chOff x="0" y="0"/>
          <a:chExt cx="0" cy="0"/>
        </a:xfrm>
      </p:grpSpPr>
      <p:grpSp>
        <p:nvGrpSpPr>
          <p:cNvPr id="1251" name="Google Shape;1251;p22"/>
          <p:cNvGrpSpPr/>
          <p:nvPr/>
        </p:nvGrpSpPr>
        <p:grpSpPr>
          <a:xfrm>
            <a:off x="-132666" y="0"/>
            <a:ext cx="12373732" cy="6857917"/>
            <a:chOff x="-99500" y="0"/>
            <a:chExt cx="9280299" cy="5143438"/>
          </a:xfrm>
        </p:grpSpPr>
        <p:sp>
          <p:nvSpPr>
            <p:cNvPr id="1252" name="Google Shape;1252;p22"/>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53" name="Google Shape;1253;p22"/>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54" name="Google Shape;1254;p22"/>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55" name="Google Shape;1255;p22"/>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56" name="Google Shape;1256;p22"/>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57" name="Google Shape;1257;p22"/>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58" name="Google Shape;1258;p22"/>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59" name="Google Shape;1259;p22"/>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60" name="Google Shape;1260;p22"/>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61" name="Google Shape;1261;p22"/>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62" name="Google Shape;1262;p22"/>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63" name="Google Shape;1263;p22"/>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64" name="Google Shape;1264;p22"/>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65" name="Google Shape;1265;p22"/>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66" name="Google Shape;1266;p22"/>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67" name="Google Shape;1267;p22"/>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68" name="Google Shape;1268;p22"/>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69" name="Google Shape;1269;p22"/>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70" name="Google Shape;1270;p22"/>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71" name="Google Shape;1271;p22"/>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72" name="Google Shape;1272;p22"/>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73" name="Google Shape;1273;p22"/>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74" name="Google Shape;1274;p22"/>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75" name="Google Shape;1275;p22"/>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76" name="Google Shape;1276;p22"/>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77" name="Google Shape;1277;p22"/>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78" name="Google Shape;1278;p22"/>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79" name="Google Shape;1279;p22"/>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80" name="Google Shape;1280;p22"/>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81" name="Google Shape;1281;p22"/>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82" name="Google Shape;1282;p22"/>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83" name="Google Shape;1283;p22"/>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84" name="Google Shape;1284;p22"/>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85" name="Google Shape;1285;p22"/>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86" name="Google Shape;1286;p22"/>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87" name="Google Shape;1287;p22"/>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88" name="Google Shape;1288;p22"/>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89" name="Google Shape;1289;p22"/>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90" name="Google Shape;1290;p22"/>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91" name="Google Shape;1291;p22"/>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92" name="Google Shape;1292;p22"/>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93" name="Google Shape;1293;p22"/>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94" name="Google Shape;1294;p22"/>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295" name="Google Shape;1295;p22"/>
          <p:cNvSpPr txBox="1">
            <a:spLocks noGrp="1"/>
          </p:cNvSpPr>
          <p:nvPr>
            <p:ph type="ctrTitle"/>
          </p:nvPr>
        </p:nvSpPr>
        <p:spPr>
          <a:xfrm>
            <a:off x="3239933" y="791500"/>
            <a:ext cx="5712000" cy="13304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5200"/>
              <a:buNone/>
              <a:defRPr sz="10666"/>
            </a:lvl1pPr>
            <a:lvl2pPr lvl="1" algn="ctr" rtl="0">
              <a:spcBef>
                <a:spcPts val="0"/>
              </a:spcBef>
              <a:spcAft>
                <a:spcPts val="0"/>
              </a:spcAft>
              <a:buSzPts val="5200"/>
              <a:buNone/>
              <a:defRPr sz="6933"/>
            </a:lvl2pPr>
            <a:lvl3pPr lvl="2" algn="ctr" rtl="0">
              <a:spcBef>
                <a:spcPts val="0"/>
              </a:spcBef>
              <a:spcAft>
                <a:spcPts val="0"/>
              </a:spcAft>
              <a:buSzPts val="5200"/>
              <a:buNone/>
              <a:defRPr sz="6933"/>
            </a:lvl3pPr>
            <a:lvl4pPr lvl="3" algn="ctr" rtl="0">
              <a:spcBef>
                <a:spcPts val="0"/>
              </a:spcBef>
              <a:spcAft>
                <a:spcPts val="0"/>
              </a:spcAft>
              <a:buSzPts val="5200"/>
              <a:buNone/>
              <a:defRPr sz="6933"/>
            </a:lvl4pPr>
            <a:lvl5pPr lvl="4" algn="ctr" rtl="0">
              <a:spcBef>
                <a:spcPts val="0"/>
              </a:spcBef>
              <a:spcAft>
                <a:spcPts val="0"/>
              </a:spcAft>
              <a:buSzPts val="5200"/>
              <a:buNone/>
              <a:defRPr sz="6933"/>
            </a:lvl5pPr>
            <a:lvl6pPr lvl="5" algn="ctr" rtl="0">
              <a:spcBef>
                <a:spcPts val="0"/>
              </a:spcBef>
              <a:spcAft>
                <a:spcPts val="0"/>
              </a:spcAft>
              <a:buSzPts val="5200"/>
              <a:buNone/>
              <a:defRPr sz="6933"/>
            </a:lvl6pPr>
            <a:lvl7pPr lvl="6" algn="ctr" rtl="0">
              <a:spcBef>
                <a:spcPts val="0"/>
              </a:spcBef>
              <a:spcAft>
                <a:spcPts val="0"/>
              </a:spcAft>
              <a:buSzPts val="5200"/>
              <a:buNone/>
              <a:defRPr sz="6933"/>
            </a:lvl7pPr>
            <a:lvl8pPr lvl="7" algn="ctr" rtl="0">
              <a:spcBef>
                <a:spcPts val="0"/>
              </a:spcBef>
              <a:spcAft>
                <a:spcPts val="0"/>
              </a:spcAft>
              <a:buSzPts val="5200"/>
              <a:buNone/>
              <a:defRPr sz="6933"/>
            </a:lvl8pPr>
            <a:lvl9pPr lvl="8" algn="ctr" rtl="0">
              <a:spcBef>
                <a:spcPts val="0"/>
              </a:spcBef>
              <a:spcAft>
                <a:spcPts val="0"/>
              </a:spcAft>
              <a:buSzPts val="5200"/>
              <a:buNone/>
              <a:defRPr sz="6933"/>
            </a:lvl9pPr>
          </a:lstStyle>
          <a:p>
            <a:endParaRPr/>
          </a:p>
        </p:txBody>
      </p:sp>
      <p:sp>
        <p:nvSpPr>
          <p:cNvPr id="1296" name="Google Shape;1296;p22"/>
          <p:cNvSpPr txBox="1">
            <a:spLocks noGrp="1"/>
          </p:cNvSpPr>
          <p:nvPr>
            <p:ph type="subTitle" idx="1"/>
          </p:nvPr>
        </p:nvSpPr>
        <p:spPr>
          <a:xfrm>
            <a:off x="3233433" y="2171133"/>
            <a:ext cx="5725200" cy="19072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800"/>
              <a:buNone/>
              <a:defRPr sz="1867"/>
            </a:lvl1pPr>
            <a:lvl2pPr lvl="1" algn="ctr" rtl="0">
              <a:lnSpc>
                <a:spcPct val="100000"/>
              </a:lnSpc>
              <a:spcBef>
                <a:spcPts val="0"/>
              </a:spcBef>
              <a:spcAft>
                <a:spcPts val="0"/>
              </a:spcAft>
              <a:buSzPts val="1800"/>
              <a:buNone/>
              <a:defRPr sz="2400"/>
            </a:lvl2pPr>
            <a:lvl3pPr lvl="2" algn="ctr" rtl="0">
              <a:lnSpc>
                <a:spcPct val="100000"/>
              </a:lnSpc>
              <a:spcBef>
                <a:spcPts val="0"/>
              </a:spcBef>
              <a:spcAft>
                <a:spcPts val="0"/>
              </a:spcAft>
              <a:buSzPts val="1800"/>
              <a:buNone/>
              <a:defRPr sz="2400"/>
            </a:lvl3pPr>
            <a:lvl4pPr lvl="3" algn="ctr" rtl="0">
              <a:lnSpc>
                <a:spcPct val="100000"/>
              </a:lnSpc>
              <a:spcBef>
                <a:spcPts val="0"/>
              </a:spcBef>
              <a:spcAft>
                <a:spcPts val="0"/>
              </a:spcAft>
              <a:buSzPts val="1800"/>
              <a:buNone/>
              <a:defRPr sz="2400"/>
            </a:lvl4pPr>
            <a:lvl5pPr lvl="4" algn="ctr" rtl="0">
              <a:lnSpc>
                <a:spcPct val="100000"/>
              </a:lnSpc>
              <a:spcBef>
                <a:spcPts val="0"/>
              </a:spcBef>
              <a:spcAft>
                <a:spcPts val="0"/>
              </a:spcAft>
              <a:buSzPts val="1800"/>
              <a:buNone/>
              <a:defRPr sz="2400"/>
            </a:lvl5pPr>
            <a:lvl6pPr lvl="5" algn="ctr" rtl="0">
              <a:lnSpc>
                <a:spcPct val="100000"/>
              </a:lnSpc>
              <a:spcBef>
                <a:spcPts val="0"/>
              </a:spcBef>
              <a:spcAft>
                <a:spcPts val="0"/>
              </a:spcAft>
              <a:buSzPts val="1800"/>
              <a:buNone/>
              <a:defRPr sz="2400"/>
            </a:lvl6pPr>
            <a:lvl7pPr lvl="6" algn="ctr" rtl="0">
              <a:lnSpc>
                <a:spcPct val="100000"/>
              </a:lnSpc>
              <a:spcBef>
                <a:spcPts val="0"/>
              </a:spcBef>
              <a:spcAft>
                <a:spcPts val="0"/>
              </a:spcAft>
              <a:buSzPts val="1800"/>
              <a:buNone/>
              <a:defRPr sz="2400"/>
            </a:lvl7pPr>
            <a:lvl8pPr lvl="7" algn="ctr" rtl="0">
              <a:lnSpc>
                <a:spcPct val="100000"/>
              </a:lnSpc>
              <a:spcBef>
                <a:spcPts val="0"/>
              </a:spcBef>
              <a:spcAft>
                <a:spcPts val="0"/>
              </a:spcAft>
              <a:buSzPts val="1800"/>
              <a:buNone/>
              <a:defRPr sz="2400"/>
            </a:lvl8pPr>
            <a:lvl9pPr lvl="8" algn="ctr" rtl="0">
              <a:lnSpc>
                <a:spcPct val="100000"/>
              </a:lnSpc>
              <a:spcBef>
                <a:spcPts val="0"/>
              </a:spcBef>
              <a:spcAft>
                <a:spcPts val="0"/>
              </a:spcAft>
              <a:buSzPts val="1800"/>
              <a:buNone/>
              <a:defRPr sz="2400"/>
            </a:lvl9pPr>
          </a:lstStyle>
          <a:p>
            <a:endParaRPr/>
          </a:p>
        </p:txBody>
      </p:sp>
      <p:sp>
        <p:nvSpPr>
          <p:cNvPr id="1297" name="Google Shape;1297;p22"/>
          <p:cNvSpPr txBox="1"/>
          <p:nvPr/>
        </p:nvSpPr>
        <p:spPr>
          <a:xfrm>
            <a:off x="2901733" y="5317200"/>
            <a:ext cx="6388400" cy="820800"/>
          </a:xfrm>
          <a:prstGeom prst="rect">
            <a:avLst/>
          </a:prstGeom>
          <a:noFill/>
          <a:ln>
            <a:noFill/>
          </a:ln>
        </p:spPr>
        <p:txBody>
          <a:bodyPr spcFirstLastPara="1" wrap="square" lIns="121900" tIns="121900" rIns="121900" bIns="121900" anchor="b" anchorCtr="0">
            <a:noAutofit/>
          </a:bodyPr>
          <a:lstStyle/>
          <a:p>
            <a:pPr marL="0" lvl="0" indent="0" algn="ctr" rtl="0">
              <a:lnSpc>
                <a:spcPct val="100000"/>
              </a:lnSpc>
              <a:spcBef>
                <a:spcPts val="400"/>
              </a:spcBef>
              <a:spcAft>
                <a:spcPts val="0"/>
              </a:spcAft>
              <a:buNone/>
            </a:pPr>
            <a:r>
              <a:rPr lang="en" sz="1600" b="1">
                <a:solidFill>
                  <a:schemeClr val="dk2"/>
                </a:solidFill>
                <a:latin typeface="Nunito"/>
                <a:ea typeface="Nunito"/>
                <a:cs typeface="Nunito"/>
                <a:sym typeface="Nunito"/>
              </a:rPr>
              <a:t>CREDITS: </a:t>
            </a:r>
            <a:r>
              <a:rPr lang="en" sz="1600">
                <a:solidFill>
                  <a:schemeClr val="dk2"/>
                </a:solidFill>
                <a:latin typeface="Nunito"/>
                <a:ea typeface="Nunito"/>
                <a:cs typeface="Nunito"/>
                <a:sym typeface="Nunito"/>
              </a:rPr>
              <a:t>This presentation template was created by </a:t>
            </a:r>
            <a:r>
              <a:rPr lang="en" sz="1600">
                <a:solidFill>
                  <a:schemeClr val="dk2"/>
                </a:solidFill>
                <a:uFill>
                  <a:noFill/>
                </a:uFill>
                <a:latin typeface="Nunito"/>
                <a:ea typeface="Nunito"/>
                <a:cs typeface="Nunito"/>
                <a:sym typeface="Nunito"/>
                <a:hlinkClick r:id="rId2">
                  <a:extLst>
                    <a:ext uri="{A12FA001-AC4F-418D-AE19-62706E023703}">
                      <ahyp:hlinkClr xmlns:ahyp="http://schemas.microsoft.com/office/drawing/2018/hyperlinkcolor" val="tx"/>
                    </a:ext>
                  </a:extLst>
                </a:hlinkClick>
              </a:rPr>
              <a:t>Slidesgo</a:t>
            </a:r>
            <a:r>
              <a:rPr lang="en" sz="1600">
                <a:solidFill>
                  <a:schemeClr val="dk2"/>
                </a:solidFill>
                <a:latin typeface="Nunito"/>
                <a:ea typeface="Nunito"/>
                <a:cs typeface="Nunito"/>
                <a:sym typeface="Nunito"/>
              </a:rPr>
              <a:t>, including icons by </a:t>
            </a:r>
            <a:r>
              <a:rPr lang="en" sz="1600">
                <a:solidFill>
                  <a:schemeClr val="dk2"/>
                </a:solidFill>
                <a:uFill>
                  <a:noFill/>
                </a:uFill>
                <a:latin typeface="Nunito"/>
                <a:ea typeface="Nunito"/>
                <a:cs typeface="Nunito"/>
                <a:sym typeface="Nunito"/>
                <a:hlinkClick r:id="rId3">
                  <a:extLst>
                    <a:ext uri="{A12FA001-AC4F-418D-AE19-62706E023703}">
                      <ahyp:hlinkClr xmlns:ahyp="http://schemas.microsoft.com/office/drawing/2018/hyperlinkcolor" val="tx"/>
                    </a:ext>
                  </a:extLst>
                </a:hlinkClick>
              </a:rPr>
              <a:t>Flaticon</a:t>
            </a:r>
            <a:r>
              <a:rPr lang="en" sz="1600">
                <a:solidFill>
                  <a:schemeClr val="dk2"/>
                </a:solidFill>
                <a:latin typeface="Nunito"/>
                <a:ea typeface="Nunito"/>
                <a:cs typeface="Nunito"/>
                <a:sym typeface="Nunito"/>
              </a:rPr>
              <a:t> and infographics &amp; images by </a:t>
            </a:r>
            <a:r>
              <a:rPr lang="en" sz="1600">
                <a:solidFill>
                  <a:schemeClr val="dk2"/>
                </a:solidFill>
                <a:uFill>
                  <a:noFill/>
                </a:uFill>
                <a:latin typeface="Nunito"/>
                <a:ea typeface="Nunito"/>
                <a:cs typeface="Nunito"/>
                <a:sym typeface="Nunito"/>
                <a:hlinkClick r:id="rId4">
                  <a:extLst>
                    <a:ext uri="{A12FA001-AC4F-418D-AE19-62706E023703}">
                      <ahyp:hlinkClr xmlns:ahyp="http://schemas.microsoft.com/office/drawing/2018/hyperlinkcolor" val="tx"/>
                    </a:ext>
                  </a:extLst>
                </a:hlinkClick>
              </a:rPr>
              <a:t>Freepik</a:t>
            </a:r>
            <a:r>
              <a:rPr lang="en" sz="1600">
                <a:solidFill>
                  <a:schemeClr val="dk2"/>
                </a:solidFill>
                <a:latin typeface="Nunito"/>
                <a:ea typeface="Nunito"/>
                <a:cs typeface="Nunito"/>
                <a:sym typeface="Nunito"/>
              </a:rPr>
              <a:t> </a:t>
            </a:r>
            <a:endParaRPr sz="1600">
              <a:solidFill>
                <a:schemeClr val="dk2"/>
              </a:solidFill>
              <a:latin typeface="Nunito"/>
              <a:ea typeface="Nunito"/>
              <a:cs typeface="Nunito"/>
              <a:sym typeface="Nunito"/>
            </a:endParaRPr>
          </a:p>
        </p:txBody>
      </p:sp>
      <p:sp>
        <p:nvSpPr>
          <p:cNvPr id="1298" name="Google Shape;1298;p22"/>
          <p:cNvSpPr/>
          <p:nvPr/>
        </p:nvSpPr>
        <p:spPr>
          <a:xfrm>
            <a:off x="11108800" y="1685933"/>
            <a:ext cx="1083200" cy="2656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1299" name="Google Shape;1299;p22"/>
          <p:cNvGrpSpPr/>
          <p:nvPr/>
        </p:nvGrpSpPr>
        <p:grpSpPr>
          <a:xfrm rot="5400000">
            <a:off x="10151514" y="394192"/>
            <a:ext cx="2039151" cy="2041795"/>
            <a:chOff x="5623313" y="1574950"/>
            <a:chExt cx="720650" cy="721550"/>
          </a:xfrm>
        </p:grpSpPr>
        <p:sp>
          <p:nvSpPr>
            <p:cNvPr id="1300" name="Google Shape;1300;p22"/>
            <p:cNvSpPr/>
            <p:nvPr/>
          </p:nvSpPr>
          <p:spPr>
            <a:xfrm>
              <a:off x="5967688" y="1574950"/>
              <a:ext cx="309300" cy="150650"/>
            </a:xfrm>
            <a:custGeom>
              <a:avLst/>
              <a:gdLst/>
              <a:ahLst/>
              <a:cxnLst/>
              <a:rect l="l" t="t" r="r" b="b"/>
              <a:pathLst>
                <a:path w="12372" h="6026" extrusionOk="0">
                  <a:moveTo>
                    <a:pt x="644" y="1"/>
                  </a:moveTo>
                  <a:cubicBezTo>
                    <a:pt x="429" y="1"/>
                    <a:pt x="215" y="13"/>
                    <a:pt x="1" y="25"/>
                  </a:cubicBezTo>
                  <a:lnTo>
                    <a:pt x="12371" y="6025"/>
                  </a:lnTo>
                  <a:cubicBezTo>
                    <a:pt x="11990" y="5490"/>
                    <a:pt x="11585" y="5002"/>
                    <a:pt x="11145" y="4525"/>
                  </a:cubicBezTo>
                  <a:lnTo>
                    <a:pt x="1941" y="60"/>
                  </a:lnTo>
                  <a:cubicBezTo>
                    <a:pt x="1513" y="25"/>
                    <a:pt x="1084" y="1"/>
                    <a:pt x="64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01" name="Google Shape;1301;p22"/>
            <p:cNvSpPr/>
            <p:nvPr/>
          </p:nvSpPr>
          <p:spPr>
            <a:xfrm>
              <a:off x="5859638" y="1588050"/>
              <a:ext cx="467350" cy="235775"/>
            </a:xfrm>
            <a:custGeom>
              <a:avLst/>
              <a:gdLst/>
              <a:ahLst/>
              <a:cxnLst/>
              <a:rect l="l" t="t" r="r" b="b"/>
              <a:pathLst>
                <a:path w="18694" h="9431" extrusionOk="0">
                  <a:moveTo>
                    <a:pt x="1108" y="1"/>
                  </a:moveTo>
                  <a:cubicBezTo>
                    <a:pt x="739" y="108"/>
                    <a:pt x="358" y="227"/>
                    <a:pt x="1" y="358"/>
                  </a:cubicBezTo>
                  <a:lnTo>
                    <a:pt x="18693" y="9431"/>
                  </a:lnTo>
                  <a:cubicBezTo>
                    <a:pt x="18574" y="9061"/>
                    <a:pt x="18432" y="8692"/>
                    <a:pt x="18289" y="8335"/>
                  </a:cubicBezTo>
                  <a:lnTo>
                    <a:pt x="110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02" name="Google Shape;1302;p22"/>
            <p:cNvSpPr/>
            <p:nvPr/>
          </p:nvSpPr>
          <p:spPr>
            <a:xfrm>
              <a:off x="5784938" y="1622300"/>
              <a:ext cx="558425" cy="283675"/>
            </a:xfrm>
            <a:custGeom>
              <a:avLst/>
              <a:gdLst/>
              <a:ahLst/>
              <a:cxnLst/>
              <a:rect l="l" t="t" r="r" b="b"/>
              <a:pathLst>
                <a:path w="22337" h="11347" extrusionOk="0">
                  <a:moveTo>
                    <a:pt x="810" y="0"/>
                  </a:moveTo>
                  <a:cubicBezTo>
                    <a:pt x="536" y="155"/>
                    <a:pt x="262" y="321"/>
                    <a:pt x="0" y="500"/>
                  </a:cubicBezTo>
                  <a:lnTo>
                    <a:pt x="22336" y="11347"/>
                  </a:lnTo>
                  <a:cubicBezTo>
                    <a:pt x="22313" y="11025"/>
                    <a:pt x="22277" y="10704"/>
                    <a:pt x="22229" y="10394"/>
                  </a:cubicBezTo>
                  <a:lnTo>
                    <a:pt x="81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03" name="Google Shape;1303;p22"/>
            <p:cNvSpPr/>
            <p:nvPr/>
          </p:nvSpPr>
          <p:spPr>
            <a:xfrm>
              <a:off x="5728088" y="1666650"/>
              <a:ext cx="615875" cy="312550"/>
            </a:xfrm>
            <a:custGeom>
              <a:avLst/>
              <a:gdLst/>
              <a:ahLst/>
              <a:cxnLst/>
              <a:rect l="l" t="t" r="r" b="b"/>
              <a:pathLst>
                <a:path w="24635" h="12502" extrusionOk="0">
                  <a:moveTo>
                    <a:pt x="631" y="0"/>
                  </a:moveTo>
                  <a:cubicBezTo>
                    <a:pt x="417" y="191"/>
                    <a:pt x="203" y="381"/>
                    <a:pt x="0" y="583"/>
                  </a:cubicBezTo>
                  <a:lnTo>
                    <a:pt x="24563" y="12502"/>
                  </a:lnTo>
                  <a:cubicBezTo>
                    <a:pt x="24598" y="12216"/>
                    <a:pt x="24622" y="11942"/>
                    <a:pt x="24634" y="11644"/>
                  </a:cubicBezTo>
                  <a:lnTo>
                    <a:pt x="63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04" name="Google Shape;1304;p22"/>
            <p:cNvSpPr/>
            <p:nvPr/>
          </p:nvSpPr>
          <p:spPr>
            <a:xfrm>
              <a:off x="5684613" y="1717825"/>
              <a:ext cx="648625" cy="328350"/>
            </a:xfrm>
            <a:custGeom>
              <a:avLst/>
              <a:gdLst/>
              <a:ahLst/>
              <a:cxnLst/>
              <a:rect l="l" t="t" r="r" b="b"/>
              <a:pathLst>
                <a:path w="25945" h="13134" extrusionOk="0">
                  <a:moveTo>
                    <a:pt x="477" y="1"/>
                  </a:moveTo>
                  <a:cubicBezTo>
                    <a:pt x="310" y="215"/>
                    <a:pt x="156" y="430"/>
                    <a:pt x="1" y="656"/>
                  </a:cubicBezTo>
                  <a:lnTo>
                    <a:pt x="25718" y="13133"/>
                  </a:lnTo>
                  <a:cubicBezTo>
                    <a:pt x="25802" y="12883"/>
                    <a:pt x="25873" y="12622"/>
                    <a:pt x="25945" y="12360"/>
                  </a:cubicBezTo>
                  <a:lnTo>
                    <a:pt x="47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05" name="Google Shape;1305;p22"/>
            <p:cNvSpPr/>
            <p:nvPr/>
          </p:nvSpPr>
          <p:spPr>
            <a:xfrm>
              <a:off x="5652463" y="1774675"/>
              <a:ext cx="657850" cy="333125"/>
            </a:xfrm>
            <a:custGeom>
              <a:avLst/>
              <a:gdLst/>
              <a:ahLst/>
              <a:cxnLst/>
              <a:rect l="l" t="t" r="r" b="b"/>
              <a:pathLst>
                <a:path w="26314" h="13325" extrusionOk="0">
                  <a:moveTo>
                    <a:pt x="346" y="1"/>
                  </a:moveTo>
                  <a:cubicBezTo>
                    <a:pt x="227" y="239"/>
                    <a:pt x="108" y="477"/>
                    <a:pt x="1" y="727"/>
                  </a:cubicBezTo>
                  <a:lnTo>
                    <a:pt x="25957" y="13324"/>
                  </a:lnTo>
                  <a:cubicBezTo>
                    <a:pt x="26088" y="13086"/>
                    <a:pt x="26207" y="12848"/>
                    <a:pt x="26314" y="12598"/>
                  </a:cubicBezTo>
                  <a:lnTo>
                    <a:pt x="34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06" name="Google Shape;1306;p22"/>
            <p:cNvSpPr/>
            <p:nvPr/>
          </p:nvSpPr>
          <p:spPr>
            <a:xfrm>
              <a:off x="5631938" y="1836900"/>
              <a:ext cx="644450" cy="326550"/>
            </a:xfrm>
            <a:custGeom>
              <a:avLst/>
              <a:gdLst/>
              <a:ahLst/>
              <a:cxnLst/>
              <a:rect l="l" t="t" r="r" b="b"/>
              <a:pathLst>
                <a:path w="25778" h="13062" extrusionOk="0">
                  <a:moveTo>
                    <a:pt x="203" y="0"/>
                  </a:moveTo>
                  <a:cubicBezTo>
                    <a:pt x="119" y="262"/>
                    <a:pt x="60" y="536"/>
                    <a:pt x="0" y="798"/>
                  </a:cubicBezTo>
                  <a:lnTo>
                    <a:pt x="25277" y="13062"/>
                  </a:lnTo>
                  <a:cubicBezTo>
                    <a:pt x="25444" y="12859"/>
                    <a:pt x="25611" y="12633"/>
                    <a:pt x="25777" y="12419"/>
                  </a:cubicBezTo>
                  <a:lnTo>
                    <a:pt x="20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07" name="Google Shape;1307;p22"/>
            <p:cNvSpPr/>
            <p:nvPr/>
          </p:nvSpPr>
          <p:spPr>
            <a:xfrm>
              <a:off x="5623313" y="1905050"/>
              <a:ext cx="607225" cy="308700"/>
            </a:xfrm>
            <a:custGeom>
              <a:avLst/>
              <a:gdLst/>
              <a:ahLst/>
              <a:cxnLst/>
              <a:rect l="l" t="t" r="r" b="b"/>
              <a:pathLst>
                <a:path w="24289" h="12348" extrusionOk="0">
                  <a:moveTo>
                    <a:pt x="48" y="1"/>
                  </a:moveTo>
                  <a:cubicBezTo>
                    <a:pt x="24" y="287"/>
                    <a:pt x="12" y="584"/>
                    <a:pt x="0" y="870"/>
                  </a:cubicBezTo>
                  <a:lnTo>
                    <a:pt x="23634" y="12348"/>
                  </a:lnTo>
                  <a:cubicBezTo>
                    <a:pt x="23860" y="12157"/>
                    <a:pt x="24075" y="11967"/>
                    <a:pt x="24289" y="11764"/>
                  </a:cubicBezTo>
                  <a:lnTo>
                    <a:pt x="4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08" name="Google Shape;1308;p22"/>
            <p:cNvSpPr/>
            <p:nvPr/>
          </p:nvSpPr>
          <p:spPr>
            <a:xfrm>
              <a:off x="5625688" y="1979775"/>
              <a:ext cx="545325" cy="276550"/>
            </a:xfrm>
            <a:custGeom>
              <a:avLst/>
              <a:gdLst/>
              <a:ahLst/>
              <a:cxnLst/>
              <a:rect l="l" t="t" r="r" b="b"/>
              <a:pathLst>
                <a:path w="21813" h="11062" extrusionOk="0">
                  <a:moveTo>
                    <a:pt x="0" y="0"/>
                  </a:moveTo>
                  <a:cubicBezTo>
                    <a:pt x="48" y="322"/>
                    <a:pt x="96" y="643"/>
                    <a:pt x="155" y="965"/>
                  </a:cubicBezTo>
                  <a:lnTo>
                    <a:pt x="20955" y="11061"/>
                  </a:lnTo>
                  <a:cubicBezTo>
                    <a:pt x="21253" y="10906"/>
                    <a:pt x="21539" y="10752"/>
                    <a:pt x="21813" y="10585"/>
                  </a:cubicBezTo>
                  <a:lnTo>
                    <a:pt x="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09" name="Google Shape;1309;p22"/>
            <p:cNvSpPr/>
            <p:nvPr/>
          </p:nvSpPr>
          <p:spPr>
            <a:xfrm>
              <a:off x="5646513" y="2064000"/>
              <a:ext cx="445625" cy="224175"/>
            </a:xfrm>
            <a:custGeom>
              <a:avLst/>
              <a:gdLst/>
              <a:ahLst/>
              <a:cxnLst/>
              <a:rect l="l" t="t" r="r" b="b"/>
              <a:pathLst>
                <a:path w="17825" h="8967" extrusionOk="0">
                  <a:moveTo>
                    <a:pt x="1" y="1"/>
                  </a:moveTo>
                  <a:lnTo>
                    <a:pt x="1" y="1"/>
                  </a:lnTo>
                  <a:cubicBezTo>
                    <a:pt x="144" y="382"/>
                    <a:pt x="310" y="763"/>
                    <a:pt x="477" y="1120"/>
                  </a:cubicBezTo>
                  <a:lnTo>
                    <a:pt x="16634" y="8966"/>
                  </a:lnTo>
                  <a:cubicBezTo>
                    <a:pt x="17039" y="8871"/>
                    <a:pt x="17432" y="8764"/>
                    <a:pt x="17824" y="8645"/>
                  </a:cubicBezTo>
                  <a:lnTo>
                    <a:pt x="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10" name="Google Shape;1310;p22"/>
            <p:cNvSpPr/>
            <p:nvPr/>
          </p:nvSpPr>
          <p:spPr>
            <a:xfrm>
              <a:off x="5707238" y="2167600"/>
              <a:ext cx="265550" cy="128900"/>
            </a:xfrm>
            <a:custGeom>
              <a:avLst/>
              <a:gdLst/>
              <a:ahLst/>
              <a:cxnLst/>
              <a:rect l="l" t="t" r="r" b="b"/>
              <a:pathLst>
                <a:path w="10622" h="5156" extrusionOk="0">
                  <a:moveTo>
                    <a:pt x="1" y="0"/>
                  </a:moveTo>
                  <a:lnTo>
                    <a:pt x="1" y="0"/>
                  </a:lnTo>
                  <a:cubicBezTo>
                    <a:pt x="525" y="619"/>
                    <a:pt x="1096" y="1191"/>
                    <a:pt x="1715" y="1727"/>
                  </a:cubicBezTo>
                  <a:lnTo>
                    <a:pt x="8228" y="4882"/>
                  </a:lnTo>
                  <a:cubicBezTo>
                    <a:pt x="9014" y="5037"/>
                    <a:pt x="9811" y="5132"/>
                    <a:pt x="10621" y="5156"/>
                  </a:cubicBezTo>
                  <a:lnTo>
                    <a:pt x="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311" name="Google Shape;1311;p22"/>
          <p:cNvSpPr/>
          <p:nvPr/>
        </p:nvSpPr>
        <p:spPr>
          <a:xfrm>
            <a:off x="10729225" y="5365948"/>
            <a:ext cx="1127279" cy="1353473"/>
          </a:xfrm>
          <a:custGeom>
            <a:avLst/>
            <a:gdLst/>
            <a:ahLst/>
            <a:cxnLst/>
            <a:rect l="l" t="t" r="r" b="b"/>
            <a:pathLst>
              <a:path w="16765" h="21444" extrusionOk="0">
                <a:moveTo>
                  <a:pt x="16372" y="1"/>
                </a:moveTo>
                <a:cubicBezTo>
                  <a:pt x="6478" y="1929"/>
                  <a:pt x="1" y="11550"/>
                  <a:pt x="1930" y="21444"/>
                </a:cubicBezTo>
                <a:lnTo>
                  <a:pt x="3966" y="21039"/>
                </a:lnTo>
                <a:cubicBezTo>
                  <a:pt x="2263" y="12276"/>
                  <a:pt x="8002" y="3751"/>
                  <a:pt x="16765" y="2049"/>
                </a:cubicBezTo>
                <a:lnTo>
                  <a:pt x="16372" y="1"/>
                </a:ln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17245946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and two columns 1">
  <p:cSld name="Title and two columns 1">
    <p:spTree>
      <p:nvGrpSpPr>
        <p:cNvPr id="1" name="Shape 1312"/>
        <p:cNvGrpSpPr/>
        <p:nvPr/>
      </p:nvGrpSpPr>
      <p:grpSpPr>
        <a:xfrm>
          <a:off x="0" y="0"/>
          <a:ext cx="0" cy="0"/>
          <a:chOff x="0" y="0"/>
          <a:chExt cx="0" cy="0"/>
        </a:xfrm>
      </p:grpSpPr>
      <p:grpSp>
        <p:nvGrpSpPr>
          <p:cNvPr id="1313" name="Google Shape;1313;p23"/>
          <p:cNvGrpSpPr/>
          <p:nvPr/>
        </p:nvGrpSpPr>
        <p:grpSpPr>
          <a:xfrm>
            <a:off x="-132666" y="0"/>
            <a:ext cx="12373732" cy="6857917"/>
            <a:chOff x="-99500" y="0"/>
            <a:chExt cx="9280299" cy="5143438"/>
          </a:xfrm>
        </p:grpSpPr>
        <p:sp>
          <p:nvSpPr>
            <p:cNvPr id="1314" name="Google Shape;1314;p23"/>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15" name="Google Shape;1315;p23"/>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16" name="Google Shape;1316;p23"/>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17" name="Google Shape;1317;p23"/>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18" name="Google Shape;1318;p23"/>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19" name="Google Shape;1319;p23"/>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20" name="Google Shape;1320;p23"/>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21" name="Google Shape;1321;p23"/>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22" name="Google Shape;1322;p23"/>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23" name="Google Shape;1323;p23"/>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24" name="Google Shape;1324;p23"/>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25" name="Google Shape;1325;p23"/>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26" name="Google Shape;1326;p23"/>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27" name="Google Shape;1327;p23"/>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28" name="Google Shape;1328;p23"/>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29" name="Google Shape;1329;p23"/>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30" name="Google Shape;1330;p23"/>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31" name="Google Shape;1331;p23"/>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32" name="Google Shape;1332;p23"/>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33" name="Google Shape;1333;p23"/>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34" name="Google Shape;1334;p23"/>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35" name="Google Shape;1335;p23"/>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36" name="Google Shape;1336;p23"/>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37" name="Google Shape;1337;p23"/>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38" name="Google Shape;1338;p23"/>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39" name="Google Shape;1339;p23"/>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40" name="Google Shape;1340;p23"/>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41" name="Google Shape;1341;p23"/>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42" name="Google Shape;1342;p23"/>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43" name="Google Shape;1343;p23"/>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44" name="Google Shape;1344;p23"/>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45" name="Google Shape;1345;p23"/>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46" name="Google Shape;1346;p23"/>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47" name="Google Shape;1347;p23"/>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48" name="Google Shape;1348;p23"/>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49" name="Google Shape;1349;p23"/>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50" name="Google Shape;1350;p23"/>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51" name="Google Shape;1351;p23"/>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52" name="Google Shape;1352;p23"/>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53" name="Google Shape;1353;p23"/>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54" name="Google Shape;1354;p23"/>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55" name="Google Shape;1355;p23"/>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56" name="Google Shape;1356;p23"/>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357" name="Google Shape;1357;p23"/>
          <p:cNvSpPr txBox="1">
            <a:spLocks noGrp="1"/>
          </p:cNvSpPr>
          <p:nvPr>
            <p:ph type="title"/>
          </p:nvPr>
        </p:nvSpPr>
        <p:spPr>
          <a:xfrm>
            <a:off x="960000" y="720000"/>
            <a:ext cx="10272000" cy="636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1358" name="Google Shape;1358;p23"/>
          <p:cNvSpPr txBox="1">
            <a:spLocks noGrp="1"/>
          </p:cNvSpPr>
          <p:nvPr>
            <p:ph type="subTitle" idx="1"/>
          </p:nvPr>
        </p:nvSpPr>
        <p:spPr>
          <a:xfrm>
            <a:off x="1638700" y="2127367"/>
            <a:ext cx="3876800" cy="7448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2500"/>
              <a:buFont typeface="Bebas Neue"/>
              <a:buNone/>
              <a:defRPr sz="3200" b="1">
                <a:solidFill>
                  <a:schemeClr val="dk1"/>
                </a:solidFill>
                <a:latin typeface="Odibee Sans"/>
                <a:ea typeface="Odibee Sans"/>
                <a:cs typeface="Odibee Sans"/>
                <a:sym typeface="Odibee Sans"/>
              </a:defRPr>
            </a:lvl1pPr>
            <a:lvl2pPr lvl="1" algn="ctr" rtl="0">
              <a:lnSpc>
                <a:spcPct val="100000"/>
              </a:lnSpc>
              <a:spcBef>
                <a:spcPts val="0"/>
              </a:spcBef>
              <a:spcAft>
                <a:spcPts val="0"/>
              </a:spcAft>
              <a:buSzPts val="2500"/>
              <a:buFont typeface="Bebas Neue"/>
              <a:buNone/>
              <a:defRPr sz="3333">
                <a:latin typeface="Bebas Neue"/>
                <a:ea typeface="Bebas Neue"/>
                <a:cs typeface="Bebas Neue"/>
                <a:sym typeface="Bebas Neue"/>
              </a:defRPr>
            </a:lvl2pPr>
            <a:lvl3pPr lvl="2" algn="ctr" rtl="0">
              <a:lnSpc>
                <a:spcPct val="100000"/>
              </a:lnSpc>
              <a:spcBef>
                <a:spcPts val="0"/>
              </a:spcBef>
              <a:spcAft>
                <a:spcPts val="0"/>
              </a:spcAft>
              <a:buSzPts val="2500"/>
              <a:buFont typeface="Bebas Neue"/>
              <a:buNone/>
              <a:defRPr sz="3333">
                <a:latin typeface="Bebas Neue"/>
                <a:ea typeface="Bebas Neue"/>
                <a:cs typeface="Bebas Neue"/>
                <a:sym typeface="Bebas Neue"/>
              </a:defRPr>
            </a:lvl3pPr>
            <a:lvl4pPr lvl="3" algn="ctr" rtl="0">
              <a:lnSpc>
                <a:spcPct val="100000"/>
              </a:lnSpc>
              <a:spcBef>
                <a:spcPts val="0"/>
              </a:spcBef>
              <a:spcAft>
                <a:spcPts val="0"/>
              </a:spcAft>
              <a:buSzPts val="2500"/>
              <a:buFont typeface="Bebas Neue"/>
              <a:buNone/>
              <a:defRPr sz="3333">
                <a:latin typeface="Bebas Neue"/>
                <a:ea typeface="Bebas Neue"/>
                <a:cs typeface="Bebas Neue"/>
                <a:sym typeface="Bebas Neue"/>
              </a:defRPr>
            </a:lvl4pPr>
            <a:lvl5pPr lvl="4" algn="ctr" rtl="0">
              <a:lnSpc>
                <a:spcPct val="100000"/>
              </a:lnSpc>
              <a:spcBef>
                <a:spcPts val="0"/>
              </a:spcBef>
              <a:spcAft>
                <a:spcPts val="0"/>
              </a:spcAft>
              <a:buSzPts val="2500"/>
              <a:buFont typeface="Bebas Neue"/>
              <a:buNone/>
              <a:defRPr sz="3333">
                <a:latin typeface="Bebas Neue"/>
                <a:ea typeface="Bebas Neue"/>
                <a:cs typeface="Bebas Neue"/>
                <a:sym typeface="Bebas Neue"/>
              </a:defRPr>
            </a:lvl5pPr>
            <a:lvl6pPr lvl="5" algn="ctr" rtl="0">
              <a:lnSpc>
                <a:spcPct val="100000"/>
              </a:lnSpc>
              <a:spcBef>
                <a:spcPts val="0"/>
              </a:spcBef>
              <a:spcAft>
                <a:spcPts val="0"/>
              </a:spcAft>
              <a:buSzPts val="2500"/>
              <a:buFont typeface="Bebas Neue"/>
              <a:buNone/>
              <a:defRPr sz="3333">
                <a:latin typeface="Bebas Neue"/>
                <a:ea typeface="Bebas Neue"/>
                <a:cs typeface="Bebas Neue"/>
                <a:sym typeface="Bebas Neue"/>
              </a:defRPr>
            </a:lvl6pPr>
            <a:lvl7pPr lvl="6" algn="ctr" rtl="0">
              <a:lnSpc>
                <a:spcPct val="100000"/>
              </a:lnSpc>
              <a:spcBef>
                <a:spcPts val="0"/>
              </a:spcBef>
              <a:spcAft>
                <a:spcPts val="0"/>
              </a:spcAft>
              <a:buSzPts val="2500"/>
              <a:buFont typeface="Bebas Neue"/>
              <a:buNone/>
              <a:defRPr sz="3333">
                <a:latin typeface="Bebas Neue"/>
                <a:ea typeface="Bebas Neue"/>
                <a:cs typeface="Bebas Neue"/>
                <a:sym typeface="Bebas Neue"/>
              </a:defRPr>
            </a:lvl7pPr>
            <a:lvl8pPr lvl="7" algn="ctr" rtl="0">
              <a:lnSpc>
                <a:spcPct val="100000"/>
              </a:lnSpc>
              <a:spcBef>
                <a:spcPts val="0"/>
              </a:spcBef>
              <a:spcAft>
                <a:spcPts val="0"/>
              </a:spcAft>
              <a:buSzPts val="2500"/>
              <a:buFont typeface="Bebas Neue"/>
              <a:buNone/>
              <a:defRPr sz="3333">
                <a:latin typeface="Bebas Neue"/>
                <a:ea typeface="Bebas Neue"/>
                <a:cs typeface="Bebas Neue"/>
                <a:sym typeface="Bebas Neue"/>
              </a:defRPr>
            </a:lvl8pPr>
            <a:lvl9pPr lvl="8" algn="ctr" rtl="0">
              <a:lnSpc>
                <a:spcPct val="100000"/>
              </a:lnSpc>
              <a:spcBef>
                <a:spcPts val="0"/>
              </a:spcBef>
              <a:spcAft>
                <a:spcPts val="0"/>
              </a:spcAft>
              <a:buSzPts val="2500"/>
              <a:buFont typeface="Bebas Neue"/>
              <a:buNone/>
              <a:defRPr sz="3333">
                <a:latin typeface="Bebas Neue"/>
                <a:ea typeface="Bebas Neue"/>
                <a:cs typeface="Bebas Neue"/>
                <a:sym typeface="Bebas Neue"/>
              </a:defRPr>
            </a:lvl9pPr>
          </a:lstStyle>
          <a:p>
            <a:endParaRPr/>
          </a:p>
        </p:txBody>
      </p:sp>
      <p:sp>
        <p:nvSpPr>
          <p:cNvPr id="1359" name="Google Shape;1359;p23"/>
          <p:cNvSpPr txBox="1">
            <a:spLocks noGrp="1"/>
          </p:cNvSpPr>
          <p:nvPr>
            <p:ph type="subTitle" idx="2"/>
          </p:nvPr>
        </p:nvSpPr>
        <p:spPr>
          <a:xfrm>
            <a:off x="1638700" y="3855100"/>
            <a:ext cx="3876800" cy="7448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2500"/>
              <a:buFont typeface="Bebas Neue"/>
              <a:buNone/>
              <a:defRPr sz="3200" b="1">
                <a:solidFill>
                  <a:schemeClr val="dk1"/>
                </a:solidFill>
                <a:latin typeface="Odibee Sans"/>
                <a:ea typeface="Odibee Sans"/>
                <a:cs typeface="Odibee Sans"/>
                <a:sym typeface="Odibee Sans"/>
              </a:defRPr>
            </a:lvl1pPr>
            <a:lvl2pPr lvl="1" algn="ctr" rtl="0">
              <a:lnSpc>
                <a:spcPct val="100000"/>
              </a:lnSpc>
              <a:spcBef>
                <a:spcPts val="0"/>
              </a:spcBef>
              <a:spcAft>
                <a:spcPts val="0"/>
              </a:spcAft>
              <a:buSzPts val="2500"/>
              <a:buFont typeface="Bebas Neue"/>
              <a:buNone/>
              <a:defRPr sz="3333">
                <a:latin typeface="Bebas Neue"/>
                <a:ea typeface="Bebas Neue"/>
                <a:cs typeface="Bebas Neue"/>
                <a:sym typeface="Bebas Neue"/>
              </a:defRPr>
            </a:lvl2pPr>
            <a:lvl3pPr lvl="2" algn="ctr" rtl="0">
              <a:lnSpc>
                <a:spcPct val="100000"/>
              </a:lnSpc>
              <a:spcBef>
                <a:spcPts val="0"/>
              </a:spcBef>
              <a:spcAft>
                <a:spcPts val="0"/>
              </a:spcAft>
              <a:buSzPts val="2500"/>
              <a:buFont typeface="Bebas Neue"/>
              <a:buNone/>
              <a:defRPr sz="3333">
                <a:latin typeface="Bebas Neue"/>
                <a:ea typeface="Bebas Neue"/>
                <a:cs typeface="Bebas Neue"/>
                <a:sym typeface="Bebas Neue"/>
              </a:defRPr>
            </a:lvl3pPr>
            <a:lvl4pPr lvl="3" algn="ctr" rtl="0">
              <a:lnSpc>
                <a:spcPct val="100000"/>
              </a:lnSpc>
              <a:spcBef>
                <a:spcPts val="0"/>
              </a:spcBef>
              <a:spcAft>
                <a:spcPts val="0"/>
              </a:spcAft>
              <a:buSzPts val="2500"/>
              <a:buFont typeface="Bebas Neue"/>
              <a:buNone/>
              <a:defRPr sz="3333">
                <a:latin typeface="Bebas Neue"/>
                <a:ea typeface="Bebas Neue"/>
                <a:cs typeface="Bebas Neue"/>
                <a:sym typeface="Bebas Neue"/>
              </a:defRPr>
            </a:lvl4pPr>
            <a:lvl5pPr lvl="4" algn="ctr" rtl="0">
              <a:lnSpc>
                <a:spcPct val="100000"/>
              </a:lnSpc>
              <a:spcBef>
                <a:spcPts val="0"/>
              </a:spcBef>
              <a:spcAft>
                <a:spcPts val="0"/>
              </a:spcAft>
              <a:buSzPts val="2500"/>
              <a:buFont typeface="Bebas Neue"/>
              <a:buNone/>
              <a:defRPr sz="3333">
                <a:latin typeface="Bebas Neue"/>
                <a:ea typeface="Bebas Neue"/>
                <a:cs typeface="Bebas Neue"/>
                <a:sym typeface="Bebas Neue"/>
              </a:defRPr>
            </a:lvl5pPr>
            <a:lvl6pPr lvl="5" algn="ctr" rtl="0">
              <a:lnSpc>
                <a:spcPct val="100000"/>
              </a:lnSpc>
              <a:spcBef>
                <a:spcPts val="0"/>
              </a:spcBef>
              <a:spcAft>
                <a:spcPts val="0"/>
              </a:spcAft>
              <a:buSzPts val="2500"/>
              <a:buFont typeface="Bebas Neue"/>
              <a:buNone/>
              <a:defRPr sz="3333">
                <a:latin typeface="Bebas Neue"/>
                <a:ea typeface="Bebas Neue"/>
                <a:cs typeface="Bebas Neue"/>
                <a:sym typeface="Bebas Neue"/>
              </a:defRPr>
            </a:lvl6pPr>
            <a:lvl7pPr lvl="6" algn="ctr" rtl="0">
              <a:lnSpc>
                <a:spcPct val="100000"/>
              </a:lnSpc>
              <a:spcBef>
                <a:spcPts val="0"/>
              </a:spcBef>
              <a:spcAft>
                <a:spcPts val="0"/>
              </a:spcAft>
              <a:buSzPts val="2500"/>
              <a:buFont typeface="Bebas Neue"/>
              <a:buNone/>
              <a:defRPr sz="3333">
                <a:latin typeface="Bebas Neue"/>
                <a:ea typeface="Bebas Neue"/>
                <a:cs typeface="Bebas Neue"/>
                <a:sym typeface="Bebas Neue"/>
              </a:defRPr>
            </a:lvl7pPr>
            <a:lvl8pPr lvl="7" algn="ctr" rtl="0">
              <a:lnSpc>
                <a:spcPct val="100000"/>
              </a:lnSpc>
              <a:spcBef>
                <a:spcPts val="0"/>
              </a:spcBef>
              <a:spcAft>
                <a:spcPts val="0"/>
              </a:spcAft>
              <a:buSzPts val="2500"/>
              <a:buFont typeface="Bebas Neue"/>
              <a:buNone/>
              <a:defRPr sz="3333">
                <a:latin typeface="Bebas Neue"/>
                <a:ea typeface="Bebas Neue"/>
                <a:cs typeface="Bebas Neue"/>
                <a:sym typeface="Bebas Neue"/>
              </a:defRPr>
            </a:lvl8pPr>
            <a:lvl9pPr lvl="8" algn="ctr" rtl="0">
              <a:lnSpc>
                <a:spcPct val="100000"/>
              </a:lnSpc>
              <a:spcBef>
                <a:spcPts val="0"/>
              </a:spcBef>
              <a:spcAft>
                <a:spcPts val="0"/>
              </a:spcAft>
              <a:buSzPts val="2500"/>
              <a:buFont typeface="Bebas Neue"/>
              <a:buNone/>
              <a:defRPr sz="3333">
                <a:latin typeface="Bebas Neue"/>
                <a:ea typeface="Bebas Neue"/>
                <a:cs typeface="Bebas Neue"/>
                <a:sym typeface="Bebas Neue"/>
              </a:defRPr>
            </a:lvl9pPr>
          </a:lstStyle>
          <a:p>
            <a:endParaRPr/>
          </a:p>
        </p:txBody>
      </p:sp>
      <p:sp>
        <p:nvSpPr>
          <p:cNvPr id="1360" name="Google Shape;1360;p23"/>
          <p:cNvSpPr txBox="1">
            <a:spLocks noGrp="1"/>
          </p:cNvSpPr>
          <p:nvPr>
            <p:ph type="subTitle" idx="3"/>
          </p:nvPr>
        </p:nvSpPr>
        <p:spPr>
          <a:xfrm>
            <a:off x="1638700" y="2946067"/>
            <a:ext cx="3876800" cy="5508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8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361" name="Google Shape;1361;p23"/>
          <p:cNvSpPr txBox="1">
            <a:spLocks noGrp="1"/>
          </p:cNvSpPr>
          <p:nvPr>
            <p:ph type="subTitle" idx="4"/>
          </p:nvPr>
        </p:nvSpPr>
        <p:spPr>
          <a:xfrm>
            <a:off x="1638700" y="4673800"/>
            <a:ext cx="3876800" cy="5508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800"/>
              <a:buNone/>
              <a:defRPr sz="1867"/>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grpSp>
        <p:nvGrpSpPr>
          <p:cNvPr id="1362" name="Google Shape;1362;p23"/>
          <p:cNvGrpSpPr/>
          <p:nvPr/>
        </p:nvGrpSpPr>
        <p:grpSpPr>
          <a:xfrm>
            <a:off x="156383" y="134342"/>
            <a:ext cx="11629420" cy="5818337"/>
            <a:chOff x="117287" y="100756"/>
            <a:chExt cx="8722065" cy="4363753"/>
          </a:xfrm>
        </p:grpSpPr>
        <p:grpSp>
          <p:nvGrpSpPr>
            <p:cNvPr id="1363" name="Google Shape;1363;p23"/>
            <p:cNvGrpSpPr/>
            <p:nvPr/>
          </p:nvGrpSpPr>
          <p:grpSpPr>
            <a:xfrm>
              <a:off x="7867306" y="202825"/>
              <a:ext cx="972046" cy="1342812"/>
              <a:chOff x="2673045" y="-67517"/>
              <a:chExt cx="665238" cy="918916"/>
            </a:xfrm>
          </p:grpSpPr>
          <p:sp>
            <p:nvSpPr>
              <p:cNvPr id="1364" name="Google Shape;1364;p23"/>
              <p:cNvSpPr/>
              <p:nvPr/>
            </p:nvSpPr>
            <p:spPr>
              <a:xfrm rot="-5400000">
                <a:off x="2594024" y="111691"/>
                <a:ext cx="823440" cy="655977"/>
              </a:xfrm>
              <a:custGeom>
                <a:avLst/>
                <a:gdLst/>
                <a:ahLst/>
                <a:cxnLst/>
                <a:rect l="l" t="t" r="r" b="b"/>
                <a:pathLst>
                  <a:path w="25874" h="20612" extrusionOk="0">
                    <a:moveTo>
                      <a:pt x="20350" y="1"/>
                    </a:moveTo>
                    <a:cubicBezTo>
                      <a:pt x="19973" y="1"/>
                      <a:pt x="19591" y="105"/>
                      <a:pt x="19253" y="324"/>
                    </a:cubicBezTo>
                    <a:cubicBezTo>
                      <a:pt x="18301" y="931"/>
                      <a:pt x="18027" y="2205"/>
                      <a:pt x="18634" y="3145"/>
                    </a:cubicBezTo>
                    <a:cubicBezTo>
                      <a:pt x="21230" y="7170"/>
                      <a:pt x="20063" y="12551"/>
                      <a:pt x="16039" y="15135"/>
                    </a:cubicBezTo>
                    <a:cubicBezTo>
                      <a:pt x="14617" y="16053"/>
                      <a:pt x="13001" y="16524"/>
                      <a:pt x="11354" y="16524"/>
                    </a:cubicBezTo>
                    <a:cubicBezTo>
                      <a:pt x="10738" y="16524"/>
                      <a:pt x="10118" y="16458"/>
                      <a:pt x="9502" y="16326"/>
                    </a:cubicBezTo>
                    <a:cubicBezTo>
                      <a:pt x="7240" y="15837"/>
                      <a:pt x="5299" y="14492"/>
                      <a:pt x="4049" y="12539"/>
                    </a:cubicBezTo>
                    <a:cubicBezTo>
                      <a:pt x="3654" y="11932"/>
                      <a:pt x="2998" y="11601"/>
                      <a:pt x="2331" y="11601"/>
                    </a:cubicBezTo>
                    <a:cubicBezTo>
                      <a:pt x="1951" y="11601"/>
                      <a:pt x="1568" y="11708"/>
                      <a:pt x="1227" y="11932"/>
                    </a:cubicBezTo>
                    <a:cubicBezTo>
                      <a:pt x="275" y="12539"/>
                      <a:pt x="1" y="13801"/>
                      <a:pt x="608" y="14754"/>
                    </a:cubicBezTo>
                    <a:cubicBezTo>
                      <a:pt x="2454" y="17611"/>
                      <a:pt x="5299" y="19588"/>
                      <a:pt x="8633" y="20314"/>
                    </a:cubicBezTo>
                    <a:cubicBezTo>
                      <a:pt x="9538" y="20517"/>
                      <a:pt x="10455" y="20612"/>
                      <a:pt x="11371" y="20612"/>
                    </a:cubicBezTo>
                    <a:cubicBezTo>
                      <a:pt x="13788" y="20612"/>
                      <a:pt x="16158" y="19921"/>
                      <a:pt x="18241" y="18576"/>
                    </a:cubicBezTo>
                    <a:cubicBezTo>
                      <a:pt x="24159" y="14766"/>
                      <a:pt x="25873" y="6860"/>
                      <a:pt x="22075" y="943"/>
                    </a:cubicBezTo>
                    <a:cubicBezTo>
                      <a:pt x="21686" y="333"/>
                      <a:pt x="21024" y="1"/>
                      <a:pt x="20350" y="1"/>
                    </a:cubicBezTo>
                    <a:close/>
                  </a:path>
                </a:pathLst>
              </a:custGeom>
              <a:solidFill>
                <a:srgbClr val="2DD5E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65" name="Google Shape;1365;p23"/>
              <p:cNvSpPr/>
              <p:nvPr/>
            </p:nvSpPr>
            <p:spPr>
              <a:xfrm rot="-5400000">
                <a:off x="2588279" y="17249"/>
                <a:ext cx="834770" cy="665238"/>
              </a:xfrm>
              <a:custGeom>
                <a:avLst/>
                <a:gdLst/>
                <a:ahLst/>
                <a:cxnLst/>
                <a:rect l="l" t="t" r="r" b="b"/>
                <a:pathLst>
                  <a:path w="26230" h="20903" extrusionOk="0">
                    <a:moveTo>
                      <a:pt x="20529" y="298"/>
                    </a:moveTo>
                    <a:cubicBezTo>
                      <a:pt x="20662" y="298"/>
                      <a:pt x="20797" y="312"/>
                      <a:pt x="20931" y="341"/>
                    </a:cubicBezTo>
                    <a:cubicBezTo>
                      <a:pt x="21419" y="448"/>
                      <a:pt x="21848" y="745"/>
                      <a:pt x="22122" y="1174"/>
                    </a:cubicBezTo>
                    <a:cubicBezTo>
                      <a:pt x="25884" y="7020"/>
                      <a:pt x="24182" y="14842"/>
                      <a:pt x="18336" y="18605"/>
                    </a:cubicBezTo>
                    <a:cubicBezTo>
                      <a:pt x="16300" y="19914"/>
                      <a:pt x="13942" y="20617"/>
                      <a:pt x="11537" y="20617"/>
                    </a:cubicBezTo>
                    <a:cubicBezTo>
                      <a:pt x="10644" y="20617"/>
                      <a:pt x="9727" y="20510"/>
                      <a:pt x="8846" y="20319"/>
                    </a:cubicBezTo>
                    <a:cubicBezTo>
                      <a:pt x="5548" y="19605"/>
                      <a:pt x="2727" y="17652"/>
                      <a:pt x="905" y="14819"/>
                    </a:cubicBezTo>
                    <a:cubicBezTo>
                      <a:pt x="345" y="13937"/>
                      <a:pt x="595" y="12759"/>
                      <a:pt x="1476" y="12199"/>
                    </a:cubicBezTo>
                    <a:cubicBezTo>
                      <a:pt x="1786" y="11997"/>
                      <a:pt x="2143" y="11902"/>
                      <a:pt x="2500" y="11902"/>
                    </a:cubicBezTo>
                    <a:cubicBezTo>
                      <a:pt x="2631" y="11902"/>
                      <a:pt x="2762" y="11913"/>
                      <a:pt x="2905" y="11949"/>
                    </a:cubicBezTo>
                    <a:cubicBezTo>
                      <a:pt x="3393" y="12056"/>
                      <a:pt x="3822" y="12342"/>
                      <a:pt x="4096" y="12771"/>
                    </a:cubicBezTo>
                    <a:cubicBezTo>
                      <a:pt x="5370" y="14747"/>
                      <a:pt x="7334" y="16116"/>
                      <a:pt x="9644" y="16616"/>
                    </a:cubicBezTo>
                    <a:cubicBezTo>
                      <a:pt x="10275" y="16754"/>
                      <a:pt x="10912" y="16822"/>
                      <a:pt x="11544" y="16822"/>
                    </a:cubicBezTo>
                    <a:cubicBezTo>
                      <a:pt x="13214" y="16822"/>
                      <a:pt x="14854" y="16347"/>
                      <a:pt x="16288" y="15414"/>
                    </a:cubicBezTo>
                    <a:cubicBezTo>
                      <a:pt x="20384" y="12783"/>
                      <a:pt x="21574" y="7318"/>
                      <a:pt x="18943" y="3222"/>
                    </a:cubicBezTo>
                    <a:cubicBezTo>
                      <a:pt x="18371" y="2341"/>
                      <a:pt x="18621" y="1162"/>
                      <a:pt x="19503" y="603"/>
                    </a:cubicBezTo>
                    <a:cubicBezTo>
                      <a:pt x="19816" y="402"/>
                      <a:pt x="20167" y="298"/>
                      <a:pt x="20529" y="298"/>
                    </a:cubicBezTo>
                    <a:close/>
                    <a:moveTo>
                      <a:pt x="20512" y="0"/>
                    </a:moveTo>
                    <a:cubicBezTo>
                      <a:pt x="20101" y="0"/>
                      <a:pt x="19700" y="121"/>
                      <a:pt x="19348" y="352"/>
                    </a:cubicBezTo>
                    <a:cubicBezTo>
                      <a:pt x="18324" y="1007"/>
                      <a:pt x="18038" y="2365"/>
                      <a:pt x="18693" y="3377"/>
                    </a:cubicBezTo>
                    <a:cubicBezTo>
                      <a:pt x="21229" y="7330"/>
                      <a:pt x="20086" y="12616"/>
                      <a:pt x="16133" y="15164"/>
                    </a:cubicBezTo>
                    <a:cubicBezTo>
                      <a:pt x="14738" y="16065"/>
                      <a:pt x="13148" y="16525"/>
                      <a:pt x="11527" y="16525"/>
                    </a:cubicBezTo>
                    <a:cubicBezTo>
                      <a:pt x="10920" y="16525"/>
                      <a:pt x="10310" y="16460"/>
                      <a:pt x="9704" y="16331"/>
                    </a:cubicBezTo>
                    <a:cubicBezTo>
                      <a:pt x="7477" y="15842"/>
                      <a:pt x="5572" y="14521"/>
                      <a:pt x="4346" y="12604"/>
                    </a:cubicBezTo>
                    <a:cubicBezTo>
                      <a:pt x="4024" y="12116"/>
                      <a:pt x="3536" y="11771"/>
                      <a:pt x="2965" y="11651"/>
                    </a:cubicBezTo>
                    <a:cubicBezTo>
                      <a:pt x="2807" y="11619"/>
                      <a:pt x="2649" y="11602"/>
                      <a:pt x="2491" y="11602"/>
                    </a:cubicBezTo>
                    <a:cubicBezTo>
                      <a:pt x="2078" y="11602"/>
                      <a:pt x="1672" y="11716"/>
                      <a:pt x="1310" y="11949"/>
                    </a:cubicBezTo>
                    <a:cubicBezTo>
                      <a:pt x="298" y="12604"/>
                      <a:pt x="0" y="13961"/>
                      <a:pt x="655" y="14973"/>
                    </a:cubicBezTo>
                    <a:cubicBezTo>
                      <a:pt x="2524" y="17878"/>
                      <a:pt x="5406" y="19879"/>
                      <a:pt x="8775" y="20605"/>
                    </a:cubicBezTo>
                    <a:cubicBezTo>
                      <a:pt x="9692" y="20807"/>
                      <a:pt x="10620" y="20903"/>
                      <a:pt x="11537" y="20903"/>
                    </a:cubicBezTo>
                    <a:cubicBezTo>
                      <a:pt x="14002" y="20903"/>
                      <a:pt x="16407" y="20200"/>
                      <a:pt x="18502" y="18843"/>
                    </a:cubicBezTo>
                    <a:cubicBezTo>
                      <a:pt x="24491" y="14997"/>
                      <a:pt x="26230" y="6996"/>
                      <a:pt x="22372" y="1007"/>
                    </a:cubicBezTo>
                    <a:cubicBezTo>
                      <a:pt x="22050" y="519"/>
                      <a:pt x="21562" y="174"/>
                      <a:pt x="20991" y="55"/>
                    </a:cubicBezTo>
                    <a:cubicBezTo>
                      <a:pt x="20831" y="18"/>
                      <a:pt x="20671" y="0"/>
                      <a:pt x="20512" y="0"/>
                    </a:cubicBez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366" name="Google Shape;1366;p23"/>
            <p:cNvGrpSpPr/>
            <p:nvPr/>
          </p:nvGrpSpPr>
          <p:grpSpPr>
            <a:xfrm rot="-5400000">
              <a:off x="121212" y="3813335"/>
              <a:ext cx="766800" cy="535549"/>
              <a:chOff x="5059762" y="4251410"/>
              <a:chExt cx="766800" cy="535549"/>
            </a:xfrm>
          </p:grpSpPr>
          <p:sp>
            <p:nvSpPr>
              <p:cNvPr id="1367" name="Google Shape;1367;p23"/>
              <p:cNvSpPr/>
              <p:nvPr/>
            </p:nvSpPr>
            <p:spPr>
              <a:xfrm>
                <a:off x="5524244" y="4251410"/>
                <a:ext cx="302318" cy="535549"/>
              </a:xfrm>
              <a:custGeom>
                <a:avLst/>
                <a:gdLst/>
                <a:ahLst/>
                <a:cxnLst/>
                <a:rect l="l" t="t" r="r" b="b"/>
                <a:pathLst>
                  <a:path w="4882" h="8648" extrusionOk="0">
                    <a:moveTo>
                      <a:pt x="821" y="0"/>
                    </a:moveTo>
                    <a:cubicBezTo>
                      <a:pt x="654" y="0"/>
                      <a:pt x="486" y="55"/>
                      <a:pt x="346" y="170"/>
                    </a:cubicBezTo>
                    <a:cubicBezTo>
                      <a:pt x="167" y="313"/>
                      <a:pt x="84" y="527"/>
                      <a:pt x="84" y="742"/>
                    </a:cubicBezTo>
                    <a:cubicBezTo>
                      <a:pt x="84" y="908"/>
                      <a:pt x="131" y="1075"/>
                      <a:pt x="250" y="1218"/>
                    </a:cubicBezTo>
                    <a:lnTo>
                      <a:pt x="3060" y="4623"/>
                    </a:lnTo>
                    <a:lnTo>
                      <a:pt x="298" y="7373"/>
                    </a:lnTo>
                    <a:cubicBezTo>
                      <a:pt x="12" y="7671"/>
                      <a:pt x="0" y="8135"/>
                      <a:pt x="298" y="8433"/>
                    </a:cubicBezTo>
                    <a:cubicBezTo>
                      <a:pt x="441" y="8576"/>
                      <a:pt x="631" y="8647"/>
                      <a:pt x="822" y="8647"/>
                    </a:cubicBezTo>
                    <a:cubicBezTo>
                      <a:pt x="1012" y="8647"/>
                      <a:pt x="1203" y="8576"/>
                      <a:pt x="1346" y="8433"/>
                    </a:cubicBezTo>
                    <a:lnTo>
                      <a:pt x="4584" y="5194"/>
                    </a:lnTo>
                    <a:cubicBezTo>
                      <a:pt x="4858" y="4933"/>
                      <a:pt x="4882" y="4492"/>
                      <a:pt x="4632" y="4206"/>
                    </a:cubicBezTo>
                    <a:lnTo>
                      <a:pt x="1393" y="265"/>
                    </a:lnTo>
                    <a:cubicBezTo>
                      <a:pt x="1246" y="91"/>
                      <a:pt x="1035" y="0"/>
                      <a:pt x="82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68" name="Google Shape;1368;p23"/>
              <p:cNvSpPr/>
              <p:nvPr/>
            </p:nvSpPr>
            <p:spPr>
              <a:xfrm>
                <a:off x="5291972" y="4251410"/>
                <a:ext cx="302380" cy="535549"/>
              </a:xfrm>
              <a:custGeom>
                <a:avLst/>
                <a:gdLst/>
                <a:ahLst/>
                <a:cxnLst/>
                <a:rect l="l" t="t" r="r" b="b"/>
                <a:pathLst>
                  <a:path w="4883" h="8648" extrusionOk="0">
                    <a:moveTo>
                      <a:pt x="822" y="0"/>
                    </a:moveTo>
                    <a:cubicBezTo>
                      <a:pt x="655" y="0"/>
                      <a:pt x="487" y="55"/>
                      <a:pt x="346" y="170"/>
                    </a:cubicBezTo>
                    <a:cubicBezTo>
                      <a:pt x="168" y="313"/>
                      <a:pt x="72" y="527"/>
                      <a:pt x="72" y="742"/>
                    </a:cubicBezTo>
                    <a:cubicBezTo>
                      <a:pt x="72" y="908"/>
                      <a:pt x="132" y="1075"/>
                      <a:pt x="251" y="1218"/>
                    </a:cubicBezTo>
                    <a:lnTo>
                      <a:pt x="3061" y="4623"/>
                    </a:lnTo>
                    <a:lnTo>
                      <a:pt x="298" y="7373"/>
                    </a:lnTo>
                    <a:cubicBezTo>
                      <a:pt x="1" y="7671"/>
                      <a:pt x="1" y="8135"/>
                      <a:pt x="298" y="8433"/>
                    </a:cubicBezTo>
                    <a:cubicBezTo>
                      <a:pt x="441" y="8576"/>
                      <a:pt x="629" y="8647"/>
                      <a:pt x="818" y="8647"/>
                    </a:cubicBezTo>
                    <a:cubicBezTo>
                      <a:pt x="1007" y="8647"/>
                      <a:pt x="1197" y="8576"/>
                      <a:pt x="1346" y="8433"/>
                    </a:cubicBezTo>
                    <a:lnTo>
                      <a:pt x="4585" y="5194"/>
                    </a:lnTo>
                    <a:cubicBezTo>
                      <a:pt x="4859" y="4933"/>
                      <a:pt x="4882" y="4492"/>
                      <a:pt x="4632" y="4206"/>
                    </a:cubicBezTo>
                    <a:lnTo>
                      <a:pt x="1394" y="265"/>
                    </a:lnTo>
                    <a:cubicBezTo>
                      <a:pt x="1247" y="91"/>
                      <a:pt x="1035" y="0"/>
                      <a:pt x="82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69" name="Google Shape;1369;p23"/>
              <p:cNvSpPr/>
              <p:nvPr/>
            </p:nvSpPr>
            <p:spPr>
              <a:xfrm>
                <a:off x="5059762" y="4251410"/>
                <a:ext cx="302318" cy="535549"/>
              </a:xfrm>
              <a:custGeom>
                <a:avLst/>
                <a:gdLst/>
                <a:ahLst/>
                <a:cxnLst/>
                <a:rect l="l" t="t" r="r" b="b"/>
                <a:pathLst>
                  <a:path w="4882" h="8648" extrusionOk="0">
                    <a:moveTo>
                      <a:pt x="821" y="0"/>
                    </a:moveTo>
                    <a:cubicBezTo>
                      <a:pt x="655" y="0"/>
                      <a:pt x="486" y="55"/>
                      <a:pt x="346" y="170"/>
                    </a:cubicBezTo>
                    <a:cubicBezTo>
                      <a:pt x="167" y="313"/>
                      <a:pt x="72" y="527"/>
                      <a:pt x="72" y="742"/>
                    </a:cubicBezTo>
                    <a:cubicBezTo>
                      <a:pt x="72" y="908"/>
                      <a:pt x="131" y="1075"/>
                      <a:pt x="238" y="1218"/>
                    </a:cubicBezTo>
                    <a:lnTo>
                      <a:pt x="3060" y="4623"/>
                    </a:lnTo>
                    <a:lnTo>
                      <a:pt x="298" y="7373"/>
                    </a:lnTo>
                    <a:cubicBezTo>
                      <a:pt x="0" y="7671"/>
                      <a:pt x="0" y="8135"/>
                      <a:pt x="298" y="8433"/>
                    </a:cubicBezTo>
                    <a:cubicBezTo>
                      <a:pt x="441" y="8576"/>
                      <a:pt x="628" y="8647"/>
                      <a:pt x="817" y="8647"/>
                    </a:cubicBezTo>
                    <a:cubicBezTo>
                      <a:pt x="1006" y="8647"/>
                      <a:pt x="1197" y="8576"/>
                      <a:pt x="1346" y="8433"/>
                    </a:cubicBezTo>
                    <a:lnTo>
                      <a:pt x="4584" y="5194"/>
                    </a:lnTo>
                    <a:cubicBezTo>
                      <a:pt x="4858" y="4933"/>
                      <a:pt x="4882" y="4492"/>
                      <a:pt x="4632" y="4206"/>
                    </a:cubicBezTo>
                    <a:lnTo>
                      <a:pt x="1393" y="265"/>
                    </a:lnTo>
                    <a:cubicBezTo>
                      <a:pt x="1246" y="91"/>
                      <a:pt x="1035" y="0"/>
                      <a:pt x="82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370" name="Google Shape;1370;p23"/>
            <p:cNvGrpSpPr/>
            <p:nvPr/>
          </p:nvGrpSpPr>
          <p:grpSpPr>
            <a:xfrm rot="5400000">
              <a:off x="218632" y="-589"/>
              <a:ext cx="692438" cy="895128"/>
              <a:chOff x="194863" y="3229838"/>
              <a:chExt cx="1354800" cy="1751375"/>
            </a:xfrm>
          </p:grpSpPr>
          <p:sp>
            <p:nvSpPr>
              <p:cNvPr id="1371" name="Google Shape;1371;p23"/>
              <p:cNvSpPr/>
              <p:nvPr/>
            </p:nvSpPr>
            <p:spPr>
              <a:xfrm>
                <a:off x="194863" y="3229850"/>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72" name="Google Shape;1372;p23"/>
              <p:cNvSpPr/>
              <p:nvPr/>
            </p:nvSpPr>
            <p:spPr>
              <a:xfrm>
                <a:off x="194863" y="3625841"/>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73" name="Google Shape;1373;p23"/>
              <p:cNvSpPr/>
              <p:nvPr/>
            </p:nvSpPr>
            <p:spPr>
              <a:xfrm>
                <a:off x="194863" y="4021831"/>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74" name="Google Shape;1374;p23"/>
              <p:cNvSpPr/>
              <p:nvPr/>
            </p:nvSpPr>
            <p:spPr>
              <a:xfrm>
                <a:off x="194863" y="4417822"/>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75" name="Google Shape;1375;p23"/>
              <p:cNvSpPr/>
              <p:nvPr/>
            </p:nvSpPr>
            <p:spPr>
              <a:xfrm>
                <a:off x="194863" y="4813813"/>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76" name="Google Shape;1376;p23"/>
              <p:cNvSpPr/>
              <p:nvPr/>
            </p:nvSpPr>
            <p:spPr>
              <a:xfrm>
                <a:off x="788563" y="3229838"/>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77" name="Google Shape;1377;p23"/>
              <p:cNvSpPr/>
              <p:nvPr/>
            </p:nvSpPr>
            <p:spPr>
              <a:xfrm>
                <a:off x="788563" y="3625828"/>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78" name="Google Shape;1378;p23"/>
              <p:cNvSpPr/>
              <p:nvPr/>
            </p:nvSpPr>
            <p:spPr>
              <a:xfrm>
                <a:off x="788563" y="4021819"/>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79" name="Google Shape;1379;p23"/>
              <p:cNvSpPr/>
              <p:nvPr/>
            </p:nvSpPr>
            <p:spPr>
              <a:xfrm>
                <a:off x="788563" y="4417809"/>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80" name="Google Shape;1380;p23"/>
              <p:cNvSpPr/>
              <p:nvPr/>
            </p:nvSpPr>
            <p:spPr>
              <a:xfrm>
                <a:off x="788563" y="4813800"/>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81" name="Google Shape;1381;p23"/>
              <p:cNvSpPr/>
              <p:nvPr/>
            </p:nvSpPr>
            <p:spPr>
              <a:xfrm>
                <a:off x="1382263" y="3229838"/>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82" name="Google Shape;1382;p23"/>
              <p:cNvSpPr/>
              <p:nvPr/>
            </p:nvSpPr>
            <p:spPr>
              <a:xfrm>
                <a:off x="1382263" y="3625828"/>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83" name="Google Shape;1383;p23"/>
              <p:cNvSpPr/>
              <p:nvPr/>
            </p:nvSpPr>
            <p:spPr>
              <a:xfrm>
                <a:off x="1382263" y="4021819"/>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84" name="Google Shape;1384;p23"/>
              <p:cNvSpPr/>
              <p:nvPr/>
            </p:nvSpPr>
            <p:spPr>
              <a:xfrm>
                <a:off x="1382263" y="4417809"/>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85" name="Google Shape;1385;p23"/>
              <p:cNvSpPr/>
              <p:nvPr/>
            </p:nvSpPr>
            <p:spPr>
              <a:xfrm>
                <a:off x="1382263" y="4813800"/>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spTree>
    <p:extLst>
      <p:ext uri="{BB962C8B-B14F-4D97-AF65-F5344CB8AC3E}">
        <p14:creationId xmlns:p14="http://schemas.microsoft.com/office/powerpoint/2010/main" val="20717367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only 1">
  <p:cSld name="Title only 1">
    <p:spTree>
      <p:nvGrpSpPr>
        <p:cNvPr id="1" name="Shape 1386"/>
        <p:cNvGrpSpPr/>
        <p:nvPr/>
      </p:nvGrpSpPr>
      <p:grpSpPr>
        <a:xfrm>
          <a:off x="0" y="0"/>
          <a:ext cx="0" cy="0"/>
          <a:chOff x="0" y="0"/>
          <a:chExt cx="0" cy="0"/>
        </a:xfrm>
      </p:grpSpPr>
      <p:grpSp>
        <p:nvGrpSpPr>
          <p:cNvPr id="1387" name="Google Shape;1387;p24"/>
          <p:cNvGrpSpPr/>
          <p:nvPr/>
        </p:nvGrpSpPr>
        <p:grpSpPr>
          <a:xfrm>
            <a:off x="-132666" y="0"/>
            <a:ext cx="12373732" cy="6857917"/>
            <a:chOff x="-99500" y="0"/>
            <a:chExt cx="9280299" cy="5143438"/>
          </a:xfrm>
        </p:grpSpPr>
        <p:sp>
          <p:nvSpPr>
            <p:cNvPr id="1388" name="Google Shape;1388;p24"/>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89" name="Google Shape;1389;p24"/>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90" name="Google Shape;1390;p24"/>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91" name="Google Shape;1391;p24"/>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92" name="Google Shape;1392;p24"/>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93" name="Google Shape;1393;p24"/>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94" name="Google Shape;1394;p24"/>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95" name="Google Shape;1395;p24"/>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96" name="Google Shape;1396;p24"/>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97" name="Google Shape;1397;p24"/>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98" name="Google Shape;1398;p24"/>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99" name="Google Shape;1399;p24"/>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00" name="Google Shape;1400;p24"/>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01" name="Google Shape;1401;p24"/>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02" name="Google Shape;1402;p24"/>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03" name="Google Shape;1403;p24"/>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04" name="Google Shape;1404;p24"/>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05" name="Google Shape;1405;p24"/>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06" name="Google Shape;1406;p24"/>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07" name="Google Shape;1407;p24"/>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08" name="Google Shape;1408;p24"/>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09" name="Google Shape;1409;p24"/>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10" name="Google Shape;1410;p24"/>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11" name="Google Shape;1411;p24"/>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12" name="Google Shape;1412;p24"/>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13" name="Google Shape;1413;p24"/>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14" name="Google Shape;1414;p24"/>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15" name="Google Shape;1415;p24"/>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16" name="Google Shape;1416;p24"/>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17" name="Google Shape;1417;p24"/>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18" name="Google Shape;1418;p24"/>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19" name="Google Shape;1419;p24"/>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20" name="Google Shape;1420;p24"/>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21" name="Google Shape;1421;p24"/>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22" name="Google Shape;1422;p24"/>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23" name="Google Shape;1423;p24"/>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24" name="Google Shape;1424;p24"/>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25" name="Google Shape;1425;p24"/>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26" name="Google Shape;1426;p24"/>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27" name="Google Shape;1427;p24"/>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28" name="Google Shape;1428;p24"/>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29" name="Google Shape;1429;p24"/>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30" name="Google Shape;1430;p24"/>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431" name="Google Shape;1431;p24"/>
          <p:cNvSpPr txBox="1">
            <a:spLocks noGrp="1"/>
          </p:cNvSpPr>
          <p:nvPr>
            <p:ph type="title"/>
          </p:nvPr>
        </p:nvSpPr>
        <p:spPr>
          <a:xfrm>
            <a:off x="415600" y="720000"/>
            <a:ext cx="11360800" cy="636800"/>
          </a:xfrm>
          <a:prstGeom prst="rect">
            <a:avLst/>
          </a:prstGeom>
        </p:spPr>
        <p:txBody>
          <a:bodyPr spcFirstLastPara="1" wrap="square" lIns="91425" tIns="91425" rIns="91425" bIns="91425" anchor="ctr" anchorCtr="0">
            <a:noAutofit/>
          </a:bodyPr>
          <a:lstStyle>
            <a:lvl1pPr lvl="0" algn="ctr">
              <a:spcBef>
                <a:spcPts val="0"/>
              </a:spcBef>
              <a:spcAft>
                <a:spcPts val="0"/>
              </a:spcAft>
              <a:buSzPts val="3500"/>
              <a:buNone/>
              <a:defRPr/>
            </a:lvl1pPr>
            <a:lvl2pPr lvl="1">
              <a:spcBef>
                <a:spcPts val="0"/>
              </a:spcBef>
              <a:spcAft>
                <a:spcPts val="0"/>
              </a:spcAft>
              <a:buSzPts val="3500"/>
              <a:buNone/>
              <a:defRPr/>
            </a:lvl2pPr>
            <a:lvl3pPr lvl="2">
              <a:spcBef>
                <a:spcPts val="0"/>
              </a:spcBef>
              <a:spcAft>
                <a:spcPts val="0"/>
              </a:spcAft>
              <a:buSzPts val="3500"/>
              <a:buNone/>
              <a:defRPr/>
            </a:lvl3pPr>
            <a:lvl4pPr lvl="3">
              <a:spcBef>
                <a:spcPts val="0"/>
              </a:spcBef>
              <a:spcAft>
                <a:spcPts val="0"/>
              </a:spcAft>
              <a:buSzPts val="3500"/>
              <a:buNone/>
              <a:defRPr/>
            </a:lvl4pPr>
            <a:lvl5pPr lvl="4">
              <a:spcBef>
                <a:spcPts val="0"/>
              </a:spcBef>
              <a:spcAft>
                <a:spcPts val="0"/>
              </a:spcAft>
              <a:buSzPts val="3500"/>
              <a:buNone/>
              <a:defRPr/>
            </a:lvl5pPr>
            <a:lvl6pPr lvl="5">
              <a:spcBef>
                <a:spcPts val="0"/>
              </a:spcBef>
              <a:spcAft>
                <a:spcPts val="0"/>
              </a:spcAft>
              <a:buSzPts val="3500"/>
              <a:buNone/>
              <a:defRPr/>
            </a:lvl6pPr>
            <a:lvl7pPr lvl="6">
              <a:spcBef>
                <a:spcPts val="0"/>
              </a:spcBef>
              <a:spcAft>
                <a:spcPts val="0"/>
              </a:spcAft>
              <a:buSzPts val="3500"/>
              <a:buNone/>
              <a:defRPr/>
            </a:lvl7pPr>
            <a:lvl8pPr lvl="7">
              <a:spcBef>
                <a:spcPts val="0"/>
              </a:spcBef>
              <a:spcAft>
                <a:spcPts val="0"/>
              </a:spcAft>
              <a:buSzPts val="3500"/>
              <a:buNone/>
              <a:defRPr/>
            </a:lvl8pPr>
            <a:lvl9pPr lvl="8">
              <a:spcBef>
                <a:spcPts val="0"/>
              </a:spcBef>
              <a:spcAft>
                <a:spcPts val="0"/>
              </a:spcAft>
              <a:buSzPts val="3500"/>
              <a:buNone/>
              <a:defRPr/>
            </a:lvl9pPr>
          </a:lstStyle>
          <a:p>
            <a:endParaRPr/>
          </a:p>
        </p:txBody>
      </p:sp>
      <p:grpSp>
        <p:nvGrpSpPr>
          <p:cNvPr id="1432" name="Google Shape;1432;p24"/>
          <p:cNvGrpSpPr/>
          <p:nvPr/>
        </p:nvGrpSpPr>
        <p:grpSpPr>
          <a:xfrm>
            <a:off x="9425584" y="5711751"/>
            <a:ext cx="1806400" cy="1279192"/>
            <a:chOff x="194863" y="3229838"/>
            <a:chExt cx="1354800" cy="959394"/>
          </a:xfrm>
        </p:grpSpPr>
        <p:sp>
          <p:nvSpPr>
            <p:cNvPr id="1433" name="Google Shape;1433;p24"/>
            <p:cNvSpPr/>
            <p:nvPr/>
          </p:nvSpPr>
          <p:spPr>
            <a:xfrm>
              <a:off x="194863" y="3229850"/>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34" name="Google Shape;1434;p24"/>
            <p:cNvSpPr/>
            <p:nvPr/>
          </p:nvSpPr>
          <p:spPr>
            <a:xfrm>
              <a:off x="194863" y="3625841"/>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35" name="Google Shape;1435;p24"/>
            <p:cNvSpPr/>
            <p:nvPr/>
          </p:nvSpPr>
          <p:spPr>
            <a:xfrm>
              <a:off x="194863" y="4021831"/>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36" name="Google Shape;1436;p24"/>
            <p:cNvSpPr/>
            <p:nvPr/>
          </p:nvSpPr>
          <p:spPr>
            <a:xfrm>
              <a:off x="788563" y="3229838"/>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37" name="Google Shape;1437;p24"/>
            <p:cNvSpPr/>
            <p:nvPr/>
          </p:nvSpPr>
          <p:spPr>
            <a:xfrm>
              <a:off x="788563" y="3625828"/>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38" name="Google Shape;1438;p24"/>
            <p:cNvSpPr/>
            <p:nvPr/>
          </p:nvSpPr>
          <p:spPr>
            <a:xfrm>
              <a:off x="788563" y="4021819"/>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39" name="Google Shape;1439;p24"/>
            <p:cNvSpPr/>
            <p:nvPr/>
          </p:nvSpPr>
          <p:spPr>
            <a:xfrm>
              <a:off x="1382263" y="3229838"/>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40" name="Google Shape;1440;p24"/>
            <p:cNvSpPr/>
            <p:nvPr/>
          </p:nvSpPr>
          <p:spPr>
            <a:xfrm>
              <a:off x="1382263" y="3625828"/>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41" name="Google Shape;1441;p24"/>
            <p:cNvSpPr/>
            <p:nvPr/>
          </p:nvSpPr>
          <p:spPr>
            <a:xfrm>
              <a:off x="1382263" y="4021819"/>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442" name="Google Shape;1442;p24"/>
          <p:cNvGrpSpPr/>
          <p:nvPr/>
        </p:nvGrpSpPr>
        <p:grpSpPr>
          <a:xfrm>
            <a:off x="11442630" y="3755367"/>
            <a:ext cx="805367" cy="646389"/>
            <a:chOff x="8581972" y="2816525"/>
            <a:chExt cx="604025" cy="484792"/>
          </a:xfrm>
        </p:grpSpPr>
        <p:sp>
          <p:nvSpPr>
            <p:cNvPr id="1443" name="Google Shape;1443;p24"/>
            <p:cNvSpPr/>
            <p:nvPr/>
          </p:nvSpPr>
          <p:spPr>
            <a:xfrm>
              <a:off x="9068297" y="2816525"/>
              <a:ext cx="117700" cy="484792"/>
            </a:xfrm>
            <a:custGeom>
              <a:avLst/>
              <a:gdLst/>
              <a:ahLst/>
              <a:cxnLst/>
              <a:rect l="l" t="t" r="r" b="b"/>
              <a:pathLst>
                <a:path w="1775" h="7311" extrusionOk="0">
                  <a:moveTo>
                    <a:pt x="1" y="1"/>
                  </a:moveTo>
                  <a:lnTo>
                    <a:pt x="1" y="7311"/>
                  </a:lnTo>
                  <a:lnTo>
                    <a:pt x="1775" y="7311"/>
                  </a:lnTo>
                  <a:lnTo>
                    <a:pt x="1775" y="1"/>
                  </a:lnTo>
                  <a:close/>
                </a:path>
              </a:pathLst>
            </a:custGeom>
            <a:solidFill>
              <a:srgbClr val="E87E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44" name="Google Shape;1444;p24"/>
            <p:cNvSpPr/>
            <p:nvPr/>
          </p:nvSpPr>
          <p:spPr>
            <a:xfrm>
              <a:off x="8825135" y="2816525"/>
              <a:ext cx="117700" cy="484792"/>
            </a:xfrm>
            <a:custGeom>
              <a:avLst/>
              <a:gdLst/>
              <a:ahLst/>
              <a:cxnLst/>
              <a:rect l="l" t="t" r="r" b="b"/>
              <a:pathLst>
                <a:path w="1775" h="7311" extrusionOk="0">
                  <a:moveTo>
                    <a:pt x="1" y="1"/>
                  </a:moveTo>
                  <a:lnTo>
                    <a:pt x="1" y="7311"/>
                  </a:lnTo>
                  <a:lnTo>
                    <a:pt x="1775" y="7311"/>
                  </a:lnTo>
                  <a:lnTo>
                    <a:pt x="1775" y="1"/>
                  </a:lnTo>
                  <a:close/>
                </a:path>
              </a:pathLst>
            </a:custGeom>
            <a:solidFill>
              <a:srgbClr val="E87E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45" name="Google Shape;1445;p24"/>
            <p:cNvSpPr/>
            <p:nvPr/>
          </p:nvSpPr>
          <p:spPr>
            <a:xfrm>
              <a:off x="8581972" y="2816525"/>
              <a:ext cx="118496" cy="484792"/>
            </a:xfrm>
            <a:custGeom>
              <a:avLst/>
              <a:gdLst/>
              <a:ahLst/>
              <a:cxnLst/>
              <a:rect l="l" t="t" r="r" b="b"/>
              <a:pathLst>
                <a:path w="1787" h="7311" extrusionOk="0">
                  <a:moveTo>
                    <a:pt x="0" y="1"/>
                  </a:moveTo>
                  <a:lnTo>
                    <a:pt x="0" y="7311"/>
                  </a:lnTo>
                  <a:lnTo>
                    <a:pt x="1786" y="7311"/>
                  </a:lnTo>
                  <a:lnTo>
                    <a:pt x="1786" y="1"/>
                  </a:lnTo>
                  <a:close/>
                </a:path>
              </a:pathLst>
            </a:custGeom>
            <a:solidFill>
              <a:srgbClr val="E87E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43111452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only 2">
  <p:cSld name="Title only 2">
    <p:spTree>
      <p:nvGrpSpPr>
        <p:cNvPr id="1" name="Shape 1446"/>
        <p:cNvGrpSpPr/>
        <p:nvPr/>
      </p:nvGrpSpPr>
      <p:grpSpPr>
        <a:xfrm>
          <a:off x="0" y="0"/>
          <a:ext cx="0" cy="0"/>
          <a:chOff x="0" y="0"/>
          <a:chExt cx="0" cy="0"/>
        </a:xfrm>
      </p:grpSpPr>
      <p:grpSp>
        <p:nvGrpSpPr>
          <p:cNvPr id="1447" name="Google Shape;1447;p25"/>
          <p:cNvGrpSpPr/>
          <p:nvPr/>
        </p:nvGrpSpPr>
        <p:grpSpPr>
          <a:xfrm>
            <a:off x="-132666" y="0"/>
            <a:ext cx="12373732" cy="6857917"/>
            <a:chOff x="-99500" y="0"/>
            <a:chExt cx="9280299" cy="5143438"/>
          </a:xfrm>
        </p:grpSpPr>
        <p:sp>
          <p:nvSpPr>
            <p:cNvPr id="1448" name="Google Shape;1448;p25"/>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49" name="Google Shape;1449;p25"/>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50" name="Google Shape;1450;p25"/>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51" name="Google Shape;1451;p25"/>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52" name="Google Shape;1452;p25"/>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53" name="Google Shape;1453;p25"/>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54" name="Google Shape;1454;p25"/>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55" name="Google Shape;1455;p25"/>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56" name="Google Shape;1456;p25"/>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57" name="Google Shape;1457;p25"/>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58" name="Google Shape;1458;p25"/>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59" name="Google Shape;1459;p25"/>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60" name="Google Shape;1460;p25"/>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61" name="Google Shape;1461;p25"/>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62" name="Google Shape;1462;p25"/>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63" name="Google Shape;1463;p25"/>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64" name="Google Shape;1464;p25"/>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65" name="Google Shape;1465;p25"/>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66" name="Google Shape;1466;p25"/>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67" name="Google Shape;1467;p25"/>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68" name="Google Shape;1468;p25"/>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69" name="Google Shape;1469;p25"/>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70" name="Google Shape;1470;p25"/>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71" name="Google Shape;1471;p25"/>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72" name="Google Shape;1472;p25"/>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73" name="Google Shape;1473;p25"/>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74" name="Google Shape;1474;p25"/>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75" name="Google Shape;1475;p25"/>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76" name="Google Shape;1476;p25"/>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77" name="Google Shape;1477;p25"/>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78" name="Google Shape;1478;p25"/>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79" name="Google Shape;1479;p25"/>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80" name="Google Shape;1480;p25"/>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81" name="Google Shape;1481;p25"/>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82" name="Google Shape;1482;p25"/>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83" name="Google Shape;1483;p25"/>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84" name="Google Shape;1484;p25"/>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85" name="Google Shape;1485;p25"/>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86" name="Google Shape;1486;p25"/>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87" name="Google Shape;1487;p25"/>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88" name="Google Shape;1488;p25"/>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89" name="Google Shape;1489;p25"/>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90" name="Google Shape;1490;p25"/>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491" name="Google Shape;1491;p25"/>
          <p:cNvSpPr txBox="1">
            <a:spLocks noGrp="1"/>
          </p:cNvSpPr>
          <p:nvPr>
            <p:ph type="title"/>
          </p:nvPr>
        </p:nvSpPr>
        <p:spPr>
          <a:xfrm>
            <a:off x="415600" y="720000"/>
            <a:ext cx="11360800" cy="636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grpSp>
        <p:nvGrpSpPr>
          <p:cNvPr id="1492" name="Google Shape;1492;p25"/>
          <p:cNvGrpSpPr/>
          <p:nvPr/>
        </p:nvGrpSpPr>
        <p:grpSpPr>
          <a:xfrm>
            <a:off x="128507" y="1356786"/>
            <a:ext cx="831485" cy="808029"/>
            <a:chOff x="5109838" y="3156700"/>
            <a:chExt cx="306625" cy="297975"/>
          </a:xfrm>
        </p:grpSpPr>
        <p:sp>
          <p:nvSpPr>
            <p:cNvPr id="1493" name="Google Shape;1493;p25"/>
            <p:cNvSpPr/>
            <p:nvPr/>
          </p:nvSpPr>
          <p:spPr>
            <a:xfrm>
              <a:off x="5246763" y="3180825"/>
              <a:ext cx="65525" cy="273850"/>
            </a:xfrm>
            <a:custGeom>
              <a:avLst/>
              <a:gdLst/>
              <a:ahLst/>
              <a:cxnLst/>
              <a:rect l="l" t="t" r="r" b="b"/>
              <a:pathLst>
                <a:path w="2621" h="10954" extrusionOk="0">
                  <a:moveTo>
                    <a:pt x="1" y="0"/>
                  </a:moveTo>
                  <a:lnTo>
                    <a:pt x="1" y="10954"/>
                  </a:lnTo>
                  <a:lnTo>
                    <a:pt x="2620" y="10954"/>
                  </a:lnTo>
                  <a:lnTo>
                    <a:pt x="2620"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94" name="Google Shape;1494;p25"/>
            <p:cNvSpPr/>
            <p:nvPr/>
          </p:nvSpPr>
          <p:spPr>
            <a:xfrm>
              <a:off x="5142888" y="3285000"/>
              <a:ext cx="273575" cy="65500"/>
            </a:xfrm>
            <a:custGeom>
              <a:avLst/>
              <a:gdLst/>
              <a:ahLst/>
              <a:cxnLst/>
              <a:rect l="l" t="t" r="r" b="b"/>
              <a:pathLst>
                <a:path w="10943" h="2620" extrusionOk="0">
                  <a:moveTo>
                    <a:pt x="0" y="0"/>
                  </a:moveTo>
                  <a:lnTo>
                    <a:pt x="0" y="2620"/>
                  </a:lnTo>
                  <a:lnTo>
                    <a:pt x="10942" y="2620"/>
                  </a:lnTo>
                  <a:lnTo>
                    <a:pt x="10942"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95" name="Google Shape;1495;p25"/>
            <p:cNvSpPr/>
            <p:nvPr/>
          </p:nvSpPr>
          <p:spPr>
            <a:xfrm>
              <a:off x="5214038" y="3156700"/>
              <a:ext cx="65500" cy="273575"/>
            </a:xfrm>
            <a:custGeom>
              <a:avLst/>
              <a:gdLst/>
              <a:ahLst/>
              <a:cxnLst/>
              <a:rect l="l" t="t" r="r" b="b"/>
              <a:pathLst>
                <a:path w="2620" h="10943" extrusionOk="0">
                  <a:moveTo>
                    <a:pt x="0" y="1"/>
                  </a:moveTo>
                  <a:lnTo>
                    <a:pt x="0" y="10942"/>
                  </a:lnTo>
                  <a:lnTo>
                    <a:pt x="2619" y="10942"/>
                  </a:lnTo>
                  <a:lnTo>
                    <a:pt x="2619" y="1"/>
                  </a:lnTo>
                  <a:close/>
                </a:path>
              </a:pathLst>
            </a:custGeom>
            <a:solidFill>
              <a:srgbClr val="2DD5E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96" name="Google Shape;1496;p25"/>
            <p:cNvSpPr/>
            <p:nvPr/>
          </p:nvSpPr>
          <p:spPr>
            <a:xfrm>
              <a:off x="5109838" y="3260575"/>
              <a:ext cx="273875" cy="65525"/>
            </a:xfrm>
            <a:custGeom>
              <a:avLst/>
              <a:gdLst/>
              <a:ahLst/>
              <a:cxnLst/>
              <a:rect l="l" t="t" r="r" b="b"/>
              <a:pathLst>
                <a:path w="10955" h="2621" extrusionOk="0">
                  <a:moveTo>
                    <a:pt x="1" y="1"/>
                  </a:moveTo>
                  <a:lnTo>
                    <a:pt x="1" y="2620"/>
                  </a:lnTo>
                  <a:lnTo>
                    <a:pt x="10955" y="2620"/>
                  </a:lnTo>
                  <a:lnTo>
                    <a:pt x="10955" y="1"/>
                  </a:lnTo>
                  <a:close/>
                </a:path>
              </a:pathLst>
            </a:custGeom>
            <a:solidFill>
              <a:srgbClr val="2DD5E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497" name="Google Shape;1497;p25"/>
          <p:cNvSpPr/>
          <p:nvPr/>
        </p:nvSpPr>
        <p:spPr>
          <a:xfrm>
            <a:off x="10415067" y="-81167"/>
            <a:ext cx="1826000" cy="943600"/>
          </a:xfrm>
          <a:prstGeom prst="rect">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1498" name="Google Shape;1498;p25"/>
          <p:cNvGrpSpPr/>
          <p:nvPr/>
        </p:nvGrpSpPr>
        <p:grpSpPr>
          <a:xfrm>
            <a:off x="11559348" y="4528418"/>
            <a:ext cx="356232" cy="1896505"/>
            <a:chOff x="2277938" y="3169500"/>
            <a:chExt cx="76825" cy="409000"/>
          </a:xfrm>
        </p:grpSpPr>
        <p:sp>
          <p:nvSpPr>
            <p:cNvPr id="1499" name="Google Shape;1499;p25"/>
            <p:cNvSpPr/>
            <p:nvPr/>
          </p:nvSpPr>
          <p:spPr>
            <a:xfrm>
              <a:off x="2297288" y="3183800"/>
              <a:ext cx="57475" cy="57450"/>
            </a:xfrm>
            <a:custGeom>
              <a:avLst/>
              <a:gdLst/>
              <a:ahLst/>
              <a:cxnLst/>
              <a:rect l="l" t="t" r="r" b="b"/>
              <a:pathLst>
                <a:path w="2299" h="2298" extrusionOk="0">
                  <a:moveTo>
                    <a:pt x="1144" y="0"/>
                  </a:moveTo>
                  <a:cubicBezTo>
                    <a:pt x="513" y="0"/>
                    <a:pt x="1" y="512"/>
                    <a:pt x="1" y="1143"/>
                  </a:cubicBezTo>
                  <a:cubicBezTo>
                    <a:pt x="1" y="1786"/>
                    <a:pt x="513" y="2298"/>
                    <a:pt x="1144" y="2298"/>
                  </a:cubicBezTo>
                  <a:cubicBezTo>
                    <a:pt x="1787" y="2298"/>
                    <a:pt x="2299" y="1786"/>
                    <a:pt x="2299" y="1143"/>
                  </a:cubicBezTo>
                  <a:cubicBezTo>
                    <a:pt x="2299" y="512"/>
                    <a:pt x="1787" y="0"/>
                    <a:pt x="1144" y="0"/>
                  </a:cubicBez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00" name="Google Shape;1500;p25"/>
            <p:cNvSpPr/>
            <p:nvPr/>
          </p:nvSpPr>
          <p:spPr>
            <a:xfrm>
              <a:off x="2297288" y="3296000"/>
              <a:ext cx="57475" cy="57775"/>
            </a:xfrm>
            <a:custGeom>
              <a:avLst/>
              <a:gdLst/>
              <a:ahLst/>
              <a:cxnLst/>
              <a:rect l="l" t="t" r="r" b="b"/>
              <a:pathLst>
                <a:path w="2299" h="2311" extrusionOk="0">
                  <a:moveTo>
                    <a:pt x="1144" y="1"/>
                  </a:moveTo>
                  <a:cubicBezTo>
                    <a:pt x="513" y="1"/>
                    <a:pt x="1" y="513"/>
                    <a:pt x="1" y="1156"/>
                  </a:cubicBezTo>
                  <a:cubicBezTo>
                    <a:pt x="1" y="1787"/>
                    <a:pt x="513" y="2311"/>
                    <a:pt x="1144" y="2311"/>
                  </a:cubicBezTo>
                  <a:cubicBezTo>
                    <a:pt x="1787" y="2311"/>
                    <a:pt x="2299" y="1787"/>
                    <a:pt x="2299" y="1156"/>
                  </a:cubicBezTo>
                  <a:cubicBezTo>
                    <a:pt x="2299" y="513"/>
                    <a:pt x="1787" y="1"/>
                    <a:pt x="1144" y="1"/>
                  </a:cubicBez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01" name="Google Shape;1501;p25"/>
            <p:cNvSpPr/>
            <p:nvPr/>
          </p:nvSpPr>
          <p:spPr>
            <a:xfrm>
              <a:off x="2297288" y="3408525"/>
              <a:ext cx="57475" cy="57475"/>
            </a:xfrm>
            <a:custGeom>
              <a:avLst/>
              <a:gdLst/>
              <a:ahLst/>
              <a:cxnLst/>
              <a:rect l="l" t="t" r="r" b="b"/>
              <a:pathLst>
                <a:path w="2299" h="2299" extrusionOk="0">
                  <a:moveTo>
                    <a:pt x="1144" y="0"/>
                  </a:moveTo>
                  <a:cubicBezTo>
                    <a:pt x="513" y="0"/>
                    <a:pt x="1" y="512"/>
                    <a:pt x="1" y="1143"/>
                  </a:cubicBezTo>
                  <a:cubicBezTo>
                    <a:pt x="1" y="1786"/>
                    <a:pt x="513" y="2298"/>
                    <a:pt x="1144" y="2298"/>
                  </a:cubicBezTo>
                  <a:cubicBezTo>
                    <a:pt x="1787" y="2298"/>
                    <a:pt x="2299" y="1786"/>
                    <a:pt x="2299" y="1143"/>
                  </a:cubicBezTo>
                  <a:cubicBezTo>
                    <a:pt x="2299" y="512"/>
                    <a:pt x="1787" y="0"/>
                    <a:pt x="1144" y="0"/>
                  </a:cubicBez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02" name="Google Shape;1502;p25"/>
            <p:cNvSpPr/>
            <p:nvPr/>
          </p:nvSpPr>
          <p:spPr>
            <a:xfrm>
              <a:off x="2297288" y="3520725"/>
              <a:ext cx="57475" cy="57775"/>
            </a:xfrm>
            <a:custGeom>
              <a:avLst/>
              <a:gdLst/>
              <a:ahLst/>
              <a:cxnLst/>
              <a:rect l="l" t="t" r="r" b="b"/>
              <a:pathLst>
                <a:path w="2299" h="2311" extrusionOk="0">
                  <a:moveTo>
                    <a:pt x="1144" y="1"/>
                  </a:moveTo>
                  <a:cubicBezTo>
                    <a:pt x="513" y="1"/>
                    <a:pt x="1" y="513"/>
                    <a:pt x="1" y="1156"/>
                  </a:cubicBezTo>
                  <a:cubicBezTo>
                    <a:pt x="1" y="1787"/>
                    <a:pt x="513" y="2311"/>
                    <a:pt x="1144" y="2311"/>
                  </a:cubicBezTo>
                  <a:cubicBezTo>
                    <a:pt x="1787" y="2311"/>
                    <a:pt x="2299" y="1787"/>
                    <a:pt x="2299" y="1156"/>
                  </a:cubicBezTo>
                  <a:cubicBezTo>
                    <a:pt x="2299" y="513"/>
                    <a:pt x="1787" y="1"/>
                    <a:pt x="1144" y="1"/>
                  </a:cubicBez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03" name="Google Shape;1503;p25"/>
            <p:cNvSpPr/>
            <p:nvPr/>
          </p:nvSpPr>
          <p:spPr>
            <a:xfrm>
              <a:off x="2277938" y="3169500"/>
              <a:ext cx="57775" cy="57475"/>
            </a:xfrm>
            <a:custGeom>
              <a:avLst/>
              <a:gdLst/>
              <a:ahLst/>
              <a:cxnLst/>
              <a:rect l="l" t="t" r="r" b="b"/>
              <a:pathLst>
                <a:path w="2311" h="2299" extrusionOk="0">
                  <a:moveTo>
                    <a:pt x="1156" y="1"/>
                  </a:moveTo>
                  <a:cubicBezTo>
                    <a:pt x="525" y="1"/>
                    <a:pt x="1" y="513"/>
                    <a:pt x="1" y="1144"/>
                  </a:cubicBezTo>
                  <a:cubicBezTo>
                    <a:pt x="1" y="1787"/>
                    <a:pt x="525" y="2298"/>
                    <a:pt x="1156" y="2298"/>
                  </a:cubicBezTo>
                  <a:cubicBezTo>
                    <a:pt x="1799" y="2298"/>
                    <a:pt x="2311" y="1787"/>
                    <a:pt x="2311" y="1144"/>
                  </a:cubicBezTo>
                  <a:cubicBezTo>
                    <a:pt x="2311" y="513"/>
                    <a:pt x="1799" y="1"/>
                    <a:pt x="115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04" name="Google Shape;1504;p25"/>
            <p:cNvSpPr/>
            <p:nvPr/>
          </p:nvSpPr>
          <p:spPr>
            <a:xfrm>
              <a:off x="2277938" y="3281725"/>
              <a:ext cx="57775" cy="57775"/>
            </a:xfrm>
            <a:custGeom>
              <a:avLst/>
              <a:gdLst/>
              <a:ahLst/>
              <a:cxnLst/>
              <a:rect l="l" t="t" r="r" b="b"/>
              <a:pathLst>
                <a:path w="2311" h="2311" extrusionOk="0">
                  <a:moveTo>
                    <a:pt x="1156" y="0"/>
                  </a:moveTo>
                  <a:cubicBezTo>
                    <a:pt x="525" y="0"/>
                    <a:pt x="1" y="512"/>
                    <a:pt x="1" y="1155"/>
                  </a:cubicBezTo>
                  <a:cubicBezTo>
                    <a:pt x="1" y="1786"/>
                    <a:pt x="525" y="2310"/>
                    <a:pt x="1156" y="2310"/>
                  </a:cubicBezTo>
                  <a:cubicBezTo>
                    <a:pt x="1799" y="2310"/>
                    <a:pt x="2311" y="1786"/>
                    <a:pt x="2311" y="1155"/>
                  </a:cubicBezTo>
                  <a:cubicBezTo>
                    <a:pt x="2311" y="512"/>
                    <a:pt x="1799" y="0"/>
                    <a:pt x="115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05" name="Google Shape;1505;p25"/>
            <p:cNvSpPr/>
            <p:nvPr/>
          </p:nvSpPr>
          <p:spPr>
            <a:xfrm>
              <a:off x="2277938" y="3394225"/>
              <a:ext cx="57775" cy="57475"/>
            </a:xfrm>
            <a:custGeom>
              <a:avLst/>
              <a:gdLst/>
              <a:ahLst/>
              <a:cxnLst/>
              <a:rect l="l" t="t" r="r" b="b"/>
              <a:pathLst>
                <a:path w="2311" h="2299" extrusionOk="0">
                  <a:moveTo>
                    <a:pt x="1156" y="1"/>
                  </a:moveTo>
                  <a:cubicBezTo>
                    <a:pt x="525" y="1"/>
                    <a:pt x="1" y="513"/>
                    <a:pt x="1" y="1144"/>
                  </a:cubicBezTo>
                  <a:cubicBezTo>
                    <a:pt x="1" y="1787"/>
                    <a:pt x="525" y="2299"/>
                    <a:pt x="1156" y="2299"/>
                  </a:cubicBezTo>
                  <a:cubicBezTo>
                    <a:pt x="1799" y="2299"/>
                    <a:pt x="2311" y="1787"/>
                    <a:pt x="2311" y="1144"/>
                  </a:cubicBezTo>
                  <a:cubicBezTo>
                    <a:pt x="2311" y="513"/>
                    <a:pt x="1799" y="1"/>
                    <a:pt x="115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06" name="Google Shape;1506;p25"/>
            <p:cNvSpPr/>
            <p:nvPr/>
          </p:nvSpPr>
          <p:spPr>
            <a:xfrm>
              <a:off x="2277938" y="3506450"/>
              <a:ext cx="57775" cy="57775"/>
            </a:xfrm>
            <a:custGeom>
              <a:avLst/>
              <a:gdLst/>
              <a:ahLst/>
              <a:cxnLst/>
              <a:rect l="l" t="t" r="r" b="b"/>
              <a:pathLst>
                <a:path w="2311" h="2311" extrusionOk="0">
                  <a:moveTo>
                    <a:pt x="1156" y="0"/>
                  </a:moveTo>
                  <a:cubicBezTo>
                    <a:pt x="525" y="0"/>
                    <a:pt x="1" y="512"/>
                    <a:pt x="1" y="1155"/>
                  </a:cubicBezTo>
                  <a:cubicBezTo>
                    <a:pt x="1" y="1786"/>
                    <a:pt x="525" y="2310"/>
                    <a:pt x="1156" y="2310"/>
                  </a:cubicBezTo>
                  <a:cubicBezTo>
                    <a:pt x="1799" y="2310"/>
                    <a:pt x="2311" y="1786"/>
                    <a:pt x="2311" y="1155"/>
                  </a:cubicBezTo>
                  <a:cubicBezTo>
                    <a:pt x="2311" y="512"/>
                    <a:pt x="1799" y="0"/>
                    <a:pt x="115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4108221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 only 3">
  <p:cSld name="Title only 3">
    <p:spTree>
      <p:nvGrpSpPr>
        <p:cNvPr id="1" name="Shape 1507"/>
        <p:cNvGrpSpPr/>
        <p:nvPr/>
      </p:nvGrpSpPr>
      <p:grpSpPr>
        <a:xfrm>
          <a:off x="0" y="0"/>
          <a:ext cx="0" cy="0"/>
          <a:chOff x="0" y="0"/>
          <a:chExt cx="0" cy="0"/>
        </a:xfrm>
      </p:grpSpPr>
      <p:grpSp>
        <p:nvGrpSpPr>
          <p:cNvPr id="1508" name="Google Shape;1508;p26"/>
          <p:cNvGrpSpPr/>
          <p:nvPr/>
        </p:nvGrpSpPr>
        <p:grpSpPr>
          <a:xfrm>
            <a:off x="-132666" y="0"/>
            <a:ext cx="12373732" cy="6857917"/>
            <a:chOff x="-99500" y="0"/>
            <a:chExt cx="9280299" cy="5143438"/>
          </a:xfrm>
        </p:grpSpPr>
        <p:sp>
          <p:nvSpPr>
            <p:cNvPr id="1509" name="Google Shape;1509;p26"/>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10" name="Google Shape;1510;p26"/>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11" name="Google Shape;1511;p26"/>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12" name="Google Shape;1512;p26"/>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13" name="Google Shape;1513;p26"/>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14" name="Google Shape;1514;p26"/>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15" name="Google Shape;1515;p26"/>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16" name="Google Shape;1516;p26"/>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17" name="Google Shape;1517;p26"/>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18" name="Google Shape;1518;p26"/>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19" name="Google Shape;1519;p26"/>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20" name="Google Shape;1520;p26"/>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21" name="Google Shape;1521;p26"/>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22" name="Google Shape;1522;p26"/>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23" name="Google Shape;1523;p26"/>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24" name="Google Shape;1524;p26"/>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25" name="Google Shape;1525;p26"/>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26" name="Google Shape;1526;p26"/>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27" name="Google Shape;1527;p26"/>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28" name="Google Shape;1528;p26"/>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29" name="Google Shape;1529;p26"/>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30" name="Google Shape;1530;p26"/>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31" name="Google Shape;1531;p26"/>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32" name="Google Shape;1532;p26"/>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33" name="Google Shape;1533;p26"/>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34" name="Google Shape;1534;p26"/>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35" name="Google Shape;1535;p26"/>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36" name="Google Shape;1536;p26"/>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37" name="Google Shape;1537;p26"/>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38" name="Google Shape;1538;p26"/>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39" name="Google Shape;1539;p26"/>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40" name="Google Shape;1540;p26"/>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41" name="Google Shape;1541;p26"/>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42" name="Google Shape;1542;p26"/>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43" name="Google Shape;1543;p26"/>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44" name="Google Shape;1544;p26"/>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45" name="Google Shape;1545;p26"/>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46" name="Google Shape;1546;p26"/>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47" name="Google Shape;1547;p26"/>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48" name="Google Shape;1548;p26"/>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49" name="Google Shape;1549;p26"/>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50" name="Google Shape;1550;p26"/>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51" name="Google Shape;1551;p26"/>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552" name="Google Shape;1552;p26"/>
          <p:cNvSpPr txBox="1">
            <a:spLocks noGrp="1"/>
          </p:cNvSpPr>
          <p:nvPr>
            <p:ph type="title"/>
          </p:nvPr>
        </p:nvSpPr>
        <p:spPr>
          <a:xfrm>
            <a:off x="415600" y="720000"/>
            <a:ext cx="11360800" cy="636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grpSp>
        <p:nvGrpSpPr>
          <p:cNvPr id="1553" name="Google Shape;1553;p26"/>
          <p:cNvGrpSpPr/>
          <p:nvPr/>
        </p:nvGrpSpPr>
        <p:grpSpPr>
          <a:xfrm>
            <a:off x="-932399" y="-55095"/>
            <a:ext cx="13305833" cy="6851597"/>
            <a:chOff x="-699300" y="-41321"/>
            <a:chExt cx="9979375" cy="5138698"/>
          </a:xfrm>
        </p:grpSpPr>
        <p:grpSp>
          <p:nvGrpSpPr>
            <p:cNvPr id="1554" name="Google Shape;1554;p26"/>
            <p:cNvGrpSpPr/>
            <p:nvPr/>
          </p:nvGrpSpPr>
          <p:grpSpPr>
            <a:xfrm rot="10800000">
              <a:off x="8310038" y="-41321"/>
              <a:ext cx="970037" cy="1254160"/>
              <a:chOff x="194863" y="3229838"/>
              <a:chExt cx="1354800" cy="1751375"/>
            </a:xfrm>
          </p:grpSpPr>
          <p:sp>
            <p:nvSpPr>
              <p:cNvPr id="1555" name="Google Shape;1555;p26"/>
              <p:cNvSpPr/>
              <p:nvPr/>
            </p:nvSpPr>
            <p:spPr>
              <a:xfrm>
                <a:off x="194863" y="3229850"/>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56" name="Google Shape;1556;p26"/>
              <p:cNvSpPr/>
              <p:nvPr/>
            </p:nvSpPr>
            <p:spPr>
              <a:xfrm>
                <a:off x="194863" y="3625841"/>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57" name="Google Shape;1557;p26"/>
              <p:cNvSpPr/>
              <p:nvPr/>
            </p:nvSpPr>
            <p:spPr>
              <a:xfrm>
                <a:off x="194863" y="4021831"/>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58" name="Google Shape;1558;p26"/>
              <p:cNvSpPr/>
              <p:nvPr/>
            </p:nvSpPr>
            <p:spPr>
              <a:xfrm>
                <a:off x="194863" y="4417822"/>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59" name="Google Shape;1559;p26"/>
              <p:cNvSpPr/>
              <p:nvPr/>
            </p:nvSpPr>
            <p:spPr>
              <a:xfrm>
                <a:off x="194863" y="4813813"/>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60" name="Google Shape;1560;p26"/>
              <p:cNvSpPr/>
              <p:nvPr/>
            </p:nvSpPr>
            <p:spPr>
              <a:xfrm>
                <a:off x="788563" y="3229838"/>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61" name="Google Shape;1561;p26"/>
              <p:cNvSpPr/>
              <p:nvPr/>
            </p:nvSpPr>
            <p:spPr>
              <a:xfrm>
                <a:off x="788563" y="3625828"/>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62" name="Google Shape;1562;p26"/>
              <p:cNvSpPr/>
              <p:nvPr/>
            </p:nvSpPr>
            <p:spPr>
              <a:xfrm>
                <a:off x="788563" y="4021819"/>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63" name="Google Shape;1563;p26"/>
              <p:cNvSpPr/>
              <p:nvPr/>
            </p:nvSpPr>
            <p:spPr>
              <a:xfrm>
                <a:off x="788563" y="4417809"/>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64" name="Google Shape;1564;p26"/>
              <p:cNvSpPr/>
              <p:nvPr/>
            </p:nvSpPr>
            <p:spPr>
              <a:xfrm>
                <a:off x="788563" y="4813800"/>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65" name="Google Shape;1565;p26"/>
              <p:cNvSpPr/>
              <p:nvPr/>
            </p:nvSpPr>
            <p:spPr>
              <a:xfrm>
                <a:off x="1382263" y="3229838"/>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66" name="Google Shape;1566;p26"/>
              <p:cNvSpPr/>
              <p:nvPr/>
            </p:nvSpPr>
            <p:spPr>
              <a:xfrm>
                <a:off x="1382263" y="3625828"/>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67" name="Google Shape;1567;p26"/>
              <p:cNvSpPr/>
              <p:nvPr/>
            </p:nvSpPr>
            <p:spPr>
              <a:xfrm>
                <a:off x="1382263" y="4021819"/>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68" name="Google Shape;1568;p26"/>
              <p:cNvSpPr/>
              <p:nvPr/>
            </p:nvSpPr>
            <p:spPr>
              <a:xfrm>
                <a:off x="1382263" y="4417809"/>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69" name="Google Shape;1569;p26"/>
              <p:cNvSpPr/>
              <p:nvPr/>
            </p:nvSpPr>
            <p:spPr>
              <a:xfrm>
                <a:off x="1382263" y="4813800"/>
                <a:ext cx="167400" cy="1674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570" name="Google Shape;1570;p26"/>
            <p:cNvGrpSpPr/>
            <p:nvPr/>
          </p:nvGrpSpPr>
          <p:grpSpPr>
            <a:xfrm>
              <a:off x="-88333" y="4424596"/>
              <a:ext cx="1364421" cy="510100"/>
              <a:chOff x="6532638" y="1585075"/>
              <a:chExt cx="619150" cy="170300"/>
            </a:xfrm>
          </p:grpSpPr>
          <p:sp>
            <p:nvSpPr>
              <p:cNvPr id="1571" name="Google Shape;1571;p26"/>
              <p:cNvSpPr/>
              <p:nvPr/>
            </p:nvSpPr>
            <p:spPr>
              <a:xfrm>
                <a:off x="6532638" y="1585075"/>
                <a:ext cx="619150" cy="170300"/>
              </a:xfrm>
              <a:custGeom>
                <a:avLst/>
                <a:gdLst/>
                <a:ahLst/>
                <a:cxnLst/>
                <a:rect l="l" t="t" r="r" b="b"/>
                <a:pathLst>
                  <a:path w="24766" h="6812" extrusionOk="0">
                    <a:moveTo>
                      <a:pt x="1" y="1"/>
                    </a:moveTo>
                    <a:lnTo>
                      <a:pt x="1" y="6811"/>
                    </a:lnTo>
                    <a:lnTo>
                      <a:pt x="24766" y="6811"/>
                    </a:lnTo>
                    <a:lnTo>
                      <a:pt x="2476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72" name="Google Shape;1572;p26"/>
              <p:cNvSpPr/>
              <p:nvPr/>
            </p:nvSpPr>
            <p:spPr>
              <a:xfrm>
                <a:off x="6555263" y="1585075"/>
                <a:ext cx="14325" cy="170300"/>
              </a:xfrm>
              <a:custGeom>
                <a:avLst/>
                <a:gdLst/>
                <a:ahLst/>
                <a:cxnLst/>
                <a:rect l="l" t="t" r="r" b="b"/>
                <a:pathLst>
                  <a:path w="573" h="6812" extrusionOk="0">
                    <a:moveTo>
                      <a:pt x="1" y="1"/>
                    </a:moveTo>
                    <a:lnTo>
                      <a:pt x="1"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73" name="Google Shape;1573;p26"/>
              <p:cNvSpPr/>
              <p:nvPr/>
            </p:nvSpPr>
            <p:spPr>
              <a:xfrm>
                <a:off x="6595738" y="1585075"/>
                <a:ext cx="14325" cy="170300"/>
              </a:xfrm>
              <a:custGeom>
                <a:avLst/>
                <a:gdLst/>
                <a:ahLst/>
                <a:cxnLst/>
                <a:rect l="l" t="t" r="r" b="b"/>
                <a:pathLst>
                  <a:path w="573" h="6812" extrusionOk="0">
                    <a:moveTo>
                      <a:pt x="1" y="1"/>
                    </a:moveTo>
                    <a:lnTo>
                      <a:pt x="1"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74" name="Google Shape;1574;p26"/>
              <p:cNvSpPr/>
              <p:nvPr/>
            </p:nvSpPr>
            <p:spPr>
              <a:xfrm>
                <a:off x="6636238" y="1585075"/>
                <a:ext cx="14300" cy="170300"/>
              </a:xfrm>
              <a:custGeom>
                <a:avLst/>
                <a:gdLst/>
                <a:ahLst/>
                <a:cxnLst/>
                <a:rect l="l" t="t" r="r" b="b"/>
                <a:pathLst>
                  <a:path w="572" h="6812" extrusionOk="0">
                    <a:moveTo>
                      <a:pt x="0" y="1"/>
                    </a:moveTo>
                    <a:lnTo>
                      <a:pt x="0"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75" name="Google Shape;1575;p26"/>
              <p:cNvSpPr/>
              <p:nvPr/>
            </p:nvSpPr>
            <p:spPr>
              <a:xfrm>
                <a:off x="6676713" y="1585075"/>
                <a:ext cx="14300" cy="170300"/>
              </a:xfrm>
              <a:custGeom>
                <a:avLst/>
                <a:gdLst/>
                <a:ahLst/>
                <a:cxnLst/>
                <a:rect l="l" t="t" r="r" b="b"/>
                <a:pathLst>
                  <a:path w="572" h="6812" extrusionOk="0">
                    <a:moveTo>
                      <a:pt x="0" y="1"/>
                    </a:moveTo>
                    <a:lnTo>
                      <a:pt x="0"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76" name="Google Shape;1576;p26"/>
              <p:cNvSpPr/>
              <p:nvPr/>
            </p:nvSpPr>
            <p:spPr>
              <a:xfrm>
                <a:off x="6717188" y="1585075"/>
                <a:ext cx="14325" cy="170300"/>
              </a:xfrm>
              <a:custGeom>
                <a:avLst/>
                <a:gdLst/>
                <a:ahLst/>
                <a:cxnLst/>
                <a:rect l="l" t="t" r="r" b="b"/>
                <a:pathLst>
                  <a:path w="573" h="6812" extrusionOk="0">
                    <a:moveTo>
                      <a:pt x="1" y="1"/>
                    </a:moveTo>
                    <a:lnTo>
                      <a:pt x="1"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77" name="Google Shape;1577;p26"/>
              <p:cNvSpPr/>
              <p:nvPr/>
            </p:nvSpPr>
            <p:spPr>
              <a:xfrm>
                <a:off x="6757663" y="1585075"/>
                <a:ext cx="14325" cy="170300"/>
              </a:xfrm>
              <a:custGeom>
                <a:avLst/>
                <a:gdLst/>
                <a:ahLst/>
                <a:cxnLst/>
                <a:rect l="l" t="t" r="r" b="b"/>
                <a:pathLst>
                  <a:path w="573" h="6812" extrusionOk="0">
                    <a:moveTo>
                      <a:pt x="1" y="1"/>
                    </a:moveTo>
                    <a:lnTo>
                      <a:pt x="1"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78" name="Google Shape;1578;p26"/>
              <p:cNvSpPr/>
              <p:nvPr/>
            </p:nvSpPr>
            <p:spPr>
              <a:xfrm>
                <a:off x="6798163" y="1585075"/>
                <a:ext cx="14300" cy="170300"/>
              </a:xfrm>
              <a:custGeom>
                <a:avLst/>
                <a:gdLst/>
                <a:ahLst/>
                <a:cxnLst/>
                <a:rect l="l" t="t" r="r" b="b"/>
                <a:pathLst>
                  <a:path w="572" h="6812" extrusionOk="0">
                    <a:moveTo>
                      <a:pt x="0" y="1"/>
                    </a:moveTo>
                    <a:lnTo>
                      <a:pt x="0"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79" name="Google Shape;1579;p26"/>
              <p:cNvSpPr/>
              <p:nvPr/>
            </p:nvSpPr>
            <p:spPr>
              <a:xfrm>
                <a:off x="6838638" y="1585075"/>
                <a:ext cx="14300" cy="170300"/>
              </a:xfrm>
              <a:custGeom>
                <a:avLst/>
                <a:gdLst/>
                <a:ahLst/>
                <a:cxnLst/>
                <a:rect l="l" t="t" r="r" b="b"/>
                <a:pathLst>
                  <a:path w="572" h="6812" extrusionOk="0">
                    <a:moveTo>
                      <a:pt x="0" y="1"/>
                    </a:moveTo>
                    <a:lnTo>
                      <a:pt x="0"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80" name="Google Shape;1580;p26"/>
              <p:cNvSpPr/>
              <p:nvPr/>
            </p:nvSpPr>
            <p:spPr>
              <a:xfrm>
                <a:off x="6879113" y="1585075"/>
                <a:ext cx="14325" cy="170300"/>
              </a:xfrm>
              <a:custGeom>
                <a:avLst/>
                <a:gdLst/>
                <a:ahLst/>
                <a:cxnLst/>
                <a:rect l="l" t="t" r="r" b="b"/>
                <a:pathLst>
                  <a:path w="573" h="6812" extrusionOk="0">
                    <a:moveTo>
                      <a:pt x="1" y="1"/>
                    </a:moveTo>
                    <a:lnTo>
                      <a:pt x="1"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81" name="Google Shape;1581;p26"/>
              <p:cNvSpPr/>
              <p:nvPr/>
            </p:nvSpPr>
            <p:spPr>
              <a:xfrm>
                <a:off x="6919588" y="1585075"/>
                <a:ext cx="14325" cy="170300"/>
              </a:xfrm>
              <a:custGeom>
                <a:avLst/>
                <a:gdLst/>
                <a:ahLst/>
                <a:cxnLst/>
                <a:rect l="l" t="t" r="r" b="b"/>
                <a:pathLst>
                  <a:path w="573" h="6812" extrusionOk="0">
                    <a:moveTo>
                      <a:pt x="1" y="1"/>
                    </a:moveTo>
                    <a:lnTo>
                      <a:pt x="1"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82" name="Google Shape;1582;p26"/>
              <p:cNvSpPr/>
              <p:nvPr/>
            </p:nvSpPr>
            <p:spPr>
              <a:xfrm>
                <a:off x="6960088" y="1585075"/>
                <a:ext cx="14300" cy="170300"/>
              </a:xfrm>
              <a:custGeom>
                <a:avLst/>
                <a:gdLst/>
                <a:ahLst/>
                <a:cxnLst/>
                <a:rect l="l" t="t" r="r" b="b"/>
                <a:pathLst>
                  <a:path w="572" h="6812" extrusionOk="0">
                    <a:moveTo>
                      <a:pt x="0" y="1"/>
                    </a:moveTo>
                    <a:lnTo>
                      <a:pt x="0"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83" name="Google Shape;1583;p26"/>
              <p:cNvSpPr/>
              <p:nvPr/>
            </p:nvSpPr>
            <p:spPr>
              <a:xfrm>
                <a:off x="7000563" y="1585075"/>
                <a:ext cx="14300" cy="170300"/>
              </a:xfrm>
              <a:custGeom>
                <a:avLst/>
                <a:gdLst/>
                <a:ahLst/>
                <a:cxnLst/>
                <a:rect l="l" t="t" r="r" b="b"/>
                <a:pathLst>
                  <a:path w="572" h="6812" extrusionOk="0">
                    <a:moveTo>
                      <a:pt x="0" y="1"/>
                    </a:moveTo>
                    <a:lnTo>
                      <a:pt x="0"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84" name="Google Shape;1584;p26"/>
              <p:cNvSpPr/>
              <p:nvPr/>
            </p:nvSpPr>
            <p:spPr>
              <a:xfrm>
                <a:off x="7041038" y="1585075"/>
                <a:ext cx="14325" cy="170300"/>
              </a:xfrm>
              <a:custGeom>
                <a:avLst/>
                <a:gdLst/>
                <a:ahLst/>
                <a:cxnLst/>
                <a:rect l="l" t="t" r="r" b="b"/>
                <a:pathLst>
                  <a:path w="573" h="6812" extrusionOk="0">
                    <a:moveTo>
                      <a:pt x="1" y="1"/>
                    </a:moveTo>
                    <a:lnTo>
                      <a:pt x="1" y="6811"/>
                    </a:lnTo>
                    <a:lnTo>
                      <a:pt x="572" y="6811"/>
                    </a:lnTo>
                    <a:lnTo>
                      <a:pt x="572"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85" name="Google Shape;1585;p26"/>
              <p:cNvSpPr/>
              <p:nvPr/>
            </p:nvSpPr>
            <p:spPr>
              <a:xfrm>
                <a:off x="7081213" y="1585075"/>
                <a:ext cx="14625" cy="170300"/>
              </a:xfrm>
              <a:custGeom>
                <a:avLst/>
                <a:gdLst/>
                <a:ahLst/>
                <a:cxnLst/>
                <a:rect l="l" t="t" r="r" b="b"/>
                <a:pathLst>
                  <a:path w="585" h="6812" extrusionOk="0">
                    <a:moveTo>
                      <a:pt x="1" y="1"/>
                    </a:moveTo>
                    <a:lnTo>
                      <a:pt x="1" y="6811"/>
                    </a:lnTo>
                    <a:lnTo>
                      <a:pt x="584" y="6811"/>
                    </a:lnTo>
                    <a:lnTo>
                      <a:pt x="584"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86" name="Google Shape;1586;p26"/>
              <p:cNvSpPr/>
              <p:nvPr/>
            </p:nvSpPr>
            <p:spPr>
              <a:xfrm>
                <a:off x="7121713" y="1585075"/>
                <a:ext cx="14600" cy="170300"/>
              </a:xfrm>
              <a:custGeom>
                <a:avLst/>
                <a:gdLst/>
                <a:ahLst/>
                <a:cxnLst/>
                <a:rect l="l" t="t" r="r" b="b"/>
                <a:pathLst>
                  <a:path w="584" h="6812" extrusionOk="0">
                    <a:moveTo>
                      <a:pt x="0" y="1"/>
                    </a:moveTo>
                    <a:lnTo>
                      <a:pt x="0" y="6811"/>
                    </a:lnTo>
                    <a:lnTo>
                      <a:pt x="584" y="6811"/>
                    </a:lnTo>
                    <a:lnTo>
                      <a:pt x="584" y="1"/>
                    </a:ln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587" name="Google Shape;1587;p26"/>
            <p:cNvGrpSpPr/>
            <p:nvPr/>
          </p:nvGrpSpPr>
          <p:grpSpPr>
            <a:xfrm>
              <a:off x="8128576" y="4261914"/>
              <a:ext cx="859777" cy="835462"/>
              <a:chOff x="5109838" y="3156700"/>
              <a:chExt cx="306625" cy="297975"/>
            </a:xfrm>
          </p:grpSpPr>
          <p:sp>
            <p:nvSpPr>
              <p:cNvPr id="1588" name="Google Shape;1588;p26"/>
              <p:cNvSpPr/>
              <p:nvPr/>
            </p:nvSpPr>
            <p:spPr>
              <a:xfrm>
                <a:off x="5246763" y="3180825"/>
                <a:ext cx="65525" cy="273850"/>
              </a:xfrm>
              <a:custGeom>
                <a:avLst/>
                <a:gdLst/>
                <a:ahLst/>
                <a:cxnLst/>
                <a:rect l="l" t="t" r="r" b="b"/>
                <a:pathLst>
                  <a:path w="2621" h="10954" extrusionOk="0">
                    <a:moveTo>
                      <a:pt x="1" y="0"/>
                    </a:moveTo>
                    <a:lnTo>
                      <a:pt x="1" y="10954"/>
                    </a:lnTo>
                    <a:lnTo>
                      <a:pt x="2620" y="10954"/>
                    </a:lnTo>
                    <a:lnTo>
                      <a:pt x="2620"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89" name="Google Shape;1589;p26"/>
              <p:cNvSpPr/>
              <p:nvPr/>
            </p:nvSpPr>
            <p:spPr>
              <a:xfrm>
                <a:off x="5142888" y="3285000"/>
                <a:ext cx="273575" cy="65500"/>
              </a:xfrm>
              <a:custGeom>
                <a:avLst/>
                <a:gdLst/>
                <a:ahLst/>
                <a:cxnLst/>
                <a:rect l="l" t="t" r="r" b="b"/>
                <a:pathLst>
                  <a:path w="10943" h="2620" extrusionOk="0">
                    <a:moveTo>
                      <a:pt x="0" y="0"/>
                    </a:moveTo>
                    <a:lnTo>
                      <a:pt x="0" y="2620"/>
                    </a:lnTo>
                    <a:lnTo>
                      <a:pt x="10942" y="2620"/>
                    </a:lnTo>
                    <a:lnTo>
                      <a:pt x="10942" y="0"/>
                    </a:ln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90" name="Google Shape;1590;p26"/>
              <p:cNvSpPr/>
              <p:nvPr/>
            </p:nvSpPr>
            <p:spPr>
              <a:xfrm>
                <a:off x="5214038" y="3156700"/>
                <a:ext cx="65500" cy="273575"/>
              </a:xfrm>
              <a:custGeom>
                <a:avLst/>
                <a:gdLst/>
                <a:ahLst/>
                <a:cxnLst/>
                <a:rect l="l" t="t" r="r" b="b"/>
                <a:pathLst>
                  <a:path w="2620" h="10943" extrusionOk="0">
                    <a:moveTo>
                      <a:pt x="0" y="1"/>
                    </a:moveTo>
                    <a:lnTo>
                      <a:pt x="0" y="10942"/>
                    </a:lnTo>
                    <a:lnTo>
                      <a:pt x="2619" y="10942"/>
                    </a:lnTo>
                    <a:lnTo>
                      <a:pt x="261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91" name="Google Shape;1591;p26"/>
              <p:cNvSpPr/>
              <p:nvPr/>
            </p:nvSpPr>
            <p:spPr>
              <a:xfrm>
                <a:off x="5109838" y="3260575"/>
                <a:ext cx="273875" cy="65525"/>
              </a:xfrm>
              <a:custGeom>
                <a:avLst/>
                <a:gdLst/>
                <a:ahLst/>
                <a:cxnLst/>
                <a:rect l="l" t="t" r="r" b="b"/>
                <a:pathLst>
                  <a:path w="10955" h="2621" extrusionOk="0">
                    <a:moveTo>
                      <a:pt x="1" y="1"/>
                    </a:moveTo>
                    <a:lnTo>
                      <a:pt x="1" y="2620"/>
                    </a:lnTo>
                    <a:lnTo>
                      <a:pt x="10955" y="2620"/>
                    </a:lnTo>
                    <a:lnTo>
                      <a:pt x="1095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592" name="Google Shape;1592;p26"/>
            <p:cNvSpPr/>
            <p:nvPr/>
          </p:nvSpPr>
          <p:spPr>
            <a:xfrm>
              <a:off x="-699300" y="242575"/>
              <a:ext cx="1419300" cy="1419300"/>
            </a:xfrm>
            <a:prstGeom prst="donut">
              <a:avLst>
                <a:gd name="adj" fmla="val 25000"/>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13668628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Background">
  <p:cSld name="Background">
    <p:spTree>
      <p:nvGrpSpPr>
        <p:cNvPr id="1" name="Shape 1593"/>
        <p:cNvGrpSpPr/>
        <p:nvPr/>
      </p:nvGrpSpPr>
      <p:grpSpPr>
        <a:xfrm>
          <a:off x="0" y="0"/>
          <a:ext cx="0" cy="0"/>
          <a:chOff x="0" y="0"/>
          <a:chExt cx="0" cy="0"/>
        </a:xfrm>
      </p:grpSpPr>
      <p:grpSp>
        <p:nvGrpSpPr>
          <p:cNvPr id="1594" name="Google Shape;1594;p27"/>
          <p:cNvGrpSpPr/>
          <p:nvPr/>
        </p:nvGrpSpPr>
        <p:grpSpPr>
          <a:xfrm>
            <a:off x="-132666" y="0"/>
            <a:ext cx="12373732" cy="6857917"/>
            <a:chOff x="-99500" y="0"/>
            <a:chExt cx="9280299" cy="5143438"/>
          </a:xfrm>
        </p:grpSpPr>
        <p:grpSp>
          <p:nvGrpSpPr>
            <p:cNvPr id="1595" name="Google Shape;1595;p27"/>
            <p:cNvGrpSpPr/>
            <p:nvPr/>
          </p:nvGrpSpPr>
          <p:grpSpPr>
            <a:xfrm>
              <a:off x="-99500" y="0"/>
              <a:ext cx="9280299" cy="5143438"/>
              <a:chOff x="-99500" y="0"/>
              <a:chExt cx="9280299" cy="5143438"/>
            </a:xfrm>
          </p:grpSpPr>
          <p:sp>
            <p:nvSpPr>
              <p:cNvPr id="1596" name="Google Shape;1596;p27"/>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97" name="Google Shape;1597;p27"/>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98" name="Google Shape;1598;p27"/>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99" name="Google Shape;1599;p27"/>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00" name="Google Shape;1600;p27"/>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01" name="Google Shape;1601;p27"/>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02" name="Google Shape;1602;p27"/>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03" name="Google Shape;1603;p27"/>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04" name="Google Shape;1604;p27"/>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05" name="Google Shape;1605;p27"/>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06" name="Google Shape;1606;p27"/>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07" name="Google Shape;1607;p27"/>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08" name="Google Shape;1608;p27"/>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09" name="Google Shape;1609;p27"/>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10" name="Google Shape;1610;p27"/>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11" name="Google Shape;1611;p27"/>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12" name="Google Shape;1612;p27"/>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13" name="Google Shape;1613;p27"/>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14" name="Google Shape;1614;p27"/>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15" name="Google Shape;1615;p27"/>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16" name="Google Shape;1616;p27"/>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17" name="Google Shape;1617;p27"/>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18" name="Google Shape;1618;p27"/>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19" name="Google Shape;1619;p27"/>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20" name="Google Shape;1620;p27"/>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21" name="Google Shape;1621;p27"/>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22" name="Google Shape;1622;p27"/>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23" name="Google Shape;1623;p27"/>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24" name="Google Shape;1624;p27"/>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25" name="Google Shape;1625;p27"/>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26" name="Google Shape;1626;p27"/>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27" name="Google Shape;1627;p27"/>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28" name="Google Shape;1628;p27"/>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29" name="Google Shape;1629;p27"/>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30" name="Google Shape;1630;p27"/>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31" name="Google Shape;1631;p27"/>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32" name="Google Shape;1632;p27"/>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33" name="Google Shape;1633;p27"/>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34" name="Google Shape;1634;p27"/>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35" name="Google Shape;1635;p27"/>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36" name="Google Shape;1636;p27"/>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37" name="Google Shape;1637;p27"/>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38" name="Google Shape;1638;p27"/>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639" name="Google Shape;1639;p27"/>
            <p:cNvGrpSpPr/>
            <p:nvPr/>
          </p:nvGrpSpPr>
          <p:grpSpPr>
            <a:xfrm>
              <a:off x="117287" y="100756"/>
              <a:ext cx="8722065" cy="4363753"/>
              <a:chOff x="117287" y="100756"/>
              <a:chExt cx="8722065" cy="4363753"/>
            </a:xfrm>
          </p:grpSpPr>
          <p:grpSp>
            <p:nvGrpSpPr>
              <p:cNvPr id="1640" name="Google Shape;1640;p27"/>
              <p:cNvGrpSpPr/>
              <p:nvPr/>
            </p:nvGrpSpPr>
            <p:grpSpPr>
              <a:xfrm>
                <a:off x="7867306" y="202825"/>
                <a:ext cx="972046" cy="1342812"/>
                <a:chOff x="2673045" y="-67517"/>
                <a:chExt cx="665238" cy="918916"/>
              </a:xfrm>
            </p:grpSpPr>
            <p:sp>
              <p:nvSpPr>
                <p:cNvPr id="1641" name="Google Shape;1641;p27"/>
                <p:cNvSpPr/>
                <p:nvPr/>
              </p:nvSpPr>
              <p:spPr>
                <a:xfrm rot="-5400000">
                  <a:off x="2594024" y="111691"/>
                  <a:ext cx="823440" cy="655977"/>
                </a:xfrm>
                <a:custGeom>
                  <a:avLst/>
                  <a:gdLst/>
                  <a:ahLst/>
                  <a:cxnLst/>
                  <a:rect l="l" t="t" r="r" b="b"/>
                  <a:pathLst>
                    <a:path w="25874" h="20612" extrusionOk="0">
                      <a:moveTo>
                        <a:pt x="20350" y="1"/>
                      </a:moveTo>
                      <a:cubicBezTo>
                        <a:pt x="19973" y="1"/>
                        <a:pt x="19591" y="105"/>
                        <a:pt x="19253" y="324"/>
                      </a:cubicBezTo>
                      <a:cubicBezTo>
                        <a:pt x="18301" y="931"/>
                        <a:pt x="18027" y="2205"/>
                        <a:pt x="18634" y="3145"/>
                      </a:cubicBezTo>
                      <a:cubicBezTo>
                        <a:pt x="21230" y="7170"/>
                        <a:pt x="20063" y="12551"/>
                        <a:pt x="16039" y="15135"/>
                      </a:cubicBezTo>
                      <a:cubicBezTo>
                        <a:pt x="14617" y="16053"/>
                        <a:pt x="13001" y="16524"/>
                        <a:pt x="11354" y="16524"/>
                      </a:cubicBezTo>
                      <a:cubicBezTo>
                        <a:pt x="10738" y="16524"/>
                        <a:pt x="10118" y="16458"/>
                        <a:pt x="9502" y="16326"/>
                      </a:cubicBezTo>
                      <a:cubicBezTo>
                        <a:pt x="7240" y="15837"/>
                        <a:pt x="5299" y="14492"/>
                        <a:pt x="4049" y="12539"/>
                      </a:cubicBezTo>
                      <a:cubicBezTo>
                        <a:pt x="3654" y="11932"/>
                        <a:pt x="2998" y="11601"/>
                        <a:pt x="2331" y="11601"/>
                      </a:cubicBezTo>
                      <a:cubicBezTo>
                        <a:pt x="1951" y="11601"/>
                        <a:pt x="1568" y="11708"/>
                        <a:pt x="1227" y="11932"/>
                      </a:cubicBezTo>
                      <a:cubicBezTo>
                        <a:pt x="275" y="12539"/>
                        <a:pt x="1" y="13801"/>
                        <a:pt x="608" y="14754"/>
                      </a:cubicBezTo>
                      <a:cubicBezTo>
                        <a:pt x="2454" y="17611"/>
                        <a:pt x="5299" y="19588"/>
                        <a:pt x="8633" y="20314"/>
                      </a:cubicBezTo>
                      <a:cubicBezTo>
                        <a:pt x="9538" y="20517"/>
                        <a:pt x="10455" y="20612"/>
                        <a:pt x="11371" y="20612"/>
                      </a:cubicBezTo>
                      <a:cubicBezTo>
                        <a:pt x="13788" y="20612"/>
                        <a:pt x="16158" y="19921"/>
                        <a:pt x="18241" y="18576"/>
                      </a:cubicBezTo>
                      <a:cubicBezTo>
                        <a:pt x="24159" y="14766"/>
                        <a:pt x="25873" y="6860"/>
                        <a:pt x="22075" y="943"/>
                      </a:cubicBezTo>
                      <a:cubicBezTo>
                        <a:pt x="21686" y="333"/>
                        <a:pt x="21024" y="1"/>
                        <a:pt x="20350" y="1"/>
                      </a:cubicBezTo>
                      <a:close/>
                    </a:path>
                  </a:pathLst>
                </a:custGeom>
                <a:solidFill>
                  <a:srgbClr val="2DD5E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42" name="Google Shape;1642;p27"/>
                <p:cNvSpPr/>
                <p:nvPr/>
              </p:nvSpPr>
              <p:spPr>
                <a:xfrm rot="-5400000">
                  <a:off x="2588279" y="17249"/>
                  <a:ext cx="834770" cy="665238"/>
                </a:xfrm>
                <a:custGeom>
                  <a:avLst/>
                  <a:gdLst/>
                  <a:ahLst/>
                  <a:cxnLst/>
                  <a:rect l="l" t="t" r="r" b="b"/>
                  <a:pathLst>
                    <a:path w="26230" h="20903" extrusionOk="0">
                      <a:moveTo>
                        <a:pt x="20529" y="298"/>
                      </a:moveTo>
                      <a:cubicBezTo>
                        <a:pt x="20662" y="298"/>
                        <a:pt x="20797" y="312"/>
                        <a:pt x="20931" y="341"/>
                      </a:cubicBezTo>
                      <a:cubicBezTo>
                        <a:pt x="21419" y="448"/>
                        <a:pt x="21848" y="745"/>
                        <a:pt x="22122" y="1174"/>
                      </a:cubicBezTo>
                      <a:cubicBezTo>
                        <a:pt x="25884" y="7020"/>
                        <a:pt x="24182" y="14842"/>
                        <a:pt x="18336" y="18605"/>
                      </a:cubicBezTo>
                      <a:cubicBezTo>
                        <a:pt x="16300" y="19914"/>
                        <a:pt x="13942" y="20617"/>
                        <a:pt x="11537" y="20617"/>
                      </a:cubicBezTo>
                      <a:cubicBezTo>
                        <a:pt x="10644" y="20617"/>
                        <a:pt x="9727" y="20510"/>
                        <a:pt x="8846" y="20319"/>
                      </a:cubicBezTo>
                      <a:cubicBezTo>
                        <a:pt x="5548" y="19605"/>
                        <a:pt x="2727" y="17652"/>
                        <a:pt x="905" y="14819"/>
                      </a:cubicBezTo>
                      <a:cubicBezTo>
                        <a:pt x="345" y="13937"/>
                        <a:pt x="595" y="12759"/>
                        <a:pt x="1476" y="12199"/>
                      </a:cubicBezTo>
                      <a:cubicBezTo>
                        <a:pt x="1786" y="11997"/>
                        <a:pt x="2143" y="11902"/>
                        <a:pt x="2500" y="11902"/>
                      </a:cubicBezTo>
                      <a:cubicBezTo>
                        <a:pt x="2631" y="11902"/>
                        <a:pt x="2762" y="11913"/>
                        <a:pt x="2905" y="11949"/>
                      </a:cubicBezTo>
                      <a:cubicBezTo>
                        <a:pt x="3393" y="12056"/>
                        <a:pt x="3822" y="12342"/>
                        <a:pt x="4096" y="12771"/>
                      </a:cubicBezTo>
                      <a:cubicBezTo>
                        <a:pt x="5370" y="14747"/>
                        <a:pt x="7334" y="16116"/>
                        <a:pt x="9644" y="16616"/>
                      </a:cubicBezTo>
                      <a:cubicBezTo>
                        <a:pt x="10275" y="16754"/>
                        <a:pt x="10912" y="16822"/>
                        <a:pt x="11544" y="16822"/>
                      </a:cubicBezTo>
                      <a:cubicBezTo>
                        <a:pt x="13214" y="16822"/>
                        <a:pt x="14854" y="16347"/>
                        <a:pt x="16288" y="15414"/>
                      </a:cubicBezTo>
                      <a:cubicBezTo>
                        <a:pt x="20384" y="12783"/>
                        <a:pt x="21574" y="7318"/>
                        <a:pt x="18943" y="3222"/>
                      </a:cubicBezTo>
                      <a:cubicBezTo>
                        <a:pt x="18371" y="2341"/>
                        <a:pt x="18621" y="1162"/>
                        <a:pt x="19503" y="603"/>
                      </a:cubicBezTo>
                      <a:cubicBezTo>
                        <a:pt x="19816" y="402"/>
                        <a:pt x="20167" y="298"/>
                        <a:pt x="20529" y="298"/>
                      </a:cubicBezTo>
                      <a:close/>
                      <a:moveTo>
                        <a:pt x="20512" y="0"/>
                      </a:moveTo>
                      <a:cubicBezTo>
                        <a:pt x="20101" y="0"/>
                        <a:pt x="19700" y="121"/>
                        <a:pt x="19348" y="352"/>
                      </a:cubicBezTo>
                      <a:cubicBezTo>
                        <a:pt x="18324" y="1007"/>
                        <a:pt x="18038" y="2365"/>
                        <a:pt x="18693" y="3377"/>
                      </a:cubicBezTo>
                      <a:cubicBezTo>
                        <a:pt x="21229" y="7330"/>
                        <a:pt x="20086" y="12616"/>
                        <a:pt x="16133" y="15164"/>
                      </a:cubicBezTo>
                      <a:cubicBezTo>
                        <a:pt x="14738" y="16065"/>
                        <a:pt x="13148" y="16525"/>
                        <a:pt x="11527" y="16525"/>
                      </a:cubicBezTo>
                      <a:cubicBezTo>
                        <a:pt x="10920" y="16525"/>
                        <a:pt x="10310" y="16460"/>
                        <a:pt x="9704" y="16331"/>
                      </a:cubicBezTo>
                      <a:cubicBezTo>
                        <a:pt x="7477" y="15842"/>
                        <a:pt x="5572" y="14521"/>
                        <a:pt x="4346" y="12604"/>
                      </a:cubicBezTo>
                      <a:cubicBezTo>
                        <a:pt x="4024" y="12116"/>
                        <a:pt x="3536" y="11771"/>
                        <a:pt x="2965" y="11651"/>
                      </a:cubicBezTo>
                      <a:cubicBezTo>
                        <a:pt x="2807" y="11619"/>
                        <a:pt x="2649" y="11602"/>
                        <a:pt x="2491" y="11602"/>
                      </a:cubicBezTo>
                      <a:cubicBezTo>
                        <a:pt x="2078" y="11602"/>
                        <a:pt x="1672" y="11716"/>
                        <a:pt x="1310" y="11949"/>
                      </a:cubicBezTo>
                      <a:cubicBezTo>
                        <a:pt x="298" y="12604"/>
                        <a:pt x="0" y="13961"/>
                        <a:pt x="655" y="14973"/>
                      </a:cubicBezTo>
                      <a:cubicBezTo>
                        <a:pt x="2524" y="17878"/>
                        <a:pt x="5406" y="19879"/>
                        <a:pt x="8775" y="20605"/>
                      </a:cubicBezTo>
                      <a:cubicBezTo>
                        <a:pt x="9692" y="20807"/>
                        <a:pt x="10620" y="20903"/>
                        <a:pt x="11537" y="20903"/>
                      </a:cubicBezTo>
                      <a:cubicBezTo>
                        <a:pt x="14002" y="20903"/>
                        <a:pt x="16407" y="20200"/>
                        <a:pt x="18502" y="18843"/>
                      </a:cubicBezTo>
                      <a:cubicBezTo>
                        <a:pt x="24491" y="14997"/>
                        <a:pt x="26230" y="6996"/>
                        <a:pt x="22372" y="1007"/>
                      </a:cubicBezTo>
                      <a:cubicBezTo>
                        <a:pt x="22050" y="519"/>
                        <a:pt x="21562" y="174"/>
                        <a:pt x="20991" y="55"/>
                      </a:cubicBezTo>
                      <a:cubicBezTo>
                        <a:pt x="20831" y="18"/>
                        <a:pt x="20671" y="0"/>
                        <a:pt x="20512" y="0"/>
                      </a:cubicBez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643" name="Google Shape;1643;p27"/>
              <p:cNvGrpSpPr/>
              <p:nvPr/>
            </p:nvGrpSpPr>
            <p:grpSpPr>
              <a:xfrm rot="-5400000">
                <a:off x="121212" y="3813335"/>
                <a:ext cx="766800" cy="535549"/>
                <a:chOff x="5059762" y="4251410"/>
                <a:chExt cx="766800" cy="535549"/>
              </a:xfrm>
            </p:grpSpPr>
            <p:sp>
              <p:nvSpPr>
                <p:cNvPr id="1644" name="Google Shape;1644;p27"/>
                <p:cNvSpPr/>
                <p:nvPr/>
              </p:nvSpPr>
              <p:spPr>
                <a:xfrm>
                  <a:off x="5524244" y="4251410"/>
                  <a:ext cx="302318" cy="535549"/>
                </a:xfrm>
                <a:custGeom>
                  <a:avLst/>
                  <a:gdLst/>
                  <a:ahLst/>
                  <a:cxnLst/>
                  <a:rect l="l" t="t" r="r" b="b"/>
                  <a:pathLst>
                    <a:path w="4882" h="8648" extrusionOk="0">
                      <a:moveTo>
                        <a:pt x="821" y="0"/>
                      </a:moveTo>
                      <a:cubicBezTo>
                        <a:pt x="654" y="0"/>
                        <a:pt x="486" y="55"/>
                        <a:pt x="346" y="170"/>
                      </a:cubicBezTo>
                      <a:cubicBezTo>
                        <a:pt x="167" y="313"/>
                        <a:pt x="84" y="527"/>
                        <a:pt x="84" y="742"/>
                      </a:cubicBezTo>
                      <a:cubicBezTo>
                        <a:pt x="84" y="908"/>
                        <a:pt x="131" y="1075"/>
                        <a:pt x="250" y="1218"/>
                      </a:cubicBezTo>
                      <a:lnTo>
                        <a:pt x="3060" y="4623"/>
                      </a:lnTo>
                      <a:lnTo>
                        <a:pt x="298" y="7373"/>
                      </a:lnTo>
                      <a:cubicBezTo>
                        <a:pt x="12" y="7671"/>
                        <a:pt x="0" y="8135"/>
                        <a:pt x="298" y="8433"/>
                      </a:cubicBezTo>
                      <a:cubicBezTo>
                        <a:pt x="441" y="8576"/>
                        <a:pt x="631" y="8647"/>
                        <a:pt x="822" y="8647"/>
                      </a:cubicBezTo>
                      <a:cubicBezTo>
                        <a:pt x="1012" y="8647"/>
                        <a:pt x="1203" y="8576"/>
                        <a:pt x="1346" y="8433"/>
                      </a:cubicBezTo>
                      <a:lnTo>
                        <a:pt x="4584" y="5194"/>
                      </a:lnTo>
                      <a:cubicBezTo>
                        <a:pt x="4858" y="4933"/>
                        <a:pt x="4882" y="4492"/>
                        <a:pt x="4632" y="4206"/>
                      </a:cubicBezTo>
                      <a:lnTo>
                        <a:pt x="1393" y="265"/>
                      </a:lnTo>
                      <a:cubicBezTo>
                        <a:pt x="1246" y="91"/>
                        <a:pt x="1035" y="0"/>
                        <a:pt x="82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45" name="Google Shape;1645;p27"/>
                <p:cNvSpPr/>
                <p:nvPr/>
              </p:nvSpPr>
              <p:spPr>
                <a:xfrm>
                  <a:off x="5291972" y="4251410"/>
                  <a:ext cx="302380" cy="535549"/>
                </a:xfrm>
                <a:custGeom>
                  <a:avLst/>
                  <a:gdLst/>
                  <a:ahLst/>
                  <a:cxnLst/>
                  <a:rect l="l" t="t" r="r" b="b"/>
                  <a:pathLst>
                    <a:path w="4883" h="8648" extrusionOk="0">
                      <a:moveTo>
                        <a:pt x="822" y="0"/>
                      </a:moveTo>
                      <a:cubicBezTo>
                        <a:pt x="655" y="0"/>
                        <a:pt x="487" y="55"/>
                        <a:pt x="346" y="170"/>
                      </a:cubicBezTo>
                      <a:cubicBezTo>
                        <a:pt x="168" y="313"/>
                        <a:pt x="72" y="527"/>
                        <a:pt x="72" y="742"/>
                      </a:cubicBezTo>
                      <a:cubicBezTo>
                        <a:pt x="72" y="908"/>
                        <a:pt x="132" y="1075"/>
                        <a:pt x="251" y="1218"/>
                      </a:cubicBezTo>
                      <a:lnTo>
                        <a:pt x="3061" y="4623"/>
                      </a:lnTo>
                      <a:lnTo>
                        <a:pt x="298" y="7373"/>
                      </a:lnTo>
                      <a:cubicBezTo>
                        <a:pt x="1" y="7671"/>
                        <a:pt x="1" y="8135"/>
                        <a:pt x="298" y="8433"/>
                      </a:cubicBezTo>
                      <a:cubicBezTo>
                        <a:pt x="441" y="8576"/>
                        <a:pt x="629" y="8647"/>
                        <a:pt x="818" y="8647"/>
                      </a:cubicBezTo>
                      <a:cubicBezTo>
                        <a:pt x="1007" y="8647"/>
                        <a:pt x="1197" y="8576"/>
                        <a:pt x="1346" y="8433"/>
                      </a:cubicBezTo>
                      <a:lnTo>
                        <a:pt x="4585" y="5194"/>
                      </a:lnTo>
                      <a:cubicBezTo>
                        <a:pt x="4859" y="4933"/>
                        <a:pt x="4882" y="4492"/>
                        <a:pt x="4632" y="4206"/>
                      </a:cubicBezTo>
                      <a:lnTo>
                        <a:pt x="1394" y="265"/>
                      </a:lnTo>
                      <a:cubicBezTo>
                        <a:pt x="1247" y="91"/>
                        <a:pt x="1035" y="0"/>
                        <a:pt x="82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46" name="Google Shape;1646;p27"/>
                <p:cNvSpPr/>
                <p:nvPr/>
              </p:nvSpPr>
              <p:spPr>
                <a:xfrm>
                  <a:off x="5059762" y="4251410"/>
                  <a:ext cx="302318" cy="535549"/>
                </a:xfrm>
                <a:custGeom>
                  <a:avLst/>
                  <a:gdLst/>
                  <a:ahLst/>
                  <a:cxnLst/>
                  <a:rect l="l" t="t" r="r" b="b"/>
                  <a:pathLst>
                    <a:path w="4882" h="8648" extrusionOk="0">
                      <a:moveTo>
                        <a:pt x="821" y="0"/>
                      </a:moveTo>
                      <a:cubicBezTo>
                        <a:pt x="655" y="0"/>
                        <a:pt x="486" y="55"/>
                        <a:pt x="346" y="170"/>
                      </a:cubicBezTo>
                      <a:cubicBezTo>
                        <a:pt x="167" y="313"/>
                        <a:pt x="72" y="527"/>
                        <a:pt x="72" y="742"/>
                      </a:cubicBezTo>
                      <a:cubicBezTo>
                        <a:pt x="72" y="908"/>
                        <a:pt x="131" y="1075"/>
                        <a:pt x="238" y="1218"/>
                      </a:cubicBezTo>
                      <a:lnTo>
                        <a:pt x="3060" y="4623"/>
                      </a:lnTo>
                      <a:lnTo>
                        <a:pt x="298" y="7373"/>
                      </a:lnTo>
                      <a:cubicBezTo>
                        <a:pt x="0" y="7671"/>
                        <a:pt x="0" y="8135"/>
                        <a:pt x="298" y="8433"/>
                      </a:cubicBezTo>
                      <a:cubicBezTo>
                        <a:pt x="441" y="8576"/>
                        <a:pt x="628" y="8647"/>
                        <a:pt x="817" y="8647"/>
                      </a:cubicBezTo>
                      <a:cubicBezTo>
                        <a:pt x="1006" y="8647"/>
                        <a:pt x="1197" y="8576"/>
                        <a:pt x="1346" y="8433"/>
                      </a:cubicBezTo>
                      <a:lnTo>
                        <a:pt x="4584" y="5194"/>
                      </a:lnTo>
                      <a:cubicBezTo>
                        <a:pt x="4858" y="4933"/>
                        <a:pt x="4882" y="4492"/>
                        <a:pt x="4632" y="4206"/>
                      </a:cubicBezTo>
                      <a:lnTo>
                        <a:pt x="1393" y="265"/>
                      </a:lnTo>
                      <a:cubicBezTo>
                        <a:pt x="1246" y="91"/>
                        <a:pt x="1035" y="0"/>
                        <a:pt x="82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647" name="Google Shape;1647;p27"/>
              <p:cNvGrpSpPr/>
              <p:nvPr/>
            </p:nvGrpSpPr>
            <p:grpSpPr>
              <a:xfrm rot="5400000">
                <a:off x="218632" y="-589"/>
                <a:ext cx="692438" cy="895128"/>
                <a:chOff x="194863" y="3229838"/>
                <a:chExt cx="1354800" cy="1751375"/>
              </a:xfrm>
            </p:grpSpPr>
            <p:sp>
              <p:nvSpPr>
                <p:cNvPr id="1648" name="Google Shape;1648;p27"/>
                <p:cNvSpPr/>
                <p:nvPr/>
              </p:nvSpPr>
              <p:spPr>
                <a:xfrm>
                  <a:off x="194863" y="3229850"/>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49" name="Google Shape;1649;p27"/>
                <p:cNvSpPr/>
                <p:nvPr/>
              </p:nvSpPr>
              <p:spPr>
                <a:xfrm>
                  <a:off x="194863" y="3625841"/>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50" name="Google Shape;1650;p27"/>
                <p:cNvSpPr/>
                <p:nvPr/>
              </p:nvSpPr>
              <p:spPr>
                <a:xfrm>
                  <a:off x="194863" y="4021831"/>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51" name="Google Shape;1651;p27"/>
                <p:cNvSpPr/>
                <p:nvPr/>
              </p:nvSpPr>
              <p:spPr>
                <a:xfrm>
                  <a:off x="194863" y="4417822"/>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52" name="Google Shape;1652;p27"/>
                <p:cNvSpPr/>
                <p:nvPr/>
              </p:nvSpPr>
              <p:spPr>
                <a:xfrm>
                  <a:off x="194863" y="4813813"/>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53" name="Google Shape;1653;p27"/>
                <p:cNvSpPr/>
                <p:nvPr/>
              </p:nvSpPr>
              <p:spPr>
                <a:xfrm>
                  <a:off x="788563" y="3229838"/>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54" name="Google Shape;1654;p27"/>
                <p:cNvSpPr/>
                <p:nvPr/>
              </p:nvSpPr>
              <p:spPr>
                <a:xfrm>
                  <a:off x="788563" y="3625828"/>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55" name="Google Shape;1655;p27"/>
                <p:cNvSpPr/>
                <p:nvPr/>
              </p:nvSpPr>
              <p:spPr>
                <a:xfrm>
                  <a:off x="788563" y="4021819"/>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56" name="Google Shape;1656;p27"/>
                <p:cNvSpPr/>
                <p:nvPr/>
              </p:nvSpPr>
              <p:spPr>
                <a:xfrm>
                  <a:off x="788563" y="4417809"/>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57" name="Google Shape;1657;p27"/>
                <p:cNvSpPr/>
                <p:nvPr/>
              </p:nvSpPr>
              <p:spPr>
                <a:xfrm>
                  <a:off x="788563" y="4813800"/>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58" name="Google Shape;1658;p27"/>
                <p:cNvSpPr/>
                <p:nvPr/>
              </p:nvSpPr>
              <p:spPr>
                <a:xfrm>
                  <a:off x="1382263" y="3229838"/>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59" name="Google Shape;1659;p27"/>
                <p:cNvSpPr/>
                <p:nvPr/>
              </p:nvSpPr>
              <p:spPr>
                <a:xfrm>
                  <a:off x="1382263" y="3625828"/>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60" name="Google Shape;1660;p27"/>
                <p:cNvSpPr/>
                <p:nvPr/>
              </p:nvSpPr>
              <p:spPr>
                <a:xfrm>
                  <a:off x="1382263" y="4021819"/>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61" name="Google Shape;1661;p27"/>
                <p:cNvSpPr/>
                <p:nvPr/>
              </p:nvSpPr>
              <p:spPr>
                <a:xfrm>
                  <a:off x="1382263" y="4417809"/>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62" name="Google Shape;1662;p27"/>
                <p:cNvSpPr/>
                <p:nvPr/>
              </p:nvSpPr>
              <p:spPr>
                <a:xfrm>
                  <a:off x="1382263" y="4813800"/>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grpSp>
    </p:spTree>
    <p:extLst>
      <p:ext uri="{BB962C8B-B14F-4D97-AF65-F5344CB8AC3E}">
        <p14:creationId xmlns:p14="http://schemas.microsoft.com/office/powerpoint/2010/main" val="27142673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24531-FA1B-D482-752D-1F5DACB9D220}"/>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06813B07-3D6F-BDAD-F3A8-CB4029FB1F0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22D4478-F468-61AC-87D8-6FD86099A6C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C63AC8D0-B5E9-23AD-00DC-EF3BA977E74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6165613-37EB-D192-AD6B-E91DE618CC5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8A13594F-A9D3-924B-FA34-9FADBDB8D30F}"/>
              </a:ext>
            </a:extLst>
          </p:cNvPr>
          <p:cNvSpPr>
            <a:spLocks noGrp="1"/>
          </p:cNvSpPr>
          <p:nvPr>
            <p:ph type="dt" sz="half" idx="10"/>
          </p:nvPr>
        </p:nvSpPr>
        <p:spPr/>
        <p:txBody>
          <a:bodyPr/>
          <a:lstStyle/>
          <a:p>
            <a:fld id="{1E32E15C-1ABB-4FCE-A664-E12BA74059BF}" type="datetimeFigureOut">
              <a:rPr lang="en-IN" smtClean="0"/>
              <a:t>13-01-2023</a:t>
            </a:fld>
            <a:endParaRPr lang="en-IN"/>
          </a:p>
        </p:txBody>
      </p:sp>
      <p:sp>
        <p:nvSpPr>
          <p:cNvPr id="8" name="Footer Placeholder 7">
            <a:extLst>
              <a:ext uri="{FF2B5EF4-FFF2-40B4-BE49-F238E27FC236}">
                <a16:creationId xmlns:a16="http://schemas.microsoft.com/office/drawing/2014/main" id="{8F050137-122A-F4DF-CD54-39EC219760BA}"/>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D05CA72B-3D41-3DB9-FBE0-DC56AB8B1E98}"/>
              </a:ext>
            </a:extLst>
          </p:cNvPr>
          <p:cNvSpPr>
            <a:spLocks noGrp="1"/>
          </p:cNvSpPr>
          <p:nvPr>
            <p:ph type="sldNum" sz="quarter" idx="12"/>
          </p:nvPr>
        </p:nvSpPr>
        <p:spPr/>
        <p:txBody>
          <a:bodyPr/>
          <a:lstStyle/>
          <a:p>
            <a:fld id="{B4B60327-AE25-4737-85CF-0B04EF4FAC0C}" type="slidenum">
              <a:rPr lang="en-IN" smtClean="0"/>
              <a:t>‹#›</a:t>
            </a:fld>
            <a:endParaRPr lang="en-IN"/>
          </a:p>
        </p:txBody>
      </p:sp>
    </p:spTree>
    <p:extLst>
      <p:ext uri="{BB962C8B-B14F-4D97-AF65-F5344CB8AC3E}">
        <p14:creationId xmlns:p14="http://schemas.microsoft.com/office/powerpoint/2010/main" val="1251516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Background 1">
  <p:cSld name="Background 1">
    <p:spTree>
      <p:nvGrpSpPr>
        <p:cNvPr id="1" name="Shape 1663"/>
        <p:cNvGrpSpPr/>
        <p:nvPr/>
      </p:nvGrpSpPr>
      <p:grpSpPr>
        <a:xfrm>
          <a:off x="0" y="0"/>
          <a:ext cx="0" cy="0"/>
          <a:chOff x="0" y="0"/>
          <a:chExt cx="0" cy="0"/>
        </a:xfrm>
      </p:grpSpPr>
      <p:grpSp>
        <p:nvGrpSpPr>
          <p:cNvPr id="1664" name="Google Shape;1664;p28"/>
          <p:cNvGrpSpPr/>
          <p:nvPr/>
        </p:nvGrpSpPr>
        <p:grpSpPr>
          <a:xfrm>
            <a:off x="-132666" y="0"/>
            <a:ext cx="12373732" cy="6857917"/>
            <a:chOff x="-99500" y="0"/>
            <a:chExt cx="9280299" cy="5143438"/>
          </a:xfrm>
        </p:grpSpPr>
        <p:grpSp>
          <p:nvGrpSpPr>
            <p:cNvPr id="1665" name="Google Shape;1665;p28"/>
            <p:cNvGrpSpPr/>
            <p:nvPr/>
          </p:nvGrpSpPr>
          <p:grpSpPr>
            <a:xfrm>
              <a:off x="-99500" y="0"/>
              <a:ext cx="9280299" cy="5143438"/>
              <a:chOff x="-99500" y="0"/>
              <a:chExt cx="9280299" cy="5143438"/>
            </a:xfrm>
          </p:grpSpPr>
          <p:sp>
            <p:nvSpPr>
              <p:cNvPr id="1666" name="Google Shape;1666;p28"/>
              <p:cNvSpPr/>
              <p:nvPr/>
            </p:nvSpPr>
            <p:spPr>
              <a:xfrm>
                <a:off x="21232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67" name="Google Shape;1667;p28"/>
              <p:cNvSpPr/>
              <p:nvPr/>
            </p:nvSpPr>
            <p:spPr>
              <a:xfrm>
                <a:off x="484408"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68" name="Google Shape;1668;p28"/>
              <p:cNvSpPr/>
              <p:nvPr/>
            </p:nvSpPr>
            <p:spPr>
              <a:xfrm>
                <a:off x="757115"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69" name="Google Shape;1669;p28"/>
              <p:cNvSpPr/>
              <p:nvPr/>
            </p:nvSpPr>
            <p:spPr>
              <a:xfrm>
                <a:off x="1029198"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70" name="Google Shape;1670;p28"/>
              <p:cNvSpPr/>
              <p:nvPr/>
            </p:nvSpPr>
            <p:spPr>
              <a:xfrm>
                <a:off x="1301857"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71" name="Google Shape;1671;p28"/>
              <p:cNvSpPr/>
              <p:nvPr/>
            </p:nvSpPr>
            <p:spPr>
              <a:xfrm>
                <a:off x="1573988"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72" name="Google Shape;1672;p28"/>
              <p:cNvSpPr/>
              <p:nvPr/>
            </p:nvSpPr>
            <p:spPr>
              <a:xfrm>
                <a:off x="184664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73" name="Google Shape;1673;p28"/>
              <p:cNvSpPr/>
              <p:nvPr/>
            </p:nvSpPr>
            <p:spPr>
              <a:xfrm>
                <a:off x="2119306"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74" name="Google Shape;1674;p28"/>
              <p:cNvSpPr/>
              <p:nvPr/>
            </p:nvSpPr>
            <p:spPr>
              <a:xfrm>
                <a:off x="2391437"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75" name="Google Shape;1675;p28"/>
              <p:cNvSpPr/>
              <p:nvPr/>
            </p:nvSpPr>
            <p:spPr>
              <a:xfrm>
                <a:off x="2664096"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76" name="Google Shape;1676;p28"/>
              <p:cNvSpPr/>
              <p:nvPr/>
            </p:nvSpPr>
            <p:spPr>
              <a:xfrm>
                <a:off x="293617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77" name="Google Shape;1677;p28"/>
              <p:cNvSpPr/>
              <p:nvPr/>
            </p:nvSpPr>
            <p:spPr>
              <a:xfrm>
                <a:off x="3208887"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78" name="Google Shape;1678;p28"/>
              <p:cNvSpPr/>
              <p:nvPr/>
            </p:nvSpPr>
            <p:spPr>
              <a:xfrm>
                <a:off x="34809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79" name="Google Shape;1679;p28"/>
              <p:cNvSpPr/>
              <p:nvPr/>
            </p:nvSpPr>
            <p:spPr>
              <a:xfrm>
                <a:off x="375304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80" name="Google Shape;1680;p28"/>
              <p:cNvSpPr/>
              <p:nvPr/>
            </p:nvSpPr>
            <p:spPr>
              <a:xfrm>
                <a:off x="4025131"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81" name="Google Shape;1681;p28"/>
              <p:cNvSpPr/>
              <p:nvPr/>
            </p:nvSpPr>
            <p:spPr>
              <a:xfrm>
                <a:off x="4297838"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82" name="Google Shape;1682;p28"/>
              <p:cNvSpPr/>
              <p:nvPr/>
            </p:nvSpPr>
            <p:spPr>
              <a:xfrm>
                <a:off x="4569921"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83" name="Google Shape;1683;p28"/>
              <p:cNvSpPr/>
              <p:nvPr/>
            </p:nvSpPr>
            <p:spPr>
              <a:xfrm>
                <a:off x="4842580"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84" name="Google Shape;1684;p28"/>
              <p:cNvSpPr/>
              <p:nvPr/>
            </p:nvSpPr>
            <p:spPr>
              <a:xfrm>
                <a:off x="5114711"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85" name="Google Shape;1685;p28"/>
              <p:cNvSpPr/>
              <p:nvPr/>
            </p:nvSpPr>
            <p:spPr>
              <a:xfrm>
                <a:off x="538737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86" name="Google Shape;1686;p28"/>
              <p:cNvSpPr/>
              <p:nvPr/>
            </p:nvSpPr>
            <p:spPr>
              <a:xfrm>
                <a:off x="5660029"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87" name="Google Shape;1687;p28"/>
              <p:cNvSpPr/>
              <p:nvPr/>
            </p:nvSpPr>
            <p:spPr>
              <a:xfrm>
                <a:off x="5932160"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88" name="Google Shape;1688;p28"/>
              <p:cNvSpPr/>
              <p:nvPr/>
            </p:nvSpPr>
            <p:spPr>
              <a:xfrm>
                <a:off x="6204819"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89" name="Google Shape;1689;p28"/>
              <p:cNvSpPr/>
              <p:nvPr/>
            </p:nvSpPr>
            <p:spPr>
              <a:xfrm>
                <a:off x="6476902"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90" name="Google Shape;1690;p28"/>
              <p:cNvSpPr/>
              <p:nvPr/>
            </p:nvSpPr>
            <p:spPr>
              <a:xfrm>
                <a:off x="6749609" y="0"/>
                <a:ext cx="3457" cy="5143438"/>
              </a:xfrm>
              <a:custGeom>
                <a:avLst/>
                <a:gdLst/>
                <a:ahLst/>
                <a:cxnLst/>
                <a:rect l="l" t="t" r="r" b="b"/>
                <a:pathLst>
                  <a:path w="72" h="125076" extrusionOk="0">
                    <a:moveTo>
                      <a:pt x="0" y="1"/>
                    </a:moveTo>
                    <a:lnTo>
                      <a:pt x="71" y="1"/>
                    </a:lnTo>
                    <a:lnTo>
                      <a:pt x="71"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91" name="Google Shape;1691;p28"/>
              <p:cNvSpPr/>
              <p:nvPr/>
            </p:nvSpPr>
            <p:spPr>
              <a:xfrm>
                <a:off x="7021692"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92" name="Google Shape;1692;p28"/>
              <p:cNvSpPr/>
              <p:nvPr/>
            </p:nvSpPr>
            <p:spPr>
              <a:xfrm>
                <a:off x="729377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93" name="Google Shape;1693;p28"/>
              <p:cNvSpPr/>
              <p:nvPr/>
            </p:nvSpPr>
            <p:spPr>
              <a:xfrm>
                <a:off x="7565854" y="0"/>
                <a:ext cx="4081" cy="5143438"/>
              </a:xfrm>
              <a:custGeom>
                <a:avLst/>
                <a:gdLst/>
                <a:ahLst/>
                <a:cxnLst/>
                <a:rect l="l" t="t" r="r" b="b"/>
                <a:pathLst>
                  <a:path w="85"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94" name="Google Shape;1694;p28"/>
              <p:cNvSpPr/>
              <p:nvPr/>
            </p:nvSpPr>
            <p:spPr>
              <a:xfrm>
                <a:off x="7838561"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95" name="Google Shape;1695;p28"/>
              <p:cNvSpPr/>
              <p:nvPr/>
            </p:nvSpPr>
            <p:spPr>
              <a:xfrm>
                <a:off x="8110644" y="0"/>
                <a:ext cx="4033" cy="5143438"/>
              </a:xfrm>
              <a:custGeom>
                <a:avLst/>
                <a:gdLst/>
                <a:ahLst/>
                <a:cxnLst/>
                <a:rect l="l" t="t" r="r" b="b"/>
                <a:pathLst>
                  <a:path w="84" h="125076" extrusionOk="0">
                    <a:moveTo>
                      <a:pt x="1" y="1"/>
                    </a:moveTo>
                    <a:lnTo>
                      <a:pt x="84" y="1"/>
                    </a:lnTo>
                    <a:lnTo>
                      <a:pt x="84"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96" name="Google Shape;1696;p28"/>
              <p:cNvSpPr/>
              <p:nvPr/>
            </p:nvSpPr>
            <p:spPr>
              <a:xfrm>
                <a:off x="8383303" y="0"/>
                <a:ext cx="3505" cy="5143438"/>
              </a:xfrm>
              <a:custGeom>
                <a:avLst/>
                <a:gdLst/>
                <a:ahLst/>
                <a:cxnLst/>
                <a:rect l="l" t="t" r="r" b="b"/>
                <a:pathLst>
                  <a:path w="73" h="125076" extrusionOk="0">
                    <a:moveTo>
                      <a:pt x="1" y="1"/>
                    </a:moveTo>
                    <a:lnTo>
                      <a:pt x="72" y="1"/>
                    </a:lnTo>
                    <a:lnTo>
                      <a:pt x="72" y="125076"/>
                    </a:lnTo>
                    <a:lnTo>
                      <a:pt x="1"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97" name="Google Shape;1697;p28"/>
              <p:cNvSpPr/>
              <p:nvPr/>
            </p:nvSpPr>
            <p:spPr>
              <a:xfrm>
                <a:off x="8655434" y="0"/>
                <a:ext cx="4033" cy="5143438"/>
              </a:xfrm>
              <a:custGeom>
                <a:avLst/>
                <a:gdLst/>
                <a:ahLst/>
                <a:cxnLst/>
                <a:rect l="l" t="t" r="r" b="b"/>
                <a:pathLst>
                  <a:path w="84" h="125076" extrusionOk="0">
                    <a:moveTo>
                      <a:pt x="0" y="1"/>
                    </a:moveTo>
                    <a:lnTo>
                      <a:pt x="84" y="1"/>
                    </a:lnTo>
                    <a:lnTo>
                      <a:pt x="84"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98" name="Google Shape;1698;p28"/>
              <p:cNvSpPr/>
              <p:nvPr/>
            </p:nvSpPr>
            <p:spPr>
              <a:xfrm>
                <a:off x="8928093" y="0"/>
                <a:ext cx="3457" cy="5143438"/>
              </a:xfrm>
              <a:custGeom>
                <a:avLst/>
                <a:gdLst/>
                <a:ahLst/>
                <a:cxnLst/>
                <a:rect l="l" t="t" r="r" b="b"/>
                <a:pathLst>
                  <a:path w="72" h="125076" extrusionOk="0">
                    <a:moveTo>
                      <a:pt x="0" y="1"/>
                    </a:moveTo>
                    <a:lnTo>
                      <a:pt x="72" y="1"/>
                    </a:lnTo>
                    <a:lnTo>
                      <a:pt x="72" y="125076"/>
                    </a:lnTo>
                    <a:lnTo>
                      <a:pt x="0" y="125076"/>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99" name="Google Shape;1699;p28"/>
              <p:cNvSpPr/>
              <p:nvPr/>
            </p:nvSpPr>
            <p:spPr>
              <a:xfrm>
                <a:off x="-99500" y="1344112"/>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00" name="Google Shape;1700;p28"/>
              <p:cNvSpPr/>
              <p:nvPr/>
            </p:nvSpPr>
            <p:spPr>
              <a:xfrm>
                <a:off x="-99500" y="1616195"/>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01" name="Google Shape;1701;p28"/>
              <p:cNvSpPr/>
              <p:nvPr/>
            </p:nvSpPr>
            <p:spPr>
              <a:xfrm>
                <a:off x="-99500" y="188885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02" name="Google Shape;1702;p28"/>
              <p:cNvSpPr/>
              <p:nvPr/>
            </p:nvSpPr>
            <p:spPr>
              <a:xfrm>
                <a:off x="-99500" y="2160985"/>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03" name="Google Shape;1703;p28"/>
              <p:cNvSpPr/>
              <p:nvPr/>
            </p:nvSpPr>
            <p:spPr>
              <a:xfrm>
                <a:off x="-99500" y="2433644"/>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04" name="Google Shape;1704;p28"/>
              <p:cNvSpPr/>
              <p:nvPr/>
            </p:nvSpPr>
            <p:spPr>
              <a:xfrm>
                <a:off x="-99500" y="270572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05" name="Google Shape;1705;p28"/>
              <p:cNvSpPr/>
              <p:nvPr/>
            </p:nvSpPr>
            <p:spPr>
              <a:xfrm>
                <a:off x="-99500" y="2978435"/>
                <a:ext cx="9280299" cy="3457"/>
              </a:xfrm>
              <a:custGeom>
                <a:avLst/>
                <a:gdLst/>
                <a:ahLst/>
                <a:cxnLst/>
                <a:rect l="l" t="t" r="r" b="b"/>
                <a:pathLst>
                  <a:path w="190453" h="72" extrusionOk="0">
                    <a:moveTo>
                      <a:pt x="0" y="0"/>
                    </a:moveTo>
                    <a:lnTo>
                      <a:pt x="190453" y="0"/>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06" name="Google Shape;1706;p28"/>
              <p:cNvSpPr/>
              <p:nvPr/>
            </p:nvSpPr>
            <p:spPr>
              <a:xfrm>
                <a:off x="-99500" y="3250518"/>
                <a:ext cx="9280299" cy="4033"/>
              </a:xfrm>
              <a:custGeom>
                <a:avLst/>
                <a:gdLst/>
                <a:ahLst/>
                <a:cxnLst/>
                <a:rect l="l" t="t" r="r" b="b"/>
                <a:pathLst>
                  <a:path w="190453" h="84" extrusionOk="0">
                    <a:moveTo>
                      <a:pt x="0" y="1"/>
                    </a:moveTo>
                    <a:lnTo>
                      <a:pt x="190453" y="1"/>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07" name="Google Shape;1707;p28"/>
              <p:cNvSpPr/>
              <p:nvPr/>
            </p:nvSpPr>
            <p:spPr>
              <a:xfrm>
                <a:off x="-99500" y="3523177"/>
                <a:ext cx="9280299" cy="3505"/>
              </a:xfrm>
              <a:custGeom>
                <a:avLst/>
                <a:gdLst/>
                <a:ahLst/>
                <a:cxnLst/>
                <a:rect l="l" t="t" r="r" b="b"/>
                <a:pathLst>
                  <a:path w="190453" h="73" extrusionOk="0">
                    <a:moveTo>
                      <a:pt x="0" y="1"/>
                    </a:moveTo>
                    <a:lnTo>
                      <a:pt x="190453" y="1"/>
                    </a:lnTo>
                    <a:lnTo>
                      <a:pt x="190453" y="72"/>
                    </a:lnTo>
                    <a:lnTo>
                      <a:pt x="0" y="72"/>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08" name="Google Shape;1708;p28"/>
              <p:cNvSpPr/>
              <p:nvPr/>
            </p:nvSpPr>
            <p:spPr>
              <a:xfrm>
                <a:off x="-99500" y="3795308"/>
                <a:ext cx="9280299" cy="4033"/>
              </a:xfrm>
              <a:custGeom>
                <a:avLst/>
                <a:gdLst/>
                <a:ahLst/>
                <a:cxnLst/>
                <a:rect l="l" t="t" r="r" b="b"/>
                <a:pathLst>
                  <a:path w="190453" h="84" extrusionOk="0">
                    <a:moveTo>
                      <a:pt x="0" y="0"/>
                    </a:moveTo>
                    <a:lnTo>
                      <a:pt x="190453" y="0"/>
                    </a:lnTo>
                    <a:lnTo>
                      <a:pt x="190453" y="84"/>
                    </a:lnTo>
                    <a:lnTo>
                      <a:pt x="0" y="84"/>
                    </a:lnTo>
                    <a:close/>
                  </a:path>
                </a:pathLst>
              </a:custGeom>
              <a:solidFill>
                <a:schemeClr val="accent3"/>
              </a:solid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709" name="Google Shape;1709;p28"/>
            <p:cNvGrpSpPr/>
            <p:nvPr/>
          </p:nvGrpSpPr>
          <p:grpSpPr>
            <a:xfrm>
              <a:off x="322709" y="0"/>
              <a:ext cx="8821291" cy="4995289"/>
              <a:chOff x="322709" y="0"/>
              <a:chExt cx="8821291" cy="4995289"/>
            </a:xfrm>
          </p:grpSpPr>
          <p:sp>
            <p:nvSpPr>
              <p:cNvPr id="1710" name="Google Shape;1710;p28"/>
              <p:cNvSpPr/>
              <p:nvPr/>
            </p:nvSpPr>
            <p:spPr>
              <a:xfrm>
                <a:off x="7241700" y="0"/>
                <a:ext cx="1902300" cy="112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1711" name="Google Shape;1711;p28"/>
              <p:cNvGrpSpPr/>
              <p:nvPr/>
            </p:nvGrpSpPr>
            <p:grpSpPr>
              <a:xfrm>
                <a:off x="8110871" y="749193"/>
                <a:ext cx="995101" cy="1327893"/>
                <a:chOff x="194863" y="3229838"/>
                <a:chExt cx="1354800" cy="1751375"/>
              </a:xfrm>
            </p:grpSpPr>
            <p:sp>
              <p:nvSpPr>
                <p:cNvPr id="1712" name="Google Shape;1712;p28"/>
                <p:cNvSpPr/>
                <p:nvPr/>
              </p:nvSpPr>
              <p:spPr>
                <a:xfrm>
                  <a:off x="194863" y="3229850"/>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13" name="Google Shape;1713;p28"/>
                <p:cNvSpPr/>
                <p:nvPr/>
              </p:nvSpPr>
              <p:spPr>
                <a:xfrm>
                  <a:off x="194863" y="3625841"/>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14" name="Google Shape;1714;p28"/>
                <p:cNvSpPr/>
                <p:nvPr/>
              </p:nvSpPr>
              <p:spPr>
                <a:xfrm>
                  <a:off x="194863" y="4021831"/>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15" name="Google Shape;1715;p28"/>
                <p:cNvSpPr/>
                <p:nvPr/>
              </p:nvSpPr>
              <p:spPr>
                <a:xfrm>
                  <a:off x="194863" y="4417822"/>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16" name="Google Shape;1716;p28"/>
                <p:cNvSpPr/>
                <p:nvPr/>
              </p:nvSpPr>
              <p:spPr>
                <a:xfrm>
                  <a:off x="194863" y="4813813"/>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17" name="Google Shape;1717;p28"/>
                <p:cNvSpPr/>
                <p:nvPr/>
              </p:nvSpPr>
              <p:spPr>
                <a:xfrm>
                  <a:off x="788563" y="3229838"/>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18" name="Google Shape;1718;p28"/>
                <p:cNvSpPr/>
                <p:nvPr/>
              </p:nvSpPr>
              <p:spPr>
                <a:xfrm>
                  <a:off x="788563" y="3625828"/>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19" name="Google Shape;1719;p28"/>
                <p:cNvSpPr/>
                <p:nvPr/>
              </p:nvSpPr>
              <p:spPr>
                <a:xfrm>
                  <a:off x="788563" y="4021819"/>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20" name="Google Shape;1720;p28"/>
                <p:cNvSpPr/>
                <p:nvPr/>
              </p:nvSpPr>
              <p:spPr>
                <a:xfrm>
                  <a:off x="788563" y="4417809"/>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21" name="Google Shape;1721;p28"/>
                <p:cNvSpPr/>
                <p:nvPr/>
              </p:nvSpPr>
              <p:spPr>
                <a:xfrm>
                  <a:off x="788563" y="4813800"/>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22" name="Google Shape;1722;p28"/>
                <p:cNvSpPr/>
                <p:nvPr/>
              </p:nvSpPr>
              <p:spPr>
                <a:xfrm>
                  <a:off x="1382263" y="3229838"/>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23" name="Google Shape;1723;p28"/>
                <p:cNvSpPr/>
                <p:nvPr/>
              </p:nvSpPr>
              <p:spPr>
                <a:xfrm>
                  <a:off x="1382263" y="3625828"/>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24" name="Google Shape;1724;p28"/>
                <p:cNvSpPr/>
                <p:nvPr/>
              </p:nvSpPr>
              <p:spPr>
                <a:xfrm>
                  <a:off x="1382263" y="4021819"/>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25" name="Google Shape;1725;p28"/>
                <p:cNvSpPr/>
                <p:nvPr/>
              </p:nvSpPr>
              <p:spPr>
                <a:xfrm>
                  <a:off x="1382263" y="4417809"/>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26" name="Google Shape;1726;p28"/>
                <p:cNvSpPr/>
                <p:nvPr/>
              </p:nvSpPr>
              <p:spPr>
                <a:xfrm>
                  <a:off x="1382263" y="4813800"/>
                  <a:ext cx="167400" cy="1674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727" name="Google Shape;1727;p28"/>
              <p:cNvGrpSpPr/>
              <p:nvPr/>
            </p:nvGrpSpPr>
            <p:grpSpPr>
              <a:xfrm rot="8304387">
                <a:off x="685886" y="3313813"/>
                <a:ext cx="1092492" cy="1509098"/>
                <a:chOff x="2673045" y="-67517"/>
                <a:chExt cx="665238" cy="918916"/>
              </a:xfrm>
            </p:grpSpPr>
            <p:sp>
              <p:nvSpPr>
                <p:cNvPr id="1728" name="Google Shape;1728;p28"/>
                <p:cNvSpPr/>
                <p:nvPr/>
              </p:nvSpPr>
              <p:spPr>
                <a:xfrm rot="-5400000">
                  <a:off x="2594024" y="111691"/>
                  <a:ext cx="823440" cy="655977"/>
                </a:xfrm>
                <a:custGeom>
                  <a:avLst/>
                  <a:gdLst/>
                  <a:ahLst/>
                  <a:cxnLst/>
                  <a:rect l="l" t="t" r="r" b="b"/>
                  <a:pathLst>
                    <a:path w="25874" h="20612" extrusionOk="0">
                      <a:moveTo>
                        <a:pt x="20350" y="1"/>
                      </a:moveTo>
                      <a:cubicBezTo>
                        <a:pt x="19973" y="1"/>
                        <a:pt x="19591" y="105"/>
                        <a:pt x="19253" y="324"/>
                      </a:cubicBezTo>
                      <a:cubicBezTo>
                        <a:pt x="18301" y="931"/>
                        <a:pt x="18027" y="2205"/>
                        <a:pt x="18634" y="3145"/>
                      </a:cubicBezTo>
                      <a:cubicBezTo>
                        <a:pt x="21230" y="7170"/>
                        <a:pt x="20063" y="12551"/>
                        <a:pt x="16039" y="15135"/>
                      </a:cubicBezTo>
                      <a:cubicBezTo>
                        <a:pt x="14617" y="16053"/>
                        <a:pt x="13001" y="16524"/>
                        <a:pt x="11354" y="16524"/>
                      </a:cubicBezTo>
                      <a:cubicBezTo>
                        <a:pt x="10738" y="16524"/>
                        <a:pt x="10118" y="16458"/>
                        <a:pt x="9502" y="16326"/>
                      </a:cubicBezTo>
                      <a:cubicBezTo>
                        <a:pt x="7240" y="15837"/>
                        <a:pt x="5299" y="14492"/>
                        <a:pt x="4049" y="12539"/>
                      </a:cubicBezTo>
                      <a:cubicBezTo>
                        <a:pt x="3654" y="11932"/>
                        <a:pt x="2998" y="11601"/>
                        <a:pt x="2331" y="11601"/>
                      </a:cubicBezTo>
                      <a:cubicBezTo>
                        <a:pt x="1951" y="11601"/>
                        <a:pt x="1568" y="11708"/>
                        <a:pt x="1227" y="11932"/>
                      </a:cubicBezTo>
                      <a:cubicBezTo>
                        <a:pt x="275" y="12539"/>
                        <a:pt x="1" y="13801"/>
                        <a:pt x="608" y="14754"/>
                      </a:cubicBezTo>
                      <a:cubicBezTo>
                        <a:pt x="2454" y="17611"/>
                        <a:pt x="5299" y="19588"/>
                        <a:pt x="8633" y="20314"/>
                      </a:cubicBezTo>
                      <a:cubicBezTo>
                        <a:pt x="9538" y="20517"/>
                        <a:pt x="10455" y="20612"/>
                        <a:pt x="11371" y="20612"/>
                      </a:cubicBezTo>
                      <a:cubicBezTo>
                        <a:pt x="13788" y="20612"/>
                        <a:pt x="16158" y="19921"/>
                        <a:pt x="18241" y="18576"/>
                      </a:cubicBezTo>
                      <a:cubicBezTo>
                        <a:pt x="24159" y="14766"/>
                        <a:pt x="25873" y="6860"/>
                        <a:pt x="22075" y="943"/>
                      </a:cubicBezTo>
                      <a:cubicBezTo>
                        <a:pt x="21686" y="333"/>
                        <a:pt x="21024" y="1"/>
                        <a:pt x="203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29" name="Google Shape;1729;p28"/>
                <p:cNvSpPr/>
                <p:nvPr/>
              </p:nvSpPr>
              <p:spPr>
                <a:xfrm rot="-5400000">
                  <a:off x="2588279" y="17249"/>
                  <a:ext cx="834770" cy="665238"/>
                </a:xfrm>
                <a:custGeom>
                  <a:avLst/>
                  <a:gdLst/>
                  <a:ahLst/>
                  <a:cxnLst/>
                  <a:rect l="l" t="t" r="r" b="b"/>
                  <a:pathLst>
                    <a:path w="26230" h="20903" extrusionOk="0">
                      <a:moveTo>
                        <a:pt x="20529" y="298"/>
                      </a:moveTo>
                      <a:cubicBezTo>
                        <a:pt x="20662" y="298"/>
                        <a:pt x="20797" y="312"/>
                        <a:pt x="20931" y="341"/>
                      </a:cubicBezTo>
                      <a:cubicBezTo>
                        <a:pt x="21419" y="448"/>
                        <a:pt x="21848" y="745"/>
                        <a:pt x="22122" y="1174"/>
                      </a:cubicBezTo>
                      <a:cubicBezTo>
                        <a:pt x="25884" y="7020"/>
                        <a:pt x="24182" y="14842"/>
                        <a:pt x="18336" y="18605"/>
                      </a:cubicBezTo>
                      <a:cubicBezTo>
                        <a:pt x="16300" y="19914"/>
                        <a:pt x="13942" y="20617"/>
                        <a:pt x="11537" y="20617"/>
                      </a:cubicBezTo>
                      <a:cubicBezTo>
                        <a:pt x="10644" y="20617"/>
                        <a:pt x="9727" y="20510"/>
                        <a:pt x="8846" y="20319"/>
                      </a:cubicBezTo>
                      <a:cubicBezTo>
                        <a:pt x="5548" y="19605"/>
                        <a:pt x="2727" y="17652"/>
                        <a:pt x="905" y="14819"/>
                      </a:cubicBezTo>
                      <a:cubicBezTo>
                        <a:pt x="345" y="13937"/>
                        <a:pt x="595" y="12759"/>
                        <a:pt x="1476" y="12199"/>
                      </a:cubicBezTo>
                      <a:cubicBezTo>
                        <a:pt x="1786" y="11997"/>
                        <a:pt x="2143" y="11902"/>
                        <a:pt x="2500" y="11902"/>
                      </a:cubicBezTo>
                      <a:cubicBezTo>
                        <a:pt x="2631" y="11902"/>
                        <a:pt x="2762" y="11913"/>
                        <a:pt x="2905" y="11949"/>
                      </a:cubicBezTo>
                      <a:cubicBezTo>
                        <a:pt x="3393" y="12056"/>
                        <a:pt x="3822" y="12342"/>
                        <a:pt x="4096" y="12771"/>
                      </a:cubicBezTo>
                      <a:cubicBezTo>
                        <a:pt x="5370" y="14747"/>
                        <a:pt x="7334" y="16116"/>
                        <a:pt x="9644" y="16616"/>
                      </a:cubicBezTo>
                      <a:cubicBezTo>
                        <a:pt x="10275" y="16754"/>
                        <a:pt x="10912" y="16822"/>
                        <a:pt x="11544" y="16822"/>
                      </a:cubicBezTo>
                      <a:cubicBezTo>
                        <a:pt x="13214" y="16822"/>
                        <a:pt x="14854" y="16347"/>
                        <a:pt x="16288" y="15414"/>
                      </a:cubicBezTo>
                      <a:cubicBezTo>
                        <a:pt x="20384" y="12783"/>
                        <a:pt x="21574" y="7318"/>
                        <a:pt x="18943" y="3222"/>
                      </a:cubicBezTo>
                      <a:cubicBezTo>
                        <a:pt x="18371" y="2341"/>
                        <a:pt x="18621" y="1162"/>
                        <a:pt x="19503" y="603"/>
                      </a:cubicBezTo>
                      <a:cubicBezTo>
                        <a:pt x="19816" y="402"/>
                        <a:pt x="20167" y="298"/>
                        <a:pt x="20529" y="298"/>
                      </a:cubicBezTo>
                      <a:close/>
                      <a:moveTo>
                        <a:pt x="20512" y="0"/>
                      </a:moveTo>
                      <a:cubicBezTo>
                        <a:pt x="20101" y="0"/>
                        <a:pt x="19700" y="121"/>
                        <a:pt x="19348" y="352"/>
                      </a:cubicBezTo>
                      <a:cubicBezTo>
                        <a:pt x="18324" y="1007"/>
                        <a:pt x="18038" y="2365"/>
                        <a:pt x="18693" y="3377"/>
                      </a:cubicBezTo>
                      <a:cubicBezTo>
                        <a:pt x="21229" y="7330"/>
                        <a:pt x="20086" y="12616"/>
                        <a:pt x="16133" y="15164"/>
                      </a:cubicBezTo>
                      <a:cubicBezTo>
                        <a:pt x="14738" y="16065"/>
                        <a:pt x="13148" y="16525"/>
                        <a:pt x="11527" y="16525"/>
                      </a:cubicBezTo>
                      <a:cubicBezTo>
                        <a:pt x="10920" y="16525"/>
                        <a:pt x="10310" y="16460"/>
                        <a:pt x="9704" y="16331"/>
                      </a:cubicBezTo>
                      <a:cubicBezTo>
                        <a:pt x="7477" y="15842"/>
                        <a:pt x="5572" y="14521"/>
                        <a:pt x="4346" y="12604"/>
                      </a:cubicBezTo>
                      <a:cubicBezTo>
                        <a:pt x="4024" y="12116"/>
                        <a:pt x="3536" y="11771"/>
                        <a:pt x="2965" y="11651"/>
                      </a:cubicBezTo>
                      <a:cubicBezTo>
                        <a:pt x="2807" y="11619"/>
                        <a:pt x="2649" y="11602"/>
                        <a:pt x="2491" y="11602"/>
                      </a:cubicBezTo>
                      <a:cubicBezTo>
                        <a:pt x="2078" y="11602"/>
                        <a:pt x="1672" y="11716"/>
                        <a:pt x="1310" y="11949"/>
                      </a:cubicBezTo>
                      <a:cubicBezTo>
                        <a:pt x="298" y="12604"/>
                        <a:pt x="0" y="13961"/>
                        <a:pt x="655" y="14973"/>
                      </a:cubicBezTo>
                      <a:cubicBezTo>
                        <a:pt x="2524" y="17878"/>
                        <a:pt x="5406" y="19879"/>
                        <a:pt x="8775" y="20605"/>
                      </a:cubicBezTo>
                      <a:cubicBezTo>
                        <a:pt x="9692" y="20807"/>
                        <a:pt x="10620" y="20903"/>
                        <a:pt x="11537" y="20903"/>
                      </a:cubicBezTo>
                      <a:cubicBezTo>
                        <a:pt x="14002" y="20903"/>
                        <a:pt x="16407" y="20200"/>
                        <a:pt x="18502" y="18843"/>
                      </a:cubicBezTo>
                      <a:cubicBezTo>
                        <a:pt x="24491" y="14997"/>
                        <a:pt x="26230" y="6996"/>
                        <a:pt x="22372" y="1007"/>
                      </a:cubicBezTo>
                      <a:cubicBezTo>
                        <a:pt x="22050" y="519"/>
                        <a:pt x="21562" y="174"/>
                        <a:pt x="20991" y="55"/>
                      </a:cubicBezTo>
                      <a:cubicBezTo>
                        <a:pt x="20831" y="18"/>
                        <a:pt x="20671" y="0"/>
                        <a:pt x="20512" y="0"/>
                      </a:cubicBezTo>
                      <a:close/>
                    </a:path>
                  </a:pathLst>
                </a:custGeom>
                <a:solidFill>
                  <a:srgbClr val="1213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730" name="Google Shape;1730;p28"/>
              <p:cNvGrpSpPr/>
              <p:nvPr/>
            </p:nvGrpSpPr>
            <p:grpSpPr>
              <a:xfrm>
                <a:off x="1034803" y="395463"/>
                <a:ext cx="730432" cy="730432"/>
                <a:chOff x="258700" y="2038025"/>
                <a:chExt cx="599846" cy="599846"/>
              </a:xfrm>
            </p:grpSpPr>
            <p:sp>
              <p:nvSpPr>
                <p:cNvPr id="1731" name="Google Shape;1731;p28"/>
                <p:cNvSpPr/>
                <p:nvPr/>
              </p:nvSpPr>
              <p:spPr>
                <a:xfrm>
                  <a:off x="258700" y="2038025"/>
                  <a:ext cx="477300" cy="477300"/>
                </a:xfrm>
                <a:prstGeom prst="rect">
                  <a:avLst/>
                </a:prstGeom>
                <a:noFill/>
                <a:ln w="19050" cap="flat" cmpd="sng">
                  <a:solidFill>
                    <a:srgbClr val="19191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32" name="Google Shape;1732;p28"/>
                <p:cNvSpPr/>
                <p:nvPr/>
              </p:nvSpPr>
              <p:spPr>
                <a:xfrm>
                  <a:off x="381246" y="2160571"/>
                  <a:ext cx="477300" cy="4773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733" name="Google Shape;1733;p28"/>
              <p:cNvGrpSpPr/>
              <p:nvPr/>
            </p:nvGrpSpPr>
            <p:grpSpPr>
              <a:xfrm>
                <a:off x="7398692" y="4139204"/>
                <a:ext cx="961107" cy="671257"/>
                <a:chOff x="5059762" y="4251410"/>
                <a:chExt cx="766800" cy="535549"/>
              </a:xfrm>
            </p:grpSpPr>
            <p:sp>
              <p:nvSpPr>
                <p:cNvPr id="1734" name="Google Shape;1734;p28"/>
                <p:cNvSpPr/>
                <p:nvPr/>
              </p:nvSpPr>
              <p:spPr>
                <a:xfrm>
                  <a:off x="5524244" y="4251410"/>
                  <a:ext cx="302318" cy="535549"/>
                </a:xfrm>
                <a:custGeom>
                  <a:avLst/>
                  <a:gdLst/>
                  <a:ahLst/>
                  <a:cxnLst/>
                  <a:rect l="l" t="t" r="r" b="b"/>
                  <a:pathLst>
                    <a:path w="4882" h="8648" extrusionOk="0">
                      <a:moveTo>
                        <a:pt x="821" y="0"/>
                      </a:moveTo>
                      <a:cubicBezTo>
                        <a:pt x="654" y="0"/>
                        <a:pt x="486" y="55"/>
                        <a:pt x="346" y="170"/>
                      </a:cubicBezTo>
                      <a:cubicBezTo>
                        <a:pt x="167" y="313"/>
                        <a:pt x="84" y="527"/>
                        <a:pt x="84" y="742"/>
                      </a:cubicBezTo>
                      <a:cubicBezTo>
                        <a:pt x="84" y="908"/>
                        <a:pt x="131" y="1075"/>
                        <a:pt x="250" y="1218"/>
                      </a:cubicBezTo>
                      <a:lnTo>
                        <a:pt x="3060" y="4623"/>
                      </a:lnTo>
                      <a:lnTo>
                        <a:pt x="298" y="7373"/>
                      </a:lnTo>
                      <a:cubicBezTo>
                        <a:pt x="12" y="7671"/>
                        <a:pt x="0" y="8135"/>
                        <a:pt x="298" y="8433"/>
                      </a:cubicBezTo>
                      <a:cubicBezTo>
                        <a:pt x="441" y="8576"/>
                        <a:pt x="631" y="8647"/>
                        <a:pt x="822" y="8647"/>
                      </a:cubicBezTo>
                      <a:cubicBezTo>
                        <a:pt x="1012" y="8647"/>
                        <a:pt x="1203" y="8576"/>
                        <a:pt x="1346" y="8433"/>
                      </a:cubicBezTo>
                      <a:lnTo>
                        <a:pt x="4584" y="5194"/>
                      </a:lnTo>
                      <a:cubicBezTo>
                        <a:pt x="4858" y="4933"/>
                        <a:pt x="4882" y="4492"/>
                        <a:pt x="4632" y="4206"/>
                      </a:cubicBezTo>
                      <a:lnTo>
                        <a:pt x="1393" y="265"/>
                      </a:lnTo>
                      <a:cubicBezTo>
                        <a:pt x="1246" y="91"/>
                        <a:pt x="1035" y="0"/>
                        <a:pt x="82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35" name="Google Shape;1735;p28"/>
                <p:cNvSpPr/>
                <p:nvPr/>
              </p:nvSpPr>
              <p:spPr>
                <a:xfrm>
                  <a:off x="5291972" y="4251410"/>
                  <a:ext cx="302380" cy="535549"/>
                </a:xfrm>
                <a:custGeom>
                  <a:avLst/>
                  <a:gdLst/>
                  <a:ahLst/>
                  <a:cxnLst/>
                  <a:rect l="l" t="t" r="r" b="b"/>
                  <a:pathLst>
                    <a:path w="4883" h="8648" extrusionOk="0">
                      <a:moveTo>
                        <a:pt x="822" y="0"/>
                      </a:moveTo>
                      <a:cubicBezTo>
                        <a:pt x="655" y="0"/>
                        <a:pt x="487" y="55"/>
                        <a:pt x="346" y="170"/>
                      </a:cubicBezTo>
                      <a:cubicBezTo>
                        <a:pt x="168" y="313"/>
                        <a:pt x="72" y="527"/>
                        <a:pt x="72" y="742"/>
                      </a:cubicBezTo>
                      <a:cubicBezTo>
                        <a:pt x="72" y="908"/>
                        <a:pt x="132" y="1075"/>
                        <a:pt x="251" y="1218"/>
                      </a:cubicBezTo>
                      <a:lnTo>
                        <a:pt x="3061" y="4623"/>
                      </a:lnTo>
                      <a:lnTo>
                        <a:pt x="298" y="7373"/>
                      </a:lnTo>
                      <a:cubicBezTo>
                        <a:pt x="1" y="7671"/>
                        <a:pt x="1" y="8135"/>
                        <a:pt x="298" y="8433"/>
                      </a:cubicBezTo>
                      <a:cubicBezTo>
                        <a:pt x="441" y="8576"/>
                        <a:pt x="629" y="8647"/>
                        <a:pt x="818" y="8647"/>
                      </a:cubicBezTo>
                      <a:cubicBezTo>
                        <a:pt x="1007" y="8647"/>
                        <a:pt x="1197" y="8576"/>
                        <a:pt x="1346" y="8433"/>
                      </a:cubicBezTo>
                      <a:lnTo>
                        <a:pt x="4585" y="5194"/>
                      </a:lnTo>
                      <a:cubicBezTo>
                        <a:pt x="4859" y="4933"/>
                        <a:pt x="4882" y="4492"/>
                        <a:pt x="4632" y="4206"/>
                      </a:cubicBezTo>
                      <a:lnTo>
                        <a:pt x="1394" y="265"/>
                      </a:lnTo>
                      <a:cubicBezTo>
                        <a:pt x="1247" y="91"/>
                        <a:pt x="1035" y="0"/>
                        <a:pt x="82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36" name="Google Shape;1736;p28"/>
                <p:cNvSpPr/>
                <p:nvPr/>
              </p:nvSpPr>
              <p:spPr>
                <a:xfrm>
                  <a:off x="5059762" y="4251410"/>
                  <a:ext cx="302318" cy="535549"/>
                </a:xfrm>
                <a:custGeom>
                  <a:avLst/>
                  <a:gdLst/>
                  <a:ahLst/>
                  <a:cxnLst/>
                  <a:rect l="l" t="t" r="r" b="b"/>
                  <a:pathLst>
                    <a:path w="4882" h="8648" extrusionOk="0">
                      <a:moveTo>
                        <a:pt x="821" y="0"/>
                      </a:moveTo>
                      <a:cubicBezTo>
                        <a:pt x="655" y="0"/>
                        <a:pt x="486" y="55"/>
                        <a:pt x="346" y="170"/>
                      </a:cubicBezTo>
                      <a:cubicBezTo>
                        <a:pt x="167" y="313"/>
                        <a:pt x="72" y="527"/>
                        <a:pt x="72" y="742"/>
                      </a:cubicBezTo>
                      <a:cubicBezTo>
                        <a:pt x="72" y="908"/>
                        <a:pt x="131" y="1075"/>
                        <a:pt x="238" y="1218"/>
                      </a:cubicBezTo>
                      <a:lnTo>
                        <a:pt x="3060" y="4623"/>
                      </a:lnTo>
                      <a:lnTo>
                        <a:pt x="298" y="7373"/>
                      </a:lnTo>
                      <a:cubicBezTo>
                        <a:pt x="0" y="7671"/>
                        <a:pt x="0" y="8135"/>
                        <a:pt x="298" y="8433"/>
                      </a:cubicBezTo>
                      <a:cubicBezTo>
                        <a:pt x="441" y="8576"/>
                        <a:pt x="628" y="8647"/>
                        <a:pt x="817" y="8647"/>
                      </a:cubicBezTo>
                      <a:cubicBezTo>
                        <a:pt x="1006" y="8647"/>
                        <a:pt x="1197" y="8576"/>
                        <a:pt x="1346" y="8433"/>
                      </a:cubicBezTo>
                      <a:lnTo>
                        <a:pt x="4584" y="5194"/>
                      </a:lnTo>
                      <a:cubicBezTo>
                        <a:pt x="4858" y="4933"/>
                        <a:pt x="4882" y="4492"/>
                        <a:pt x="4632" y="4206"/>
                      </a:cubicBezTo>
                      <a:lnTo>
                        <a:pt x="1393" y="265"/>
                      </a:lnTo>
                      <a:cubicBezTo>
                        <a:pt x="1246" y="91"/>
                        <a:pt x="1035" y="0"/>
                        <a:pt x="82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grpSp>
    </p:spTree>
    <p:extLst>
      <p:ext uri="{BB962C8B-B14F-4D97-AF65-F5344CB8AC3E}">
        <p14:creationId xmlns:p14="http://schemas.microsoft.com/office/powerpoint/2010/main" val="41795961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9DC768-6D1F-4446-A82A-915E7F12670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MY"/>
          </a:p>
        </p:txBody>
      </p:sp>
      <p:sp>
        <p:nvSpPr>
          <p:cNvPr id="3" name="Subtitle 2">
            <a:extLst>
              <a:ext uri="{FF2B5EF4-FFF2-40B4-BE49-F238E27FC236}">
                <a16:creationId xmlns:a16="http://schemas.microsoft.com/office/drawing/2014/main" id="{FA57C6F0-AF7D-4078-8723-462DC812C0F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MY"/>
          </a:p>
        </p:txBody>
      </p:sp>
      <p:sp>
        <p:nvSpPr>
          <p:cNvPr id="4" name="Date Placeholder 3">
            <a:extLst>
              <a:ext uri="{FF2B5EF4-FFF2-40B4-BE49-F238E27FC236}">
                <a16:creationId xmlns:a16="http://schemas.microsoft.com/office/drawing/2014/main" id="{25C3F233-9097-4B6E-8AFC-4B07B09D03AB}"/>
              </a:ext>
            </a:extLst>
          </p:cNvPr>
          <p:cNvSpPr>
            <a:spLocks noGrp="1"/>
          </p:cNvSpPr>
          <p:nvPr>
            <p:ph type="dt" sz="half" idx="10"/>
          </p:nvPr>
        </p:nvSpPr>
        <p:spPr/>
        <p:txBody>
          <a:bodyPr/>
          <a:lstStyle/>
          <a:p>
            <a:fld id="{E152F814-A5A9-4915-BA2C-D498CBB3B7CE}" type="datetimeFigureOut">
              <a:rPr lang="en-MY" smtClean="0"/>
              <a:t>13/1/2023</a:t>
            </a:fld>
            <a:endParaRPr lang="en-MY"/>
          </a:p>
        </p:txBody>
      </p:sp>
      <p:sp>
        <p:nvSpPr>
          <p:cNvPr id="5" name="Footer Placeholder 4">
            <a:extLst>
              <a:ext uri="{FF2B5EF4-FFF2-40B4-BE49-F238E27FC236}">
                <a16:creationId xmlns:a16="http://schemas.microsoft.com/office/drawing/2014/main" id="{03328A83-D439-476E-87B5-0027C8C2C4BE}"/>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90CCAE6C-E368-454A-8D91-82FB8281FAA0}"/>
              </a:ext>
            </a:extLst>
          </p:cNvPr>
          <p:cNvSpPr>
            <a:spLocks noGrp="1"/>
          </p:cNvSpPr>
          <p:nvPr>
            <p:ph type="sldNum" sz="quarter" idx="12"/>
          </p:nvPr>
        </p:nvSpPr>
        <p:spPr/>
        <p:txBody>
          <a:bodyPr/>
          <a:lstStyle/>
          <a:p>
            <a:fld id="{3854563D-E486-48D4-A129-56097E180FBF}" type="slidenum">
              <a:rPr lang="en-MY" smtClean="0"/>
              <a:t>‹#›</a:t>
            </a:fld>
            <a:endParaRPr lang="en-MY"/>
          </a:p>
        </p:txBody>
      </p:sp>
    </p:spTree>
    <p:extLst>
      <p:ext uri="{BB962C8B-B14F-4D97-AF65-F5344CB8AC3E}">
        <p14:creationId xmlns:p14="http://schemas.microsoft.com/office/powerpoint/2010/main" val="871306916"/>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4F7C9-67EE-4528-9267-7F35F4582695}"/>
              </a:ext>
            </a:extLst>
          </p:cNvPr>
          <p:cNvSpPr>
            <a:spLocks noGrp="1"/>
          </p:cNvSpPr>
          <p:nvPr>
            <p:ph type="title"/>
          </p:nvPr>
        </p:nvSpPr>
        <p:spPr>
          <a:xfrm>
            <a:off x="839788" y="365125"/>
            <a:ext cx="10515600" cy="1325563"/>
          </a:xfrm>
        </p:spPr>
        <p:txBody>
          <a:bodyPr/>
          <a:lstStyle/>
          <a:p>
            <a:r>
              <a:rPr lang="en-US"/>
              <a:t>Click to edit Master title style</a:t>
            </a:r>
            <a:endParaRPr lang="en-MY"/>
          </a:p>
        </p:txBody>
      </p:sp>
      <p:sp>
        <p:nvSpPr>
          <p:cNvPr id="3" name="Text Placeholder 2">
            <a:extLst>
              <a:ext uri="{FF2B5EF4-FFF2-40B4-BE49-F238E27FC236}">
                <a16:creationId xmlns:a16="http://schemas.microsoft.com/office/drawing/2014/main" id="{95EE2EA6-971D-4FE2-B2E2-334F6305CEA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56B05DE-55DA-4FF9-98DB-A1CA1BC536C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5" name="Text Placeholder 4">
            <a:extLst>
              <a:ext uri="{FF2B5EF4-FFF2-40B4-BE49-F238E27FC236}">
                <a16:creationId xmlns:a16="http://schemas.microsoft.com/office/drawing/2014/main" id="{73FECF11-E647-44F7-B670-052E2755F63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C868EBA-1D38-49F2-9F8F-E4F136122C3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7" name="Date Placeholder 6">
            <a:extLst>
              <a:ext uri="{FF2B5EF4-FFF2-40B4-BE49-F238E27FC236}">
                <a16:creationId xmlns:a16="http://schemas.microsoft.com/office/drawing/2014/main" id="{8D4B21D2-0EC6-4FA2-AB45-74EDE03955C4}"/>
              </a:ext>
            </a:extLst>
          </p:cNvPr>
          <p:cNvSpPr>
            <a:spLocks noGrp="1"/>
          </p:cNvSpPr>
          <p:nvPr>
            <p:ph type="dt" sz="half" idx="10"/>
          </p:nvPr>
        </p:nvSpPr>
        <p:spPr/>
        <p:txBody>
          <a:bodyPr/>
          <a:lstStyle/>
          <a:p>
            <a:fld id="{E152F814-A5A9-4915-BA2C-D498CBB3B7CE}" type="datetimeFigureOut">
              <a:rPr lang="en-MY" smtClean="0"/>
              <a:t>13/1/2023</a:t>
            </a:fld>
            <a:endParaRPr lang="en-MY"/>
          </a:p>
        </p:txBody>
      </p:sp>
      <p:sp>
        <p:nvSpPr>
          <p:cNvPr id="8" name="Footer Placeholder 7">
            <a:extLst>
              <a:ext uri="{FF2B5EF4-FFF2-40B4-BE49-F238E27FC236}">
                <a16:creationId xmlns:a16="http://schemas.microsoft.com/office/drawing/2014/main" id="{96921F53-4687-46F2-B3FE-E3FC0C02CDBE}"/>
              </a:ext>
            </a:extLst>
          </p:cNvPr>
          <p:cNvSpPr>
            <a:spLocks noGrp="1"/>
          </p:cNvSpPr>
          <p:nvPr>
            <p:ph type="ftr" sz="quarter" idx="11"/>
          </p:nvPr>
        </p:nvSpPr>
        <p:spPr/>
        <p:txBody>
          <a:bodyPr/>
          <a:lstStyle/>
          <a:p>
            <a:endParaRPr lang="en-MY"/>
          </a:p>
        </p:txBody>
      </p:sp>
      <p:sp>
        <p:nvSpPr>
          <p:cNvPr id="9" name="Slide Number Placeholder 8">
            <a:extLst>
              <a:ext uri="{FF2B5EF4-FFF2-40B4-BE49-F238E27FC236}">
                <a16:creationId xmlns:a16="http://schemas.microsoft.com/office/drawing/2014/main" id="{BA8F3DDC-85A6-41AB-878C-46F122F2DD59}"/>
              </a:ext>
            </a:extLst>
          </p:cNvPr>
          <p:cNvSpPr>
            <a:spLocks noGrp="1"/>
          </p:cNvSpPr>
          <p:nvPr>
            <p:ph type="sldNum" sz="quarter" idx="12"/>
          </p:nvPr>
        </p:nvSpPr>
        <p:spPr/>
        <p:txBody>
          <a:bodyPr/>
          <a:lstStyle/>
          <a:p>
            <a:fld id="{3854563D-E486-48D4-A129-56097E180FBF}" type="slidenum">
              <a:rPr lang="en-MY" smtClean="0"/>
              <a:t>‹#›</a:t>
            </a:fld>
            <a:endParaRPr lang="en-MY"/>
          </a:p>
        </p:txBody>
      </p:sp>
    </p:spTree>
    <p:extLst>
      <p:ext uri="{BB962C8B-B14F-4D97-AF65-F5344CB8AC3E}">
        <p14:creationId xmlns:p14="http://schemas.microsoft.com/office/powerpoint/2010/main" val="212290434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4EEFE-C242-4662-BF1A-E41B0F1F3896}"/>
              </a:ext>
            </a:extLst>
          </p:cNvPr>
          <p:cNvSpPr>
            <a:spLocks noGrp="1"/>
          </p:cNvSpPr>
          <p:nvPr>
            <p:ph type="title"/>
          </p:nvPr>
        </p:nvSpPr>
        <p:spPr/>
        <p:txBody>
          <a:bodyPr/>
          <a:lstStyle/>
          <a:p>
            <a:r>
              <a:rPr lang="en-US"/>
              <a:t>Click to edit Master title style</a:t>
            </a:r>
            <a:endParaRPr lang="en-MY"/>
          </a:p>
        </p:txBody>
      </p:sp>
      <p:sp>
        <p:nvSpPr>
          <p:cNvPr id="3" name="Content Placeholder 2">
            <a:extLst>
              <a:ext uri="{FF2B5EF4-FFF2-40B4-BE49-F238E27FC236}">
                <a16:creationId xmlns:a16="http://schemas.microsoft.com/office/drawing/2014/main" id="{33D57406-FE6B-49C4-8589-9BB3D59E8EA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a:extLst>
              <a:ext uri="{FF2B5EF4-FFF2-40B4-BE49-F238E27FC236}">
                <a16:creationId xmlns:a16="http://schemas.microsoft.com/office/drawing/2014/main" id="{C65E3D15-82BB-4621-AD50-671F17A64DB3}"/>
              </a:ext>
            </a:extLst>
          </p:cNvPr>
          <p:cNvSpPr>
            <a:spLocks noGrp="1"/>
          </p:cNvSpPr>
          <p:nvPr>
            <p:ph type="dt" sz="half" idx="10"/>
          </p:nvPr>
        </p:nvSpPr>
        <p:spPr/>
        <p:txBody>
          <a:bodyPr/>
          <a:lstStyle/>
          <a:p>
            <a:fld id="{E152F814-A5A9-4915-BA2C-D498CBB3B7CE}" type="datetimeFigureOut">
              <a:rPr lang="en-MY" smtClean="0"/>
              <a:t>13/1/2023</a:t>
            </a:fld>
            <a:endParaRPr lang="en-MY"/>
          </a:p>
        </p:txBody>
      </p:sp>
      <p:sp>
        <p:nvSpPr>
          <p:cNvPr id="5" name="Footer Placeholder 4">
            <a:extLst>
              <a:ext uri="{FF2B5EF4-FFF2-40B4-BE49-F238E27FC236}">
                <a16:creationId xmlns:a16="http://schemas.microsoft.com/office/drawing/2014/main" id="{78F89760-5DDA-49EA-9EB9-D2C39483A8B5}"/>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6F9EF33A-3152-417C-91F3-3AFE173ACAA4}"/>
              </a:ext>
            </a:extLst>
          </p:cNvPr>
          <p:cNvSpPr>
            <a:spLocks noGrp="1"/>
          </p:cNvSpPr>
          <p:nvPr>
            <p:ph type="sldNum" sz="quarter" idx="12"/>
          </p:nvPr>
        </p:nvSpPr>
        <p:spPr/>
        <p:txBody>
          <a:bodyPr/>
          <a:lstStyle/>
          <a:p>
            <a:fld id="{3854563D-E486-48D4-A129-56097E180FBF}" type="slidenum">
              <a:rPr lang="en-MY" smtClean="0"/>
              <a:t>‹#›</a:t>
            </a:fld>
            <a:endParaRPr lang="en-MY"/>
          </a:p>
        </p:txBody>
      </p:sp>
    </p:spTree>
    <p:extLst>
      <p:ext uri="{BB962C8B-B14F-4D97-AF65-F5344CB8AC3E}">
        <p14:creationId xmlns:p14="http://schemas.microsoft.com/office/powerpoint/2010/main" val="25806000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40739-0558-4FB6-A2B2-F0A1DB763F9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MY"/>
          </a:p>
        </p:txBody>
      </p:sp>
      <p:sp>
        <p:nvSpPr>
          <p:cNvPr id="3" name="Text Placeholder 2">
            <a:extLst>
              <a:ext uri="{FF2B5EF4-FFF2-40B4-BE49-F238E27FC236}">
                <a16:creationId xmlns:a16="http://schemas.microsoft.com/office/drawing/2014/main" id="{E2BC137B-9FB1-448A-A26B-A10182E47FD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2190DD9-5291-49B4-BDDF-FB8D71EB6E6F}"/>
              </a:ext>
            </a:extLst>
          </p:cNvPr>
          <p:cNvSpPr>
            <a:spLocks noGrp="1"/>
          </p:cNvSpPr>
          <p:nvPr>
            <p:ph type="dt" sz="half" idx="10"/>
          </p:nvPr>
        </p:nvSpPr>
        <p:spPr/>
        <p:txBody>
          <a:bodyPr/>
          <a:lstStyle/>
          <a:p>
            <a:fld id="{E152F814-A5A9-4915-BA2C-D498CBB3B7CE}" type="datetimeFigureOut">
              <a:rPr lang="en-MY" smtClean="0"/>
              <a:t>13/1/2023</a:t>
            </a:fld>
            <a:endParaRPr lang="en-MY"/>
          </a:p>
        </p:txBody>
      </p:sp>
      <p:sp>
        <p:nvSpPr>
          <p:cNvPr id="5" name="Footer Placeholder 4">
            <a:extLst>
              <a:ext uri="{FF2B5EF4-FFF2-40B4-BE49-F238E27FC236}">
                <a16:creationId xmlns:a16="http://schemas.microsoft.com/office/drawing/2014/main" id="{A73C68C4-DB93-4C7A-BA96-59311013A6A2}"/>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465F16CD-FD5E-4439-ADFE-3CE91A6A91EB}"/>
              </a:ext>
            </a:extLst>
          </p:cNvPr>
          <p:cNvSpPr>
            <a:spLocks noGrp="1"/>
          </p:cNvSpPr>
          <p:nvPr>
            <p:ph type="sldNum" sz="quarter" idx="12"/>
          </p:nvPr>
        </p:nvSpPr>
        <p:spPr/>
        <p:txBody>
          <a:bodyPr/>
          <a:lstStyle/>
          <a:p>
            <a:fld id="{3854563D-E486-48D4-A129-56097E180FBF}" type="slidenum">
              <a:rPr lang="en-MY" smtClean="0"/>
              <a:t>‹#›</a:t>
            </a:fld>
            <a:endParaRPr lang="en-MY"/>
          </a:p>
        </p:txBody>
      </p:sp>
    </p:spTree>
    <p:extLst>
      <p:ext uri="{BB962C8B-B14F-4D97-AF65-F5344CB8AC3E}">
        <p14:creationId xmlns:p14="http://schemas.microsoft.com/office/powerpoint/2010/main" val="367235540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BCD68-621A-416D-984E-95D628554973}"/>
              </a:ext>
            </a:extLst>
          </p:cNvPr>
          <p:cNvSpPr>
            <a:spLocks noGrp="1"/>
          </p:cNvSpPr>
          <p:nvPr>
            <p:ph type="title"/>
          </p:nvPr>
        </p:nvSpPr>
        <p:spPr/>
        <p:txBody>
          <a:bodyPr/>
          <a:lstStyle/>
          <a:p>
            <a:r>
              <a:rPr lang="en-US"/>
              <a:t>Click to edit Master title style</a:t>
            </a:r>
            <a:endParaRPr lang="en-MY"/>
          </a:p>
        </p:txBody>
      </p:sp>
      <p:sp>
        <p:nvSpPr>
          <p:cNvPr id="3" name="Content Placeholder 2">
            <a:extLst>
              <a:ext uri="{FF2B5EF4-FFF2-40B4-BE49-F238E27FC236}">
                <a16:creationId xmlns:a16="http://schemas.microsoft.com/office/drawing/2014/main" id="{A583D796-624E-4738-86C0-AD1391A656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Content Placeholder 3">
            <a:extLst>
              <a:ext uri="{FF2B5EF4-FFF2-40B4-BE49-F238E27FC236}">
                <a16:creationId xmlns:a16="http://schemas.microsoft.com/office/drawing/2014/main" id="{A868F0B3-7E2F-41BD-92F6-EF9365E5CD3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5" name="Date Placeholder 4">
            <a:extLst>
              <a:ext uri="{FF2B5EF4-FFF2-40B4-BE49-F238E27FC236}">
                <a16:creationId xmlns:a16="http://schemas.microsoft.com/office/drawing/2014/main" id="{7294692D-6AD7-4F88-B757-CCEA3D2B1F0A}"/>
              </a:ext>
            </a:extLst>
          </p:cNvPr>
          <p:cNvSpPr>
            <a:spLocks noGrp="1"/>
          </p:cNvSpPr>
          <p:nvPr>
            <p:ph type="dt" sz="half" idx="10"/>
          </p:nvPr>
        </p:nvSpPr>
        <p:spPr/>
        <p:txBody>
          <a:bodyPr/>
          <a:lstStyle/>
          <a:p>
            <a:fld id="{E152F814-A5A9-4915-BA2C-D498CBB3B7CE}" type="datetimeFigureOut">
              <a:rPr lang="en-MY" smtClean="0"/>
              <a:t>13/1/2023</a:t>
            </a:fld>
            <a:endParaRPr lang="en-MY"/>
          </a:p>
        </p:txBody>
      </p:sp>
      <p:sp>
        <p:nvSpPr>
          <p:cNvPr id="6" name="Footer Placeholder 5">
            <a:extLst>
              <a:ext uri="{FF2B5EF4-FFF2-40B4-BE49-F238E27FC236}">
                <a16:creationId xmlns:a16="http://schemas.microsoft.com/office/drawing/2014/main" id="{52C4E867-7B57-4AD9-9B30-2B13E6AC57D4}"/>
              </a:ext>
            </a:extLst>
          </p:cNvPr>
          <p:cNvSpPr>
            <a:spLocks noGrp="1"/>
          </p:cNvSpPr>
          <p:nvPr>
            <p:ph type="ftr" sz="quarter" idx="11"/>
          </p:nvPr>
        </p:nvSpPr>
        <p:spPr/>
        <p:txBody>
          <a:bodyPr/>
          <a:lstStyle/>
          <a:p>
            <a:endParaRPr lang="en-MY"/>
          </a:p>
        </p:txBody>
      </p:sp>
      <p:sp>
        <p:nvSpPr>
          <p:cNvPr id="7" name="Slide Number Placeholder 6">
            <a:extLst>
              <a:ext uri="{FF2B5EF4-FFF2-40B4-BE49-F238E27FC236}">
                <a16:creationId xmlns:a16="http://schemas.microsoft.com/office/drawing/2014/main" id="{82C69390-C76F-4AAD-BCC1-5A2282872E84}"/>
              </a:ext>
            </a:extLst>
          </p:cNvPr>
          <p:cNvSpPr>
            <a:spLocks noGrp="1"/>
          </p:cNvSpPr>
          <p:nvPr>
            <p:ph type="sldNum" sz="quarter" idx="12"/>
          </p:nvPr>
        </p:nvSpPr>
        <p:spPr/>
        <p:txBody>
          <a:bodyPr/>
          <a:lstStyle/>
          <a:p>
            <a:fld id="{3854563D-E486-48D4-A129-56097E180FBF}" type="slidenum">
              <a:rPr lang="en-MY" smtClean="0"/>
              <a:t>‹#›</a:t>
            </a:fld>
            <a:endParaRPr lang="en-MY"/>
          </a:p>
        </p:txBody>
      </p:sp>
    </p:spTree>
    <p:extLst>
      <p:ext uri="{BB962C8B-B14F-4D97-AF65-F5344CB8AC3E}">
        <p14:creationId xmlns:p14="http://schemas.microsoft.com/office/powerpoint/2010/main" val="26772341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4F7C9-67EE-4528-9267-7F35F4582695}"/>
              </a:ext>
            </a:extLst>
          </p:cNvPr>
          <p:cNvSpPr>
            <a:spLocks noGrp="1"/>
          </p:cNvSpPr>
          <p:nvPr>
            <p:ph type="title"/>
          </p:nvPr>
        </p:nvSpPr>
        <p:spPr>
          <a:xfrm>
            <a:off x="839788" y="365125"/>
            <a:ext cx="10515600" cy="1325563"/>
          </a:xfrm>
        </p:spPr>
        <p:txBody>
          <a:bodyPr/>
          <a:lstStyle/>
          <a:p>
            <a:r>
              <a:rPr lang="en-US"/>
              <a:t>Click to edit Master title style</a:t>
            </a:r>
            <a:endParaRPr lang="en-MY"/>
          </a:p>
        </p:txBody>
      </p:sp>
      <p:sp>
        <p:nvSpPr>
          <p:cNvPr id="3" name="Text Placeholder 2">
            <a:extLst>
              <a:ext uri="{FF2B5EF4-FFF2-40B4-BE49-F238E27FC236}">
                <a16:creationId xmlns:a16="http://schemas.microsoft.com/office/drawing/2014/main" id="{95EE2EA6-971D-4FE2-B2E2-334F6305CEA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56B05DE-55DA-4FF9-98DB-A1CA1BC536C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5" name="Text Placeholder 4">
            <a:extLst>
              <a:ext uri="{FF2B5EF4-FFF2-40B4-BE49-F238E27FC236}">
                <a16:creationId xmlns:a16="http://schemas.microsoft.com/office/drawing/2014/main" id="{73FECF11-E647-44F7-B670-052E2755F63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C868EBA-1D38-49F2-9F8F-E4F136122C3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7" name="Date Placeholder 6">
            <a:extLst>
              <a:ext uri="{FF2B5EF4-FFF2-40B4-BE49-F238E27FC236}">
                <a16:creationId xmlns:a16="http://schemas.microsoft.com/office/drawing/2014/main" id="{8D4B21D2-0EC6-4FA2-AB45-74EDE03955C4}"/>
              </a:ext>
            </a:extLst>
          </p:cNvPr>
          <p:cNvSpPr>
            <a:spLocks noGrp="1"/>
          </p:cNvSpPr>
          <p:nvPr>
            <p:ph type="dt" sz="half" idx="10"/>
          </p:nvPr>
        </p:nvSpPr>
        <p:spPr/>
        <p:txBody>
          <a:bodyPr/>
          <a:lstStyle/>
          <a:p>
            <a:fld id="{E152F814-A5A9-4915-BA2C-D498CBB3B7CE}" type="datetimeFigureOut">
              <a:rPr lang="en-MY" smtClean="0"/>
              <a:t>13/1/2023</a:t>
            </a:fld>
            <a:endParaRPr lang="en-MY"/>
          </a:p>
        </p:txBody>
      </p:sp>
      <p:sp>
        <p:nvSpPr>
          <p:cNvPr id="8" name="Footer Placeholder 7">
            <a:extLst>
              <a:ext uri="{FF2B5EF4-FFF2-40B4-BE49-F238E27FC236}">
                <a16:creationId xmlns:a16="http://schemas.microsoft.com/office/drawing/2014/main" id="{96921F53-4687-46F2-B3FE-E3FC0C02CDBE}"/>
              </a:ext>
            </a:extLst>
          </p:cNvPr>
          <p:cNvSpPr>
            <a:spLocks noGrp="1"/>
          </p:cNvSpPr>
          <p:nvPr>
            <p:ph type="ftr" sz="quarter" idx="11"/>
          </p:nvPr>
        </p:nvSpPr>
        <p:spPr/>
        <p:txBody>
          <a:bodyPr/>
          <a:lstStyle/>
          <a:p>
            <a:endParaRPr lang="en-MY"/>
          </a:p>
        </p:txBody>
      </p:sp>
      <p:sp>
        <p:nvSpPr>
          <p:cNvPr id="9" name="Slide Number Placeholder 8">
            <a:extLst>
              <a:ext uri="{FF2B5EF4-FFF2-40B4-BE49-F238E27FC236}">
                <a16:creationId xmlns:a16="http://schemas.microsoft.com/office/drawing/2014/main" id="{BA8F3DDC-85A6-41AB-878C-46F122F2DD59}"/>
              </a:ext>
            </a:extLst>
          </p:cNvPr>
          <p:cNvSpPr>
            <a:spLocks noGrp="1"/>
          </p:cNvSpPr>
          <p:nvPr>
            <p:ph type="sldNum" sz="quarter" idx="12"/>
          </p:nvPr>
        </p:nvSpPr>
        <p:spPr/>
        <p:txBody>
          <a:bodyPr/>
          <a:lstStyle/>
          <a:p>
            <a:fld id="{3854563D-E486-48D4-A129-56097E180FBF}" type="slidenum">
              <a:rPr lang="en-MY" smtClean="0"/>
              <a:t>‹#›</a:t>
            </a:fld>
            <a:endParaRPr lang="en-MY"/>
          </a:p>
        </p:txBody>
      </p:sp>
    </p:spTree>
    <p:extLst>
      <p:ext uri="{BB962C8B-B14F-4D97-AF65-F5344CB8AC3E}">
        <p14:creationId xmlns:p14="http://schemas.microsoft.com/office/powerpoint/2010/main" val="241745542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EBD89-B91B-4309-98BC-2866447F5831}"/>
              </a:ext>
            </a:extLst>
          </p:cNvPr>
          <p:cNvSpPr>
            <a:spLocks noGrp="1"/>
          </p:cNvSpPr>
          <p:nvPr>
            <p:ph type="title"/>
          </p:nvPr>
        </p:nvSpPr>
        <p:spPr/>
        <p:txBody>
          <a:bodyPr/>
          <a:lstStyle/>
          <a:p>
            <a:r>
              <a:rPr lang="en-US"/>
              <a:t>Click to edit Master title style</a:t>
            </a:r>
            <a:endParaRPr lang="en-MY"/>
          </a:p>
        </p:txBody>
      </p:sp>
      <p:sp>
        <p:nvSpPr>
          <p:cNvPr id="3" name="Date Placeholder 2">
            <a:extLst>
              <a:ext uri="{FF2B5EF4-FFF2-40B4-BE49-F238E27FC236}">
                <a16:creationId xmlns:a16="http://schemas.microsoft.com/office/drawing/2014/main" id="{A5FC00C5-D1CB-4EB0-A9CC-DFB33176FE99}"/>
              </a:ext>
            </a:extLst>
          </p:cNvPr>
          <p:cNvSpPr>
            <a:spLocks noGrp="1"/>
          </p:cNvSpPr>
          <p:nvPr>
            <p:ph type="dt" sz="half" idx="10"/>
          </p:nvPr>
        </p:nvSpPr>
        <p:spPr/>
        <p:txBody>
          <a:bodyPr/>
          <a:lstStyle/>
          <a:p>
            <a:fld id="{E152F814-A5A9-4915-BA2C-D498CBB3B7CE}" type="datetimeFigureOut">
              <a:rPr lang="en-MY" smtClean="0"/>
              <a:t>13/1/2023</a:t>
            </a:fld>
            <a:endParaRPr lang="en-MY"/>
          </a:p>
        </p:txBody>
      </p:sp>
      <p:sp>
        <p:nvSpPr>
          <p:cNvPr id="4" name="Footer Placeholder 3">
            <a:extLst>
              <a:ext uri="{FF2B5EF4-FFF2-40B4-BE49-F238E27FC236}">
                <a16:creationId xmlns:a16="http://schemas.microsoft.com/office/drawing/2014/main" id="{BF457628-7C41-4DC7-AF1B-9F786E62B4F4}"/>
              </a:ext>
            </a:extLst>
          </p:cNvPr>
          <p:cNvSpPr>
            <a:spLocks noGrp="1"/>
          </p:cNvSpPr>
          <p:nvPr>
            <p:ph type="ftr" sz="quarter" idx="11"/>
          </p:nvPr>
        </p:nvSpPr>
        <p:spPr/>
        <p:txBody>
          <a:bodyPr/>
          <a:lstStyle/>
          <a:p>
            <a:endParaRPr lang="en-MY"/>
          </a:p>
        </p:txBody>
      </p:sp>
      <p:sp>
        <p:nvSpPr>
          <p:cNvPr id="5" name="Slide Number Placeholder 4">
            <a:extLst>
              <a:ext uri="{FF2B5EF4-FFF2-40B4-BE49-F238E27FC236}">
                <a16:creationId xmlns:a16="http://schemas.microsoft.com/office/drawing/2014/main" id="{6A49890C-787F-40D5-9FDE-C0076A75353A}"/>
              </a:ext>
            </a:extLst>
          </p:cNvPr>
          <p:cNvSpPr>
            <a:spLocks noGrp="1"/>
          </p:cNvSpPr>
          <p:nvPr>
            <p:ph type="sldNum" sz="quarter" idx="12"/>
          </p:nvPr>
        </p:nvSpPr>
        <p:spPr/>
        <p:txBody>
          <a:bodyPr/>
          <a:lstStyle/>
          <a:p>
            <a:fld id="{3854563D-E486-48D4-A129-56097E180FBF}" type="slidenum">
              <a:rPr lang="en-MY" smtClean="0"/>
              <a:t>‹#›</a:t>
            </a:fld>
            <a:endParaRPr lang="en-MY"/>
          </a:p>
        </p:txBody>
      </p:sp>
    </p:spTree>
    <p:extLst>
      <p:ext uri="{BB962C8B-B14F-4D97-AF65-F5344CB8AC3E}">
        <p14:creationId xmlns:p14="http://schemas.microsoft.com/office/powerpoint/2010/main" val="20881549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5C2BE83-86BE-4041-850C-D674172D4711}"/>
              </a:ext>
            </a:extLst>
          </p:cNvPr>
          <p:cNvSpPr>
            <a:spLocks noGrp="1"/>
          </p:cNvSpPr>
          <p:nvPr>
            <p:ph type="dt" sz="half" idx="10"/>
          </p:nvPr>
        </p:nvSpPr>
        <p:spPr/>
        <p:txBody>
          <a:bodyPr/>
          <a:lstStyle/>
          <a:p>
            <a:fld id="{E152F814-A5A9-4915-BA2C-D498CBB3B7CE}" type="datetimeFigureOut">
              <a:rPr lang="en-MY" smtClean="0"/>
              <a:t>13/1/2023</a:t>
            </a:fld>
            <a:endParaRPr lang="en-MY"/>
          </a:p>
        </p:txBody>
      </p:sp>
      <p:sp>
        <p:nvSpPr>
          <p:cNvPr id="3" name="Footer Placeholder 2">
            <a:extLst>
              <a:ext uri="{FF2B5EF4-FFF2-40B4-BE49-F238E27FC236}">
                <a16:creationId xmlns:a16="http://schemas.microsoft.com/office/drawing/2014/main" id="{3862D319-8AD0-40D0-804C-A36BD6C443F9}"/>
              </a:ext>
            </a:extLst>
          </p:cNvPr>
          <p:cNvSpPr>
            <a:spLocks noGrp="1"/>
          </p:cNvSpPr>
          <p:nvPr>
            <p:ph type="ftr" sz="quarter" idx="11"/>
          </p:nvPr>
        </p:nvSpPr>
        <p:spPr/>
        <p:txBody>
          <a:bodyPr/>
          <a:lstStyle/>
          <a:p>
            <a:endParaRPr lang="en-MY"/>
          </a:p>
        </p:txBody>
      </p:sp>
      <p:sp>
        <p:nvSpPr>
          <p:cNvPr id="4" name="Slide Number Placeholder 3">
            <a:extLst>
              <a:ext uri="{FF2B5EF4-FFF2-40B4-BE49-F238E27FC236}">
                <a16:creationId xmlns:a16="http://schemas.microsoft.com/office/drawing/2014/main" id="{18C3EA55-5DDC-449A-8EC9-092B3E5984BC}"/>
              </a:ext>
            </a:extLst>
          </p:cNvPr>
          <p:cNvSpPr>
            <a:spLocks noGrp="1"/>
          </p:cNvSpPr>
          <p:nvPr>
            <p:ph type="sldNum" sz="quarter" idx="12"/>
          </p:nvPr>
        </p:nvSpPr>
        <p:spPr/>
        <p:txBody>
          <a:bodyPr/>
          <a:lstStyle/>
          <a:p>
            <a:fld id="{3854563D-E486-48D4-A129-56097E180FBF}" type="slidenum">
              <a:rPr lang="en-MY" smtClean="0"/>
              <a:t>‹#›</a:t>
            </a:fld>
            <a:endParaRPr lang="en-MY"/>
          </a:p>
        </p:txBody>
      </p:sp>
    </p:spTree>
    <p:extLst>
      <p:ext uri="{BB962C8B-B14F-4D97-AF65-F5344CB8AC3E}">
        <p14:creationId xmlns:p14="http://schemas.microsoft.com/office/powerpoint/2010/main" val="37401642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4D7F5-EF7B-4720-B8A2-15BD7DFC25F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MY"/>
          </a:p>
        </p:txBody>
      </p:sp>
      <p:sp>
        <p:nvSpPr>
          <p:cNvPr id="3" name="Content Placeholder 2">
            <a:extLst>
              <a:ext uri="{FF2B5EF4-FFF2-40B4-BE49-F238E27FC236}">
                <a16:creationId xmlns:a16="http://schemas.microsoft.com/office/drawing/2014/main" id="{E6DC5690-FBD5-4F7A-B323-8BA826A8433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Text Placeholder 3">
            <a:extLst>
              <a:ext uri="{FF2B5EF4-FFF2-40B4-BE49-F238E27FC236}">
                <a16:creationId xmlns:a16="http://schemas.microsoft.com/office/drawing/2014/main" id="{9E1CD33E-05A3-42F7-B6D8-AB8488DA35D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669B1EE-2719-4677-B65E-31B7266DB215}"/>
              </a:ext>
            </a:extLst>
          </p:cNvPr>
          <p:cNvSpPr>
            <a:spLocks noGrp="1"/>
          </p:cNvSpPr>
          <p:nvPr>
            <p:ph type="dt" sz="half" idx="10"/>
          </p:nvPr>
        </p:nvSpPr>
        <p:spPr/>
        <p:txBody>
          <a:bodyPr/>
          <a:lstStyle/>
          <a:p>
            <a:fld id="{E152F814-A5A9-4915-BA2C-D498CBB3B7CE}" type="datetimeFigureOut">
              <a:rPr lang="en-MY" smtClean="0"/>
              <a:t>13/1/2023</a:t>
            </a:fld>
            <a:endParaRPr lang="en-MY"/>
          </a:p>
        </p:txBody>
      </p:sp>
      <p:sp>
        <p:nvSpPr>
          <p:cNvPr id="6" name="Footer Placeholder 5">
            <a:extLst>
              <a:ext uri="{FF2B5EF4-FFF2-40B4-BE49-F238E27FC236}">
                <a16:creationId xmlns:a16="http://schemas.microsoft.com/office/drawing/2014/main" id="{8341BB58-9ED3-44C6-B3A3-B2E4EB330394}"/>
              </a:ext>
            </a:extLst>
          </p:cNvPr>
          <p:cNvSpPr>
            <a:spLocks noGrp="1"/>
          </p:cNvSpPr>
          <p:nvPr>
            <p:ph type="ftr" sz="quarter" idx="11"/>
          </p:nvPr>
        </p:nvSpPr>
        <p:spPr/>
        <p:txBody>
          <a:bodyPr/>
          <a:lstStyle/>
          <a:p>
            <a:endParaRPr lang="en-MY"/>
          </a:p>
        </p:txBody>
      </p:sp>
      <p:sp>
        <p:nvSpPr>
          <p:cNvPr id="7" name="Slide Number Placeholder 6">
            <a:extLst>
              <a:ext uri="{FF2B5EF4-FFF2-40B4-BE49-F238E27FC236}">
                <a16:creationId xmlns:a16="http://schemas.microsoft.com/office/drawing/2014/main" id="{5B1477CB-4E5F-42D9-8201-EF75BAFC264F}"/>
              </a:ext>
            </a:extLst>
          </p:cNvPr>
          <p:cNvSpPr>
            <a:spLocks noGrp="1"/>
          </p:cNvSpPr>
          <p:nvPr>
            <p:ph type="sldNum" sz="quarter" idx="12"/>
          </p:nvPr>
        </p:nvSpPr>
        <p:spPr/>
        <p:txBody>
          <a:bodyPr/>
          <a:lstStyle/>
          <a:p>
            <a:fld id="{3854563D-E486-48D4-A129-56097E180FBF}" type="slidenum">
              <a:rPr lang="en-MY" smtClean="0"/>
              <a:t>‹#›</a:t>
            </a:fld>
            <a:endParaRPr lang="en-MY"/>
          </a:p>
        </p:txBody>
      </p:sp>
    </p:spTree>
    <p:extLst>
      <p:ext uri="{BB962C8B-B14F-4D97-AF65-F5344CB8AC3E}">
        <p14:creationId xmlns:p14="http://schemas.microsoft.com/office/powerpoint/2010/main" val="10483948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F4A25-4F87-4701-8DC6-85855EC1D9F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MY"/>
          </a:p>
        </p:txBody>
      </p:sp>
      <p:sp>
        <p:nvSpPr>
          <p:cNvPr id="3" name="Picture Placeholder 2">
            <a:extLst>
              <a:ext uri="{FF2B5EF4-FFF2-40B4-BE49-F238E27FC236}">
                <a16:creationId xmlns:a16="http://schemas.microsoft.com/office/drawing/2014/main" id="{B92CEFFC-6064-4DA0-9B8C-C85F7707F18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MY"/>
          </a:p>
        </p:txBody>
      </p:sp>
      <p:sp>
        <p:nvSpPr>
          <p:cNvPr id="4" name="Text Placeholder 3">
            <a:extLst>
              <a:ext uri="{FF2B5EF4-FFF2-40B4-BE49-F238E27FC236}">
                <a16:creationId xmlns:a16="http://schemas.microsoft.com/office/drawing/2014/main" id="{8DC60028-ECAC-483B-A40E-12965294708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BF0CF42-DA5D-4733-B9DB-C250AD970DD9}"/>
              </a:ext>
            </a:extLst>
          </p:cNvPr>
          <p:cNvSpPr>
            <a:spLocks noGrp="1"/>
          </p:cNvSpPr>
          <p:nvPr>
            <p:ph type="dt" sz="half" idx="10"/>
          </p:nvPr>
        </p:nvSpPr>
        <p:spPr/>
        <p:txBody>
          <a:bodyPr/>
          <a:lstStyle/>
          <a:p>
            <a:fld id="{E152F814-A5A9-4915-BA2C-D498CBB3B7CE}" type="datetimeFigureOut">
              <a:rPr lang="en-MY" smtClean="0"/>
              <a:t>13/1/2023</a:t>
            </a:fld>
            <a:endParaRPr lang="en-MY"/>
          </a:p>
        </p:txBody>
      </p:sp>
      <p:sp>
        <p:nvSpPr>
          <p:cNvPr id="6" name="Footer Placeholder 5">
            <a:extLst>
              <a:ext uri="{FF2B5EF4-FFF2-40B4-BE49-F238E27FC236}">
                <a16:creationId xmlns:a16="http://schemas.microsoft.com/office/drawing/2014/main" id="{88E38F72-6E6B-4583-8E79-293A0DE76037}"/>
              </a:ext>
            </a:extLst>
          </p:cNvPr>
          <p:cNvSpPr>
            <a:spLocks noGrp="1"/>
          </p:cNvSpPr>
          <p:nvPr>
            <p:ph type="ftr" sz="quarter" idx="11"/>
          </p:nvPr>
        </p:nvSpPr>
        <p:spPr/>
        <p:txBody>
          <a:bodyPr/>
          <a:lstStyle/>
          <a:p>
            <a:endParaRPr lang="en-MY"/>
          </a:p>
        </p:txBody>
      </p:sp>
      <p:sp>
        <p:nvSpPr>
          <p:cNvPr id="7" name="Slide Number Placeholder 6">
            <a:extLst>
              <a:ext uri="{FF2B5EF4-FFF2-40B4-BE49-F238E27FC236}">
                <a16:creationId xmlns:a16="http://schemas.microsoft.com/office/drawing/2014/main" id="{F5517816-E45E-4FE2-9DB3-4459D309601B}"/>
              </a:ext>
            </a:extLst>
          </p:cNvPr>
          <p:cNvSpPr>
            <a:spLocks noGrp="1"/>
          </p:cNvSpPr>
          <p:nvPr>
            <p:ph type="sldNum" sz="quarter" idx="12"/>
          </p:nvPr>
        </p:nvSpPr>
        <p:spPr/>
        <p:txBody>
          <a:bodyPr/>
          <a:lstStyle/>
          <a:p>
            <a:fld id="{3854563D-E486-48D4-A129-56097E180FBF}" type="slidenum">
              <a:rPr lang="en-MY" smtClean="0"/>
              <a:t>‹#›</a:t>
            </a:fld>
            <a:endParaRPr lang="en-MY"/>
          </a:p>
        </p:txBody>
      </p:sp>
    </p:spTree>
    <p:extLst>
      <p:ext uri="{BB962C8B-B14F-4D97-AF65-F5344CB8AC3E}">
        <p14:creationId xmlns:p14="http://schemas.microsoft.com/office/powerpoint/2010/main" val="28057277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CAFB6-449A-7B60-84C3-D01428D0BA08}"/>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DCD18234-5AC3-3A84-0CC3-88D8361295F5}"/>
              </a:ext>
            </a:extLst>
          </p:cNvPr>
          <p:cNvSpPr>
            <a:spLocks noGrp="1"/>
          </p:cNvSpPr>
          <p:nvPr>
            <p:ph type="dt" sz="half" idx="10"/>
          </p:nvPr>
        </p:nvSpPr>
        <p:spPr/>
        <p:txBody>
          <a:bodyPr/>
          <a:lstStyle/>
          <a:p>
            <a:fld id="{1E32E15C-1ABB-4FCE-A664-E12BA74059BF}" type="datetimeFigureOut">
              <a:rPr lang="en-IN" smtClean="0"/>
              <a:t>13-01-2023</a:t>
            </a:fld>
            <a:endParaRPr lang="en-IN"/>
          </a:p>
        </p:txBody>
      </p:sp>
      <p:sp>
        <p:nvSpPr>
          <p:cNvPr id="4" name="Footer Placeholder 3">
            <a:extLst>
              <a:ext uri="{FF2B5EF4-FFF2-40B4-BE49-F238E27FC236}">
                <a16:creationId xmlns:a16="http://schemas.microsoft.com/office/drawing/2014/main" id="{BDA594F0-8710-D0CD-F8D4-B43079EA7171}"/>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1200E101-0971-E71D-31C7-046735852DC9}"/>
              </a:ext>
            </a:extLst>
          </p:cNvPr>
          <p:cNvSpPr>
            <a:spLocks noGrp="1"/>
          </p:cNvSpPr>
          <p:nvPr>
            <p:ph type="sldNum" sz="quarter" idx="12"/>
          </p:nvPr>
        </p:nvSpPr>
        <p:spPr/>
        <p:txBody>
          <a:bodyPr/>
          <a:lstStyle/>
          <a:p>
            <a:fld id="{B4B60327-AE25-4737-85CF-0B04EF4FAC0C}" type="slidenum">
              <a:rPr lang="en-IN" smtClean="0"/>
              <a:t>‹#›</a:t>
            </a:fld>
            <a:endParaRPr lang="en-IN"/>
          </a:p>
        </p:txBody>
      </p:sp>
    </p:spTree>
    <p:extLst>
      <p:ext uri="{BB962C8B-B14F-4D97-AF65-F5344CB8AC3E}">
        <p14:creationId xmlns:p14="http://schemas.microsoft.com/office/powerpoint/2010/main" val="25739856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61076-4A78-48F1-9BC1-0190ABF61CAE}"/>
              </a:ext>
            </a:extLst>
          </p:cNvPr>
          <p:cNvSpPr>
            <a:spLocks noGrp="1"/>
          </p:cNvSpPr>
          <p:nvPr>
            <p:ph type="title"/>
          </p:nvPr>
        </p:nvSpPr>
        <p:spPr/>
        <p:txBody>
          <a:bodyPr/>
          <a:lstStyle/>
          <a:p>
            <a:r>
              <a:rPr lang="en-US"/>
              <a:t>Click to edit Master title style</a:t>
            </a:r>
            <a:endParaRPr lang="en-MY"/>
          </a:p>
        </p:txBody>
      </p:sp>
      <p:sp>
        <p:nvSpPr>
          <p:cNvPr id="3" name="Vertical Text Placeholder 2">
            <a:extLst>
              <a:ext uri="{FF2B5EF4-FFF2-40B4-BE49-F238E27FC236}">
                <a16:creationId xmlns:a16="http://schemas.microsoft.com/office/drawing/2014/main" id="{37E52D07-D06A-4AB6-96B0-6261CDA8FB2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a:extLst>
              <a:ext uri="{FF2B5EF4-FFF2-40B4-BE49-F238E27FC236}">
                <a16:creationId xmlns:a16="http://schemas.microsoft.com/office/drawing/2014/main" id="{F8E58092-B56D-4CB8-9E6B-37B0814CD2DE}"/>
              </a:ext>
            </a:extLst>
          </p:cNvPr>
          <p:cNvSpPr>
            <a:spLocks noGrp="1"/>
          </p:cNvSpPr>
          <p:nvPr>
            <p:ph type="dt" sz="half" idx="10"/>
          </p:nvPr>
        </p:nvSpPr>
        <p:spPr/>
        <p:txBody>
          <a:bodyPr/>
          <a:lstStyle/>
          <a:p>
            <a:fld id="{E152F814-A5A9-4915-BA2C-D498CBB3B7CE}" type="datetimeFigureOut">
              <a:rPr lang="en-MY" smtClean="0"/>
              <a:t>13/1/2023</a:t>
            </a:fld>
            <a:endParaRPr lang="en-MY"/>
          </a:p>
        </p:txBody>
      </p:sp>
      <p:sp>
        <p:nvSpPr>
          <p:cNvPr id="5" name="Footer Placeholder 4">
            <a:extLst>
              <a:ext uri="{FF2B5EF4-FFF2-40B4-BE49-F238E27FC236}">
                <a16:creationId xmlns:a16="http://schemas.microsoft.com/office/drawing/2014/main" id="{00CD39CC-64FD-4D93-8326-51DFF0387B4D}"/>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42BF00BE-ABD8-492E-A775-6E43B965A242}"/>
              </a:ext>
            </a:extLst>
          </p:cNvPr>
          <p:cNvSpPr>
            <a:spLocks noGrp="1"/>
          </p:cNvSpPr>
          <p:nvPr>
            <p:ph type="sldNum" sz="quarter" idx="12"/>
          </p:nvPr>
        </p:nvSpPr>
        <p:spPr/>
        <p:txBody>
          <a:bodyPr/>
          <a:lstStyle/>
          <a:p>
            <a:fld id="{3854563D-E486-48D4-A129-56097E180FBF}" type="slidenum">
              <a:rPr lang="en-MY" smtClean="0"/>
              <a:t>‹#›</a:t>
            </a:fld>
            <a:endParaRPr lang="en-MY"/>
          </a:p>
        </p:txBody>
      </p:sp>
    </p:spTree>
    <p:extLst>
      <p:ext uri="{BB962C8B-B14F-4D97-AF65-F5344CB8AC3E}">
        <p14:creationId xmlns:p14="http://schemas.microsoft.com/office/powerpoint/2010/main" val="192245118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3FD7F76-1C6C-40BE-9B72-9DD5F948F8F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MY"/>
          </a:p>
        </p:txBody>
      </p:sp>
      <p:sp>
        <p:nvSpPr>
          <p:cNvPr id="3" name="Vertical Text Placeholder 2">
            <a:extLst>
              <a:ext uri="{FF2B5EF4-FFF2-40B4-BE49-F238E27FC236}">
                <a16:creationId xmlns:a16="http://schemas.microsoft.com/office/drawing/2014/main" id="{C08B0263-9EA1-4330-BA16-A1D7D96372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a:extLst>
              <a:ext uri="{FF2B5EF4-FFF2-40B4-BE49-F238E27FC236}">
                <a16:creationId xmlns:a16="http://schemas.microsoft.com/office/drawing/2014/main" id="{D2694397-F03A-4190-9C13-0704272692DD}"/>
              </a:ext>
            </a:extLst>
          </p:cNvPr>
          <p:cNvSpPr>
            <a:spLocks noGrp="1"/>
          </p:cNvSpPr>
          <p:nvPr>
            <p:ph type="dt" sz="half" idx="10"/>
          </p:nvPr>
        </p:nvSpPr>
        <p:spPr/>
        <p:txBody>
          <a:bodyPr/>
          <a:lstStyle/>
          <a:p>
            <a:fld id="{E152F814-A5A9-4915-BA2C-D498CBB3B7CE}" type="datetimeFigureOut">
              <a:rPr lang="en-MY" smtClean="0"/>
              <a:t>13/1/2023</a:t>
            </a:fld>
            <a:endParaRPr lang="en-MY"/>
          </a:p>
        </p:txBody>
      </p:sp>
      <p:sp>
        <p:nvSpPr>
          <p:cNvPr id="5" name="Footer Placeholder 4">
            <a:extLst>
              <a:ext uri="{FF2B5EF4-FFF2-40B4-BE49-F238E27FC236}">
                <a16:creationId xmlns:a16="http://schemas.microsoft.com/office/drawing/2014/main" id="{C27F797D-1302-431A-AE0E-4ED7F9BD7D16}"/>
              </a:ext>
            </a:extLst>
          </p:cNvPr>
          <p:cNvSpPr>
            <a:spLocks noGrp="1"/>
          </p:cNvSpPr>
          <p:nvPr>
            <p:ph type="ftr" sz="quarter" idx="11"/>
          </p:nvPr>
        </p:nvSpPr>
        <p:spPr/>
        <p:txBody>
          <a:bodyPr/>
          <a:lstStyle/>
          <a:p>
            <a:endParaRPr lang="en-MY"/>
          </a:p>
        </p:txBody>
      </p:sp>
      <p:sp>
        <p:nvSpPr>
          <p:cNvPr id="6" name="Slide Number Placeholder 5">
            <a:extLst>
              <a:ext uri="{FF2B5EF4-FFF2-40B4-BE49-F238E27FC236}">
                <a16:creationId xmlns:a16="http://schemas.microsoft.com/office/drawing/2014/main" id="{6FE5328F-FDE5-4DF0-B625-C0B33773E19D}"/>
              </a:ext>
            </a:extLst>
          </p:cNvPr>
          <p:cNvSpPr>
            <a:spLocks noGrp="1"/>
          </p:cNvSpPr>
          <p:nvPr>
            <p:ph type="sldNum" sz="quarter" idx="12"/>
          </p:nvPr>
        </p:nvSpPr>
        <p:spPr/>
        <p:txBody>
          <a:bodyPr/>
          <a:lstStyle/>
          <a:p>
            <a:fld id="{3854563D-E486-48D4-A129-56097E180FBF}" type="slidenum">
              <a:rPr lang="en-MY" smtClean="0"/>
              <a:t>‹#›</a:t>
            </a:fld>
            <a:endParaRPr lang="en-MY"/>
          </a:p>
        </p:txBody>
      </p:sp>
    </p:spTree>
    <p:extLst>
      <p:ext uri="{BB962C8B-B14F-4D97-AF65-F5344CB8AC3E}">
        <p14:creationId xmlns:p14="http://schemas.microsoft.com/office/powerpoint/2010/main" val="1905191685"/>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EBD89-B91B-4309-98BC-2866447F5831}"/>
              </a:ext>
            </a:extLst>
          </p:cNvPr>
          <p:cNvSpPr>
            <a:spLocks noGrp="1"/>
          </p:cNvSpPr>
          <p:nvPr>
            <p:ph type="title"/>
          </p:nvPr>
        </p:nvSpPr>
        <p:spPr/>
        <p:txBody>
          <a:bodyPr/>
          <a:lstStyle/>
          <a:p>
            <a:r>
              <a:rPr lang="en-US"/>
              <a:t>Click to edit Master title style</a:t>
            </a:r>
            <a:endParaRPr lang="en-MY"/>
          </a:p>
        </p:txBody>
      </p:sp>
      <p:sp>
        <p:nvSpPr>
          <p:cNvPr id="3" name="Date Placeholder 2">
            <a:extLst>
              <a:ext uri="{FF2B5EF4-FFF2-40B4-BE49-F238E27FC236}">
                <a16:creationId xmlns:a16="http://schemas.microsoft.com/office/drawing/2014/main" id="{A5FC00C5-D1CB-4EB0-A9CC-DFB33176FE99}"/>
              </a:ext>
            </a:extLst>
          </p:cNvPr>
          <p:cNvSpPr>
            <a:spLocks noGrp="1"/>
          </p:cNvSpPr>
          <p:nvPr>
            <p:ph type="dt" sz="half" idx="10"/>
          </p:nvPr>
        </p:nvSpPr>
        <p:spPr/>
        <p:txBody>
          <a:bodyPr/>
          <a:lstStyle/>
          <a:p>
            <a:fld id="{E152F814-A5A9-4915-BA2C-D498CBB3B7CE}" type="datetimeFigureOut">
              <a:rPr lang="en-MY" smtClean="0"/>
              <a:t>13/1/2023</a:t>
            </a:fld>
            <a:endParaRPr lang="en-MY"/>
          </a:p>
        </p:txBody>
      </p:sp>
      <p:sp>
        <p:nvSpPr>
          <p:cNvPr id="4" name="Footer Placeholder 3">
            <a:extLst>
              <a:ext uri="{FF2B5EF4-FFF2-40B4-BE49-F238E27FC236}">
                <a16:creationId xmlns:a16="http://schemas.microsoft.com/office/drawing/2014/main" id="{BF457628-7C41-4DC7-AF1B-9F786E62B4F4}"/>
              </a:ext>
            </a:extLst>
          </p:cNvPr>
          <p:cNvSpPr>
            <a:spLocks noGrp="1"/>
          </p:cNvSpPr>
          <p:nvPr>
            <p:ph type="ftr" sz="quarter" idx="11"/>
          </p:nvPr>
        </p:nvSpPr>
        <p:spPr/>
        <p:txBody>
          <a:bodyPr/>
          <a:lstStyle/>
          <a:p>
            <a:endParaRPr lang="en-MY"/>
          </a:p>
        </p:txBody>
      </p:sp>
      <p:sp>
        <p:nvSpPr>
          <p:cNvPr id="5" name="Slide Number Placeholder 4">
            <a:extLst>
              <a:ext uri="{FF2B5EF4-FFF2-40B4-BE49-F238E27FC236}">
                <a16:creationId xmlns:a16="http://schemas.microsoft.com/office/drawing/2014/main" id="{6A49890C-787F-40D5-9FDE-C0076A75353A}"/>
              </a:ext>
            </a:extLst>
          </p:cNvPr>
          <p:cNvSpPr>
            <a:spLocks noGrp="1"/>
          </p:cNvSpPr>
          <p:nvPr>
            <p:ph type="sldNum" sz="quarter" idx="12"/>
          </p:nvPr>
        </p:nvSpPr>
        <p:spPr/>
        <p:txBody>
          <a:bodyPr/>
          <a:lstStyle/>
          <a:p>
            <a:fld id="{3854563D-E486-48D4-A129-56097E180FBF}" type="slidenum">
              <a:rPr lang="en-MY" smtClean="0"/>
              <a:t>‹#›</a:t>
            </a:fld>
            <a:endParaRPr lang="en-MY"/>
          </a:p>
        </p:txBody>
      </p:sp>
    </p:spTree>
    <p:extLst>
      <p:ext uri="{BB962C8B-B14F-4D97-AF65-F5344CB8AC3E}">
        <p14:creationId xmlns:p14="http://schemas.microsoft.com/office/powerpoint/2010/main" val="256824895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blipFill>
          <a:blip r:embed="rId2">
            <a:alphaModFix/>
          </a:blip>
          <a:stretch>
            <a:fillRect/>
          </a:stretch>
        </a:blipFill>
        <a:effectLst/>
      </p:bgPr>
    </p:bg>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2432633" y="1229933"/>
            <a:ext cx="7326800" cy="3140800"/>
          </a:xfrm>
          <a:prstGeom prst="rect">
            <a:avLst/>
          </a:prstGeom>
        </p:spPr>
        <p:txBody>
          <a:bodyPr spcFirstLastPara="1" wrap="square" lIns="91425" tIns="91425" rIns="91425" bIns="91425" anchor="ctr" anchorCtr="0">
            <a:normAutofit/>
          </a:bodyPr>
          <a:lstStyle>
            <a:lvl1pPr lvl="0" algn="ctr">
              <a:lnSpc>
                <a:spcPct val="60000"/>
              </a:lnSpc>
              <a:spcBef>
                <a:spcPts val="0"/>
              </a:spcBef>
              <a:spcAft>
                <a:spcPts val="0"/>
              </a:spcAft>
              <a:buClr>
                <a:schemeClr val="lt1"/>
              </a:buClr>
              <a:buSzPts val="5200"/>
              <a:buFont typeface="Permanent Marker"/>
              <a:buNone/>
              <a:defRPr sz="8400">
                <a:solidFill>
                  <a:schemeClr val="dk2"/>
                </a:solidFill>
              </a:defRPr>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415600" y="4230700"/>
            <a:ext cx="11360800" cy="105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Clr>
                <a:schemeClr val="lt1"/>
              </a:buClr>
              <a:buSzPts val="2800"/>
              <a:buFont typeface="Sarala"/>
              <a:buNone/>
              <a:defRPr sz="2133">
                <a:solidFill>
                  <a:schemeClr val="dk2"/>
                </a:solidFill>
              </a:defRPr>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2"/>
          <p:cNvSpPr/>
          <p:nvPr/>
        </p:nvSpPr>
        <p:spPr>
          <a:xfrm>
            <a:off x="-98166" y="4065544"/>
            <a:ext cx="2658983" cy="2792369"/>
          </a:xfrm>
          <a:custGeom>
            <a:avLst/>
            <a:gdLst/>
            <a:ahLst/>
            <a:cxnLst/>
            <a:rect l="l" t="t" r="r" b="b"/>
            <a:pathLst>
              <a:path w="76827" h="80681" extrusionOk="0">
                <a:moveTo>
                  <a:pt x="7096" y="0"/>
                </a:moveTo>
                <a:cubicBezTo>
                  <a:pt x="4774" y="0"/>
                  <a:pt x="2454" y="476"/>
                  <a:pt x="339" y="1448"/>
                </a:cubicBezTo>
                <a:lnTo>
                  <a:pt x="1" y="80681"/>
                </a:lnTo>
                <a:lnTo>
                  <a:pt x="73405" y="80681"/>
                </a:lnTo>
                <a:cubicBezTo>
                  <a:pt x="76826" y="73559"/>
                  <a:pt x="76130" y="64627"/>
                  <a:pt x="71654" y="58142"/>
                </a:cubicBezTo>
                <a:cubicBezTo>
                  <a:pt x="67521" y="52180"/>
                  <a:pt x="60344" y="48488"/>
                  <a:pt x="53107" y="48488"/>
                </a:cubicBezTo>
                <a:cubicBezTo>
                  <a:pt x="52473" y="48488"/>
                  <a:pt x="51838" y="48516"/>
                  <a:pt x="51204" y="48574"/>
                </a:cubicBezTo>
                <a:cubicBezTo>
                  <a:pt x="45157" y="49111"/>
                  <a:pt x="39587" y="52075"/>
                  <a:pt x="33659" y="53487"/>
                </a:cubicBezTo>
                <a:cubicBezTo>
                  <a:pt x="31911" y="53911"/>
                  <a:pt x="30047" y="54152"/>
                  <a:pt x="28198" y="54152"/>
                </a:cubicBezTo>
                <a:cubicBezTo>
                  <a:pt x="23796" y="54152"/>
                  <a:pt x="19480" y="52786"/>
                  <a:pt x="17029" y="49270"/>
                </a:cubicBezTo>
                <a:cubicBezTo>
                  <a:pt x="13826" y="44635"/>
                  <a:pt x="15119" y="38289"/>
                  <a:pt x="17427" y="33177"/>
                </a:cubicBezTo>
                <a:cubicBezTo>
                  <a:pt x="19734" y="28084"/>
                  <a:pt x="22977" y="23151"/>
                  <a:pt x="23414" y="17561"/>
                </a:cubicBezTo>
                <a:cubicBezTo>
                  <a:pt x="23872" y="11912"/>
                  <a:pt x="21166" y="6123"/>
                  <a:pt x="16511" y="2880"/>
                </a:cubicBezTo>
                <a:cubicBezTo>
                  <a:pt x="13768" y="981"/>
                  <a:pt x="10430" y="0"/>
                  <a:pt x="7096" y="0"/>
                </a:cubicBez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3" name="Google Shape;13;p2"/>
          <p:cNvSpPr/>
          <p:nvPr/>
        </p:nvSpPr>
        <p:spPr>
          <a:xfrm flipH="1">
            <a:off x="10506213" y="0"/>
            <a:ext cx="1685787" cy="4699368"/>
          </a:xfrm>
          <a:custGeom>
            <a:avLst/>
            <a:gdLst/>
            <a:ahLst/>
            <a:cxnLst/>
            <a:rect l="l" t="t" r="r" b="b"/>
            <a:pathLst>
              <a:path w="32605" h="90891" extrusionOk="0">
                <a:moveTo>
                  <a:pt x="0" y="1"/>
                </a:moveTo>
                <a:lnTo>
                  <a:pt x="0" y="90890"/>
                </a:lnTo>
                <a:cubicBezTo>
                  <a:pt x="7361" y="89757"/>
                  <a:pt x="16312" y="85062"/>
                  <a:pt x="19893" y="78557"/>
                </a:cubicBezTo>
                <a:cubicBezTo>
                  <a:pt x="23454" y="72032"/>
                  <a:pt x="23792" y="63836"/>
                  <a:pt x="20788" y="57033"/>
                </a:cubicBezTo>
                <a:cubicBezTo>
                  <a:pt x="18640" y="52239"/>
                  <a:pt x="15039" y="48260"/>
                  <a:pt x="12453" y="43705"/>
                </a:cubicBezTo>
                <a:cubicBezTo>
                  <a:pt x="9887" y="39130"/>
                  <a:pt x="8415" y="33341"/>
                  <a:pt x="10941" y="28746"/>
                </a:cubicBezTo>
                <a:cubicBezTo>
                  <a:pt x="12871" y="25205"/>
                  <a:pt x="16690" y="23176"/>
                  <a:pt x="20311" y="21445"/>
                </a:cubicBezTo>
                <a:cubicBezTo>
                  <a:pt x="23971" y="19734"/>
                  <a:pt x="27830" y="18023"/>
                  <a:pt x="30217" y="14761"/>
                </a:cubicBezTo>
                <a:cubicBezTo>
                  <a:pt x="32604" y="11538"/>
                  <a:pt x="29780" y="2189"/>
                  <a:pt x="26398" y="20"/>
                </a:cubicBezTo>
                <a:lnTo>
                  <a:pt x="0" y="1"/>
                </a:ln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4" name="Google Shape;14;p2"/>
          <p:cNvSpPr/>
          <p:nvPr/>
        </p:nvSpPr>
        <p:spPr>
          <a:xfrm>
            <a:off x="9532870" y="4354200"/>
            <a:ext cx="2659057" cy="2503731"/>
          </a:xfrm>
          <a:custGeom>
            <a:avLst/>
            <a:gdLst/>
            <a:ahLst/>
            <a:cxnLst/>
            <a:rect l="l" t="t" r="r" b="b"/>
            <a:pathLst>
              <a:path w="59301" h="55837" extrusionOk="0">
                <a:moveTo>
                  <a:pt x="53972" y="1"/>
                </a:moveTo>
                <a:cubicBezTo>
                  <a:pt x="47710" y="1"/>
                  <a:pt x="44048" y="6413"/>
                  <a:pt x="43048" y="10621"/>
                </a:cubicBezTo>
                <a:cubicBezTo>
                  <a:pt x="41735" y="15892"/>
                  <a:pt x="42451" y="21621"/>
                  <a:pt x="40422" y="26654"/>
                </a:cubicBezTo>
                <a:cubicBezTo>
                  <a:pt x="36821" y="35666"/>
                  <a:pt x="25940" y="39386"/>
                  <a:pt x="16232" y="39425"/>
                </a:cubicBezTo>
                <a:cubicBezTo>
                  <a:pt x="15382" y="39425"/>
                  <a:pt x="14519" y="39408"/>
                  <a:pt x="13657" y="39408"/>
                </a:cubicBezTo>
                <a:cubicBezTo>
                  <a:pt x="11069" y="39408"/>
                  <a:pt x="8484" y="39565"/>
                  <a:pt x="6246" y="40818"/>
                </a:cubicBezTo>
                <a:cubicBezTo>
                  <a:pt x="1293" y="43563"/>
                  <a:pt x="338" y="50167"/>
                  <a:pt x="0" y="55837"/>
                </a:cubicBezTo>
                <a:lnTo>
                  <a:pt x="59300" y="55837"/>
                </a:lnTo>
                <a:lnTo>
                  <a:pt x="59221" y="1371"/>
                </a:lnTo>
                <a:cubicBezTo>
                  <a:pt x="57305" y="411"/>
                  <a:pt x="55555" y="1"/>
                  <a:pt x="53972"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5" name="Google Shape;15;p2"/>
          <p:cNvSpPr/>
          <p:nvPr/>
        </p:nvSpPr>
        <p:spPr>
          <a:xfrm flipH="1">
            <a:off x="-66262" y="-103200"/>
            <a:ext cx="2239596" cy="4457407"/>
          </a:xfrm>
          <a:custGeom>
            <a:avLst/>
            <a:gdLst/>
            <a:ahLst/>
            <a:cxnLst/>
            <a:rect l="l" t="t" r="r" b="b"/>
            <a:pathLst>
              <a:path w="45953" h="91459" extrusionOk="0">
                <a:moveTo>
                  <a:pt x="45455" y="0"/>
                </a:moveTo>
                <a:lnTo>
                  <a:pt x="4158" y="2010"/>
                </a:lnTo>
                <a:cubicBezTo>
                  <a:pt x="2408" y="6505"/>
                  <a:pt x="1" y="11140"/>
                  <a:pt x="498" y="15934"/>
                </a:cubicBezTo>
                <a:cubicBezTo>
                  <a:pt x="3581" y="45614"/>
                  <a:pt x="39209" y="21942"/>
                  <a:pt x="34196" y="50170"/>
                </a:cubicBezTo>
                <a:cubicBezTo>
                  <a:pt x="32525" y="59500"/>
                  <a:pt x="25046" y="67596"/>
                  <a:pt x="25841" y="77025"/>
                </a:cubicBezTo>
                <a:cubicBezTo>
                  <a:pt x="26506" y="84932"/>
                  <a:pt x="35320" y="91459"/>
                  <a:pt x="43397" y="91459"/>
                </a:cubicBezTo>
                <a:cubicBezTo>
                  <a:pt x="44261" y="91459"/>
                  <a:pt x="45116" y="91384"/>
                  <a:pt x="45953" y="91228"/>
                </a:cubicBezTo>
                <a:lnTo>
                  <a:pt x="45455" y="13090"/>
                </a:lnTo>
                <a:lnTo>
                  <a:pt x="45455" y="0"/>
                </a:lnTo>
                <a:close/>
              </a:path>
            </a:pathLst>
          </a:cu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6" name="Google Shape;16;p2"/>
          <p:cNvSpPr/>
          <p:nvPr/>
        </p:nvSpPr>
        <p:spPr>
          <a:xfrm rot="5400000">
            <a:off x="6699941" y="3770899"/>
            <a:ext cx="869860" cy="5357461"/>
          </a:xfrm>
          <a:custGeom>
            <a:avLst/>
            <a:gdLst/>
            <a:ahLst/>
            <a:cxnLst/>
            <a:rect l="l" t="t" r="r" b="b"/>
            <a:pathLst>
              <a:path w="18600" h="104829" extrusionOk="0">
                <a:moveTo>
                  <a:pt x="16360" y="1"/>
                </a:moveTo>
                <a:cubicBezTo>
                  <a:pt x="9962" y="1"/>
                  <a:pt x="4427" y="11283"/>
                  <a:pt x="3561" y="15670"/>
                </a:cubicBezTo>
                <a:cubicBezTo>
                  <a:pt x="1512" y="25875"/>
                  <a:pt x="9370" y="33772"/>
                  <a:pt x="10762" y="43341"/>
                </a:cubicBezTo>
                <a:cubicBezTo>
                  <a:pt x="11936" y="51337"/>
                  <a:pt x="10921" y="59692"/>
                  <a:pt x="7719" y="67132"/>
                </a:cubicBezTo>
                <a:cubicBezTo>
                  <a:pt x="5172" y="73120"/>
                  <a:pt x="1214" y="78750"/>
                  <a:pt x="657" y="85254"/>
                </a:cubicBezTo>
                <a:cubicBezTo>
                  <a:pt x="0" y="93609"/>
                  <a:pt x="9111" y="104590"/>
                  <a:pt x="18560" y="104829"/>
                </a:cubicBezTo>
                <a:lnTo>
                  <a:pt x="18560" y="104829"/>
                </a:lnTo>
                <a:cubicBezTo>
                  <a:pt x="18600" y="104809"/>
                  <a:pt x="18341" y="372"/>
                  <a:pt x="18341" y="372"/>
                </a:cubicBezTo>
                <a:cubicBezTo>
                  <a:pt x="17675" y="118"/>
                  <a:pt x="17013" y="1"/>
                  <a:pt x="16360" y="1"/>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7" name="Google Shape;17;p2"/>
          <p:cNvSpPr/>
          <p:nvPr/>
        </p:nvSpPr>
        <p:spPr>
          <a:xfrm rot="5400000">
            <a:off x="2800774" y="-1298861"/>
            <a:ext cx="1492199" cy="3936600"/>
          </a:xfrm>
          <a:custGeom>
            <a:avLst/>
            <a:gdLst/>
            <a:ahLst/>
            <a:cxnLst/>
            <a:rect l="l" t="t" r="r" b="b"/>
            <a:pathLst>
              <a:path w="34097" h="89952" extrusionOk="0">
                <a:moveTo>
                  <a:pt x="6827" y="1"/>
                </a:moveTo>
                <a:cubicBezTo>
                  <a:pt x="4501" y="1"/>
                  <a:pt x="2262" y="226"/>
                  <a:pt x="338" y="633"/>
                </a:cubicBezTo>
                <a:lnTo>
                  <a:pt x="0" y="89951"/>
                </a:lnTo>
                <a:lnTo>
                  <a:pt x="8097" y="89812"/>
                </a:lnTo>
                <a:cubicBezTo>
                  <a:pt x="17327" y="89235"/>
                  <a:pt x="25980" y="83347"/>
                  <a:pt x="30058" y="75032"/>
                </a:cubicBezTo>
                <a:cubicBezTo>
                  <a:pt x="34096" y="66757"/>
                  <a:pt x="32763" y="55935"/>
                  <a:pt x="26338" y="49291"/>
                </a:cubicBezTo>
                <a:cubicBezTo>
                  <a:pt x="23653" y="46546"/>
                  <a:pt x="20271" y="44556"/>
                  <a:pt x="17645" y="41771"/>
                </a:cubicBezTo>
                <a:cubicBezTo>
                  <a:pt x="14999" y="38947"/>
                  <a:pt x="13129" y="34869"/>
                  <a:pt x="14502" y="31288"/>
                </a:cubicBezTo>
                <a:cubicBezTo>
                  <a:pt x="16093" y="27150"/>
                  <a:pt x="21086" y="25519"/>
                  <a:pt x="24011" y="22177"/>
                </a:cubicBezTo>
                <a:cubicBezTo>
                  <a:pt x="28327" y="17144"/>
                  <a:pt x="26796" y="8769"/>
                  <a:pt x="21842" y="4373"/>
                </a:cubicBezTo>
                <a:cubicBezTo>
                  <a:pt x="18358" y="1267"/>
                  <a:pt x="12345" y="1"/>
                  <a:pt x="6827" y="1"/>
                </a:cubicBezTo>
                <a:close/>
              </a:path>
            </a:pathLst>
          </a:custGeom>
          <a:solidFill>
            <a:schemeClr val="accent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18" name="Google Shape;18;p2"/>
          <p:cNvGrpSpPr/>
          <p:nvPr/>
        </p:nvGrpSpPr>
        <p:grpSpPr>
          <a:xfrm>
            <a:off x="2485523" y="4532461"/>
            <a:ext cx="1497912" cy="1858497"/>
            <a:chOff x="2197575" y="2352900"/>
            <a:chExt cx="828125" cy="1027475"/>
          </a:xfrm>
        </p:grpSpPr>
        <p:sp>
          <p:nvSpPr>
            <p:cNvPr id="19" name="Google Shape;19;p2"/>
            <p:cNvSpPr/>
            <p:nvPr/>
          </p:nvSpPr>
          <p:spPr>
            <a:xfrm>
              <a:off x="2227600" y="2376300"/>
              <a:ext cx="534575" cy="269175"/>
            </a:xfrm>
            <a:custGeom>
              <a:avLst/>
              <a:gdLst/>
              <a:ahLst/>
              <a:cxnLst/>
              <a:rect l="l" t="t" r="r" b="b"/>
              <a:pathLst>
                <a:path w="21383" h="10767" extrusionOk="0">
                  <a:moveTo>
                    <a:pt x="18914" y="1"/>
                  </a:moveTo>
                  <a:cubicBezTo>
                    <a:pt x="18714" y="1"/>
                    <a:pt x="18580" y="1"/>
                    <a:pt x="18514" y="34"/>
                  </a:cubicBezTo>
                  <a:cubicBezTo>
                    <a:pt x="18180" y="201"/>
                    <a:pt x="367" y="10242"/>
                    <a:pt x="0" y="10475"/>
                  </a:cubicBezTo>
                  <a:cubicBezTo>
                    <a:pt x="467" y="10542"/>
                    <a:pt x="968" y="10709"/>
                    <a:pt x="1301" y="10742"/>
                  </a:cubicBezTo>
                  <a:cubicBezTo>
                    <a:pt x="1351" y="10759"/>
                    <a:pt x="1401" y="10767"/>
                    <a:pt x="1447" y="10767"/>
                  </a:cubicBezTo>
                  <a:cubicBezTo>
                    <a:pt x="1493" y="10767"/>
                    <a:pt x="1535" y="10759"/>
                    <a:pt x="1568" y="10742"/>
                  </a:cubicBezTo>
                  <a:cubicBezTo>
                    <a:pt x="1668" y="10709"/>
                    <a:pt x="2569" y="10208"/>
                    <a:pt x="3970" y="9474"/>
                  </a:cubicBezTo>
                  <a:cubicBezTo>
                    <a:pt x="8506" y="6973"/>
                    <a:pt x="18180" y="1569"/>
                    <a:pt x="21382" y="401"/>
                  </a:cubicBezTo>
                  <a:cubicBezTo>
                    <a:pt x="21382" y="401"/>
                    <a:pt x="19714" y="68"/>
                    <a:pt x="18914" y="1"/>
                  </a:cubicBezTo>
                  <a:close/>
                </a:path>
              </a:pathLst>
            </a:custGeom>
            <a:solidFill>
              <a:srgbClr val="F6F4E8"/>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0" name="Google Shape;20;p2"/>
            <p:cNvSpPr/>
            <p:nvPr/>
          </p:nvSpPr>
          <p:spPr>
            <a:xfrm>
              <a:off x="2204250" y="2352900"/>
              <a:ext cx="496200" cy="286125"/>
            </a:xfrm>
            <a:custGeom>
              <a:avLst/>
              <a:gdLst/>
              <a:ahLst/>
              <a:cxnLst/>
              <a:rect l="l" t="t" r="r" b="b"/>
              <a:pathLst>
                <a:path w="19848" h="11445" extrusionOk="0">
                  <a:moveTo>
                    <a:pt x="19094" y="0"/>
                  </a:moveTo>
                  <a:cubicBezTo>
                    <a:pt x="18262" y="0"/>
                    <a:pt x="1916" y="10122"/>
                    <a:pt x="0" y="11311"/>
                  </a:cubicBezTo>
                  <a:cubicBezTo>
                    <a:pt x="42" y="11305"/>
                    <a:pt x="86" y="11302"/>
                    <a:pt x="133" y="11302"/>
                  </a:cubicBezTo>
                  <a:cubicBezTo>
                    <a:pt x="353" y="11302"/>
                    <a:pt x="632" y="11362"/>
                    <a:pt x="934" y="11444"/>
                  </a:cubicBezTo>
                  <a:cubicBezTo>
                    <a:pt x="1268" y="11244"/>
                    <a:pt x="19114" y="1137"/>
                    <a:pt x="19448" y="1004"/>
                  </a:cubicBezTo>
                  <a:cubicBezTo>
                    <a:pt x="19514" y="970"/>
                    <a:pt x="19648" y="970"/>
                    <a:pt x="19848" y="970"/>
                  </a:cubicBezTo>
                  <a:cubicBezTo>
                    <a:pt x="19848" y="970"/>
                    <a:pt x="19314" y="103"/>
                    <a:pt x="19114" y="3"/>
                  </a:cubicBezTo>
                  <a:cubicBezTo>
                    <a:pt x="19109" y="1"/>
                    <a:pt x="19102" y="0"/>
                    <a:pt x="19094" y="0"/>
                  </a:cubicBezTo>
                  <a:close/>
                </a:path>
              </a:pathLst>
            </a:custGeom>
            <a:solidFill>
              <a:schemeClr val="accent5"/>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1" name="Google Shape;21;p2"/>
            <p:cNvSpPr/>
            <p:nvPr/>
          </p:nvSpPr>
          <p:spPr>
            <a:xfrm>
              <a:off x="2197575" y="2634825"/>
              <a:ext cx="290225" cy="744725"/>
            </a:xfrm>
            <a:custGeom>
              <a:avLst/>
              <a:gdLst/>
              <a:ahLst/>
              <a:cxnLst/>
              <a:rect l="l" t="t" r="r" b="b"/>
              <a:pathLst>
                <a:path w="11609" h="29789" extrusionOk="0">
                  <a:moveTo>
                    <a:pt x="267" y="1"/>
                  </a:moveTo>
                  <a:cubicBezTo>
                    <a:pt x="167" y="67"/>
                    <a:pt x="101" y="134"/>
                    <a:pt x="101" y="134"/>
                  </a:cubicBezTo>
                  <a:cubicBezTo>
                    <a:pt x="0" y="634"/>
                    <a:pt x="8206" y="28654"/>
                    <a:pt x="8573" y="29021"/>
                  </a:cubicBezTo>
                  <a:cubicBezTo>
                    <a:pt x="8940" y="29388"/>
                    <a:pt x="11042" y="29755"/>
                    <a:pt x="11609" y="29789"/>
                  </a:cubicBezTo>
                  <a:lnTo>
                    <a:pt x="2502" y="401"/>
                  </a:lnTo>
                  <a:cubicBezTo>
                    <a:pt x="2169" y="368"/>
                    <a:pt x="1668" y="234"/>
                    <a:pt x="1201" y="134"/>
                  </a:cubicBezTo>
                  <a:cubicBezTo>
                    <a:pt x="834" y="34"/>
                    <a:pt x="501" y="1"/>
                    <a:pt x="267" y="1"/>
                  </a:cubicBezTo>
                  <a:close/>
                </a:path>
              </a:pathLst>
            </a:custGeom>
            <a:solidFill>
              <a:schemeClr val="accent5"/>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 name="Google Shape;22;p2"/>
            <p:cNvSpPr/>
            <p:nvPr/>
          </p:nvSpPr>
          <p:spPr>
            <a:xfrm>
              <a:off x="2260125" y="2613150"/>
              <a:ext cx="288550" cy="767225"/>
            </a:xfrm>
            <a:custGeom>
              <a:avLst/>
              <a:gdLst/>
              <a:ahLst/>
              <a:cxnLst/>
              <a:rect l="l" t="t" r="r" b="b"/>
              <a:pathLst>
                <a:path w="11542" h="30689" extrusionOk="0">
                  <a:moveTo>
                    <a:pt x="2669" y="0"/>
                  </a:moveTo>
                  <a:cubicBezTo>
                    <a:pt x="1268" y="734"/>
                    <a:pt x="367" y="1235"/>
                    <a:pt x="267" y="1268"/>
                  </a:cubicBezTo>
                  <a:cubicBezTo>
                    <a:pt x="250" y="1301"/>
                    <a:pt x="209" y="1318"/>
                    <a:pt x="159" y="1318"/>
                  </a:cubicBezTo>
                  <a:cubicBezTo>
                    <a:pt x="109" y="1318"/>
                    <a:pt x="50" y="1301"/>
                    <a:pt x="0" y="1268"/>
                  </a:cubicBezTo>
                  <a:lnTo>
                    <a:pt x="0" y="1268"/>
                  </a:lnTo>
                  <a:lnTo>
                    <a:pt x="9107" y="30689"/>
                  </a:lnTo>
                  <a:cubicBezTo>
                    <a:pt x="9240" y="30689"/>
                    <a:pt x="10174" y="30222"/>
                    <a:pt x="11542" y="29521"/>
                  </a:cubicBezTo>
                  <a:lnTo>
                    <a:pt x="2669" y="0"/>
                  </a:lnTo>
                  <a:close/>
                </a:path>
              </a:pathLst>
            </a:custGeom>
            <a:solidFill>
              <a:schemeClr val="accent5"/>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 name="Google Shape;23;p2"/>
            <p:cNvSpPr/>
            <p:nvPr/>
          </p:nvSpPr>
          <p:spPr>
            <a:xfrm>
              <a:off x="2326825" y="2381400"/>
              <a:ext cx="698875" cy="970625"/>
            </a:xfrm>
            <a:custGeom>
              <a:avLst/>
              <a:gdLst/>
              <a:ahLst/>
              <a:cxnLst/>
              <a:rect l="l" t="t" r="r" b="b"/>
              <a:pathLst>
                <a:path w="27955" h="38825" extrusionOk="0">
                  <a:moveTo>
                    <a:pt x="18296" y="1"/>
                  </a:moveTo>
                  <a:cubicBezTo>
                    <a:pt x="18112" y="1"/>
                    <a:pt x="17797" y="72"/>
                    <a:pt x="17413" y="264"/>
                  </a:cubicBezTo>
                  <a:cubicBezTo>
                    <a:pt x="14211" y="1398"/>
                    <a:pt x="4537" y="6802"/>
                    <a:pt x="1" y="9304"/>
                  </a:cubicBezTo>
                  <a:lnTo>
                    <a:pt x="8874" y="38825"/>
                  </a:lnTo>
                  <a:cubicBezTo>
                    <a:pt x="14378" y="35956"/>
                    <a:pt x="27387" y="28651"/>
                    <a:pt x="27621" y="27884"/>
                  </a:cubicBezTo>
                  <a:cubicBezTo>
                    <a:pt x="27954" y="26983"/>
                    <a:pt x="19448" y="731"/>
                    <a:pt x="18447" y="30"/>
                  </a:cubicBezTo>
                  <a:cubicBezTo>
                    <a:pt x="18419" y="12"/>
                    <a:pt x="18367" y="1"/>
                    <a:pt x="18296" y="1"/>
                  </a:cubicBezTo>
                  <a:close/>
                </a:path>
              </a:pathLst>
            </a:custGeom>
            <a:solidFill>
              <a:schemeClr val="accent4"/>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 name="Google Shape;24;p2"/>
            <p:cNvSpPr/>
            <p:nvPr/>
          </p:nvSpPr>
          <p:spPr>
            <a:xfrm>
              <a:off x="2596200" y="2942100"/>
              <a:ext cx="44225" cy="40950"/>
            </a:xfrm>
            <a:custGeom>
              <a:avLst/>
              <a:gdLst/>
              <a:ahLst/>
              <a:cxnLst/>
              <a:rect l="l" t="t" r="r" b="b"/>
              <a:pathLst>
                <a:path w="1769" h="1638" extrusionOk="0">
                  <a:moveTo>
                    <a:pt x="845" y="1"/>
                  </a:moveTo>
                  <a:cubicBezTo>
                    <a:pt x="469" y="1"/>
                    <a:pt x="130" y="308"/>
                    <a:pt x="100" y="719"/>
                  </a:cubicBezTo>
                  <a:cubicBezTo>
                    <a:pt x="0" y="1186"/>
                    <a:pt x="334" y="1586"/>
                    <a:pt x="801" y="1620"/>
                  </a:cubicBezTo>
                  <a:cubicBezTo>
                    <a:pt x="857" y="1632"/>
                    <a:pt x="912" y="1637"/>
                    <a:pt x="966" y="1637"/>
                  </a:cubicBezTo>
                  <a:cubicBezTo>
                    <a:pt x="1359" y="1637"/>
                    <a:pt x="1676" y="1330"/>
                    <a:pt x="1735" y="919"/>
                  </a:cubicBezTo>
                  <a:cubicBezTo>
                    <a:pt x="1768" y="452"/>
                    <a:pt x="1435" y="52"/>
                    <a:pt x="1001" y="18"/>
                  </a:cubicBezTo>
                  <a:cubicBezTo>
                    <a:pt x="949" y="6"/>
                    <a:pt x="896" y="1"/>
                    <a:pt x="84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 name="Google Shape;25;p2"/>
            <p:cNvSpPr/>
            <p:nvPr/>
          </p:nvSpPr>
          <p:spPr>
            <a:xfrm>
              <a:off x="2778000" y="2860600"/>
              <a:ext cx="43375" cy="41325"/>
            </a:xfrm>
            <a:custGeom>
              <a:avLst/>
              <a:gdLst/>
              <a:ahLst/>
              <a:cxnLst/>
              <a:rect l="l" t="t" r="r" b="b"/>
              <a:pathLst>
                <a:path w="1735" h="1653" extrusionOk="0">
                  <a:moveTo>
                    <a:pt x="882" y="1"/>
                  </a:moveTo>
                  <a:cubicBezTo>
                    <a:pt x="467" y="1"/>
                    <a:pt x="128" y="314"/>
                    <a:pt x="67" y="710"/>
                  </a:cubicBezTo>
                  <a:cubicBezTo>
                    <a:pt x="0" y="1177"/>
                    <a:pt x="334" y="1611"/>
                    <a:pt x="801" y="1644"/>
                  </a:cubicBezTo>
                  <a:cubicBezTo>
                    <a:pt x="838" y="1650"/>
                    <a:pt x="875" y="1652"/>
                    <a:pt x="912" y="1652"/>
                  </a:cubicBezTo>
                  <a:cubicBezTo>
                    <a:pt x="1306" y="1652"/>
                    <a:pt x="1671" y="1340"/>
                    <a:pt x="1701" y="943"/>
                  </a:cubicBezTo>
                  <a:cubicBezTo>
                    <a:pt x="1735" y="476"/>
                    <a:pt x="1401" y="43"/>
                    <a:pt x="1001" y="9"/>
                  </a:cubicBezTo>
                  <a:cubicBezTo>
                    <a:pt x="961" y="4"/>
                    <a:pt x="921" y="1"/>
                    <a:pt x="88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6" name="Google Shape;26;p2"/>
            <p:cNvSpPr/>
            <p:nvPr/>
          </p:nvSpPr>
          <p:spPr>
            <a:xfrm>
              <a:off x="2695425" y="2959550"/>
              <a:ext cx="66750" cy="32700"/>
            </a:xfrm>
            <a:custGeom>
              <a:avLst/>
              <a:gdLst/>
              <a:ahLst/>
              <a:cxnLst/>
              <a:rect l="l" t="t" r="r" b="b"/>
              <a:pathLst>
                <a:path w="2670" h="1308" extrusionOk="0">
                  <a:moveTo>
                    <a:pt x="1" y="1222"/>
                  </a:moveTo>
                  <a:cubicBezTo>
                    <a:pt x="1" y="1223"/>
                    <a:pt x="1" y="1223"/>
                    <a:pt x="1" y="1223"/>
                  </a:cubicBezTo>
                  <a:cubicBezTo>
                    <a:pt x="2" y="1223"/>
                    <a:pt x="2" y="1223"/>
                    <a:pt x="3" y="1222"/>
                  </a:cubicBezTo>
                  <a:lnTo>
                    <a:pt x="3" y="1222"/>
                  </a:lnTo>
                  <a:cubicBezTo>
                    <a:pt x="2" y="1222"/>
                    <a:pt x="1" y="1222"/>
                    <a:pt x="1" y="1222"/>
                  </a:cubicBezTo>
                  <a:close/>
                  <a:moveTo>
                    <a:pt x="2157" y="1"/>
                  </a:moveTo>
                  <a:cubicBezTo>
                    <a:pt x="1912" y="1"/>
                    <a:pt x="1588" y="50"/>
                    <a:pt x="1202" y="221"/>
                  </a:cubicBezTo>
                  <a:cubicBezTo>
                    <a:pt x="344" y="634"/>
                    <a:pt x="31" y="1198"/>
                    <a:pt x="3" y="1222"/>
                  </a:cubicBezTo>
                  <a:lnTo>
                    <a:pt x="3" y="1222"/>
                  </a:lnTo>
                  <a:cubicBezTo>
                    <a:pt x="202" y="1275"/>
                    <a:pt x="423" y="1307"/>
                    <a:pt x="648" y="1307"/>
                  </a:cubicBezTo>
                  <a:cubicBezTo>
                    <a:pt x="987" y="1307"/>
                    <a:pt x="1335" y="1235"/>
                    <a:pt x="1635" y="1055"/>
                  </a:cubicBezTo>
                  <a:cubicBezTo>
                    <a:pt x="2102" y="855"/>
                    <a:pt x="2436" y="488"/>
                    <a:pt x="2669" y="88"/>
                  </a:cubicBezTo>
                  <a:cubicBezTo>
                    <a:pt x="2669" y="88"/>
                    <a:pt x="2484" y="1"/>
                    <a:pt x="215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7" name="Google Shape;27;p2"/>
            <p:cNvSpPr/>
            <p:nvPr/>
          </p:nvSpPr>
          <p:spPr>
            <a:xfrm>
              <a:off x="2664575" y="2918650"/>
              <a:ext cx="110100" cy="72300"/>
            </a:xfrm>
            <a:custGeom>
              <a:avLst/>
              <a:gdLst/>
              <a:ahLst/>
              <a:cxnLst/>
              <a:rect l="l" t="t" r="r" b="b"/>
              <a:pathLst>
                <a:path w="4404" h="2892" extrusionOk="0">
                  <a:moveTo>
                    <a:pt x="3700" y="1"/>
                  </a:moveTo>
                  <a:cubicBezTo>
                    <a:pt x="3168" y="1"/>
                    <a:pt x="2875" y="1052"/>
                    <a:pt x="2102" y="1190"/>
                  </a:cubicBezTo>
                  <a:cubicBezTo>
                    <a:pt x="1201" y="1357"/>
                    <a:pt x="234" y="1023"/>
                    <a:pt x="67" y="1724"/>
                  </a:cubicBezTo>
                  <a:cubicBezTo>
                    <a:pt x="0" y="2291"/>
                    <a:pt x="534" y="2724"/>
                    <a:pt x="1235" y="2891"/>
                  </a:cubicBezTo>
                  <a:cubicBezTo>
                    <a:pt x="1235" y="2891"/>
                    <a:pt x="1568" y="2291"/>
                    <a:pt x="2436" y="1857"/>
                  </a:cubicBezTo>
                  <a:cubicBezTo>
                    <a:pt x="2806" y="1665"/>
                    <a:pt x="3121" y="1608"/>
                    <a:pt x="3362" y="1608"/>
                  </a:cubicBezTo>
                  <a:cubicBezTo>
                    <a:pt x="3707" y="1608"/>
                    <a:pt x="3903" y="1724"/>
                    <a:pt x="3903" y="1724"/>
                  </a:cubicBezTo>
                  <a:cubicBezTo>
                    <a:pt x="4337" y="1057"/>
                    <a:pt x="4404" y="356"/>
                    <a:pt x="4070" y="156"/>
                  </a:cubicBezTo>
                  <a:cubicBezTo>
                    <a:pt x="3932" y="46"/>
                    <a:pt x="3810" y="1"/>
                    <a:pt x="370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8" name="Google Shape;28;p2"/>
            <p:cNvSpPr/>
            <p:nvPr/>
          </p:nvSpPr>
          <p:spPr>
            <a:xfrm>
              <a:off x="2572850" y="2997600"/>
              <a:ext cx="91750" cy="91750"/>
            </a:xfrm>
            <a:custGeom>
              <a:avLst/>
              <a:gdLst/>
              <a:ahLst/>
              <a:cxnLst/>
              <a:rect l="l" t="t" r="r" b="b"/>
              <a:pathLst>
                <a:path w="3670" h="3670" extrusionOk="0">
                  <a:moveTo>
                    <a:pt x="1835" y="0"/>
                  </a:moveTo>
                  <a:cubicBezTo>
                    <a:pt x="834" y="0"/>
                    <a:pt x="0" y="834"/>
                    <a:pt x="0" y="1835"/>
                  </a:cubicBezTo>
                  <a:cubicBezTo>
                    <a:pt x="0" y="2835"/>
                    <a:pt x="834" y="3669"/>
                    <a:pt x="1835" y="3669"/>
                  </a:cubicBezTo>
                  <a:cubicBezTo>
                    <a:pt x="2836" y="3669"/>
                    <a:pt x="3669" y="2835"/>
                    <a:pt x="3669" y="1835"/>
                  </a:cubicBezTo>
                  <a:cubicBezTo>
                    <a:pt x="3669" y="834"/>
                    <a:pt x="2836" y="0"/>
                    <a:pt x="183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9" name="Google Shape;29;p2"/>
            <p:cNvSpPr/>
            <p:nvPr/>
          </p:nvSpPr>
          <p:spPr>
            <a:xfrm>
              <a:off x="2807175" y="2895850"/>
              <a:ext cx="91750" cy="91750"/>
            </a:xfrm>
            <a:custGeom>
              <a:avLst/>
              <a:gdLst/>
              <a:ahLst/>
              <a:cxnLst/>
              <a:rect l="l" t="t" r="r" b="b"/>
              <a:pathLst>
                <a:path w="3670" h="3670" extrusionOk="0">
                  <a:moveTo>
                    <a:pt x="1835" y="0"/>
                  </a:moveTo>
                  <a:cubicBezTo>
                    <a:pt x="801" y="0"/>
                    <a:pt x="1" y="834"/>
                    <a:pt x="1" y="1835"/>
                  </a:cubicBezTo>
                  <a:cubicBezTo>
                    <a:pt x="1" y="2869"/>
                    <a:pt x="801" y="3670"/>
                    <a:pt x="1835" y="3670"/>
                  </a:cubicBezTo>
                  <a:cubicBezTo>
                    <a:pt x="2836" y="3670"/>
                    <a:pt x="3670" y="2869"/>
                    <a:pt x="3670" y="1835"/>
                  </a:cubicBezTo>
                  <a:cubicBezTo>
                    <a:pt x="3670" y="834"/>
                    <a:pt x="2836" y="0"/>
                    <a:pt x="183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30" name="Google Shape;30;p2"/>
          <p:cNvSpPr/>
          <p:nvPr/>
        </p:nvSpPr>
        <p:spPr>
          <a:xfrm>
            <a:off x="9915197" y="4946993"/>
            <a:ext cx="286855" cy="252924"/>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1" name="Google Shape;31;p2"/>
          <p:cNvSpPr/>
          <p:nvPr/>
        </p:nvSpPr>
        <p:spPr>
          <a:xfrm>
            <a:off x="764267" y="2508947"/>
            <a:ext cx="219581" cy="193616"/>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2" name="Google Shape;32;p2"/>
          <p:cNvSpPr/>
          <p:nvPr/>
        </p:nvSpPr>
        <p:spPr>
          <a:xfrm>
            <a:off x="9602601" y="4662295"/>
            <a:ext cx="132647" cy="116940"/>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3" name="Google Shape;33;p2"/>
          <p:cNvSpPr/>
          <p:nvPr/>
        </p:nvSpPr>
        <p:spPr>
          <a:xfrm>
            <a:off x="1172167" y="2733611"/>
            <a:ext cx="132647" cy="116940"/>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4" name="Google Shape;34;p2"/>
          <p:cNvSpPr/>
          <p:nvPr/>
        </p:nvSpPr>
        <p:spPr>
          <a:xfrm>
            <a:off x="3106767" y="1472595"/>
            <a:ext cx="132647" cy="116940"/>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35" name="Google Shape;35;p2"/>
          <p:cNvGrpSpPr/>
          <p:nvPr/>
        </p:nvGrpSpPr>
        <p:grpSpPr>
          <a:xfrm>
            <a:off x="9735220" y="458460"/>
            <a:ext cx="1167192" cy="2145213"/>
            <a:chOff x="4773575" y="1104625"/>
            <a:chExt cx="785600" cy="1443875"/>
          </a:xfrm>
        </p:grpSpPr>
        <p:sp>
          <p:nvSpPr>
            <p:cNvPr id="36" name="Google Shape;36;p2"/>
            <p:cNvSpPr/>
            <p:nvPr/>
          </p:nvSpPr>
          <p:spPr>
            <a:xfrm>
              <a:off x="4803600" y="2410500"/>
              <a:ext cx="168475" cy="138000"/>
            </a:xfrm>
            <a:custGeom>
              <a:avLst/>
              <a:gdLst/>
              <a:ahLst/>
              <a:cxnLst/>
              <a:rect l="l" t="t" r="r" b="b"/>
              <a:pathLst>
                <a:path w="6739" h="5520" extrusionOk="0">
                  <a:moveTo>
                    <a:pt x="1" y="1"/>
                  </a:moveTo>
                  <a:cubicBezTo>
                    <a:pt x="501" y="2936"/>
                    <a:pt x="1001" y="5304"/>
                    <a:pt x="1335" y="5471"/>
                  </a:cubicBezTo>
                  <a:cubicBezTo>
                    <a:pt x="1390" y="5504"/>
                    <a:pt x="1463" y="5520"/>
                    <a:pt x="1550" y="5520"/>
                  </a:cubicBezTo>
                  <a:cubicBezTo>
                    <a:pt x="2355" y="5520"/>
                    <a:pt x="4452" y="4187"/>
                    <a:pt x="6739" y="2502"/>
                  </a:cubicBezTo>
                  <a:cubicBezTo>
                    <a:pt x="3036" y="2169"/>
                    <a:pt x="67" y="1"/>
                    <a:pt x="67" y="1"/>
                  </a:cubicBezTo>
                  <a:close/>
                </a:path>
              </a:pathLst>
            </a:custGeom>
            <a:solidFill>
              <a:schemeClr val="lt1"/>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7" name="Google Shape;37;p2"/>
            <p:cNvSpPr/>
            <p:nvPr/>
          </p:nvSpPr>
          <p:spPr>
            <a:xfrm>
              <a:off x="5074625" y="1104625"/>
              <a:ext cx="484550" cy="326875"/>
            </a:xfrm>
            <a:custGeom>
              <a:avLst/>
              <a:gdLst/>
              <a:ahLst/>
              <a:cxnLst/>
              <a:rect l="l" t="t" r="r" b="b"/>
              <a:pathLst>
                <a:path w="19382" h="13075" extrusionOk="0">
                  <a:moveTo>
                    <a:pt x="7131" y="0"/>
                  </a:moveTo>
                  <a:cubicBezTo>
                    <a:pt x="5649" y="0"/>
                    <a:pt x="4359" y="267"/>
                    <a:pt x="3503" y="865"/>
                  </a:cubicBezTo>
                  <a:cubicBezTo>
                    <a:pt x="2669" y="1466"/>
                    <a:pt x="1402" y="3901"/>
                    <a:pt x="1" y="7370"/>
                  </a:cubicBezTo>
                  <a:cubicBezTo>
                    <a:pt x="1" y="7370"/>
                    <a:pt x="5204" y="10839"/>
                    <a:pt x="17280" y="13074"/>
                  </a:cubicBezTo>
                  <a:cubicBezTo>
                    <a:pt x="18614" y="9038"/>
                    <a:pt x="19381" y="6169"/>
                    <a:pt x="19114" y="5535"/>
                  </a:cubicBezTo>
                  <a:cubicBezTo>
                    <a:pt x="17812" y="2429"/>
                    <a:pt x="11599" y="0"/>
                    <a:pt x="7131" y="0"/>
                  </a:cubicBezTo>
                  <a:close/>
                </a:path>
              </a:pathLst>
            </a:custGeom>
            <a:solidFill>
              <a:schemeClr val="accent1"/>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8" name="Google Shape;38;p2"/>
            <p:cNvSpPr/>
            <p:nvPr/>
          </p:nvSpPr>
          <p:spPr>
            <a:xfrm>
              <a:off x="5055450" y="1288850"/>
              <a:ext cx="451175" cy="194350"/>
            </a:xfrm>
            <a:custGeom>
              <a:avLst/>
              <a:gdLst/>
              <a:ahLst/>
              <a:cxnLst/>
              <a:rect l="l" t="t" r="r" b="b"/>
              <a:pathLst>
                <a:path w="18047" h="7774" extrusionOk="0">
                  <a:moveTo>
                    <a:pt x="767" y="1"/>
                  </a:moveTo>
                  <a:lnTo>
                    <a:pt x="767" y="1"/>
                  </a:lnTo>
                  <a:cubicBezTo>
                    <a:pt x="767" y="1"/>
                    <a:pt x="767" y="1"/>
                    <a:pt x="768" y="1"/>
                  </a:cubicBezTo>
                  <a:lnTo>
                    <a:pt x="768" y="1"/>
                  </a:lnTo>
                  <a:cubicBezTo>
                    <a:pt x="768" y="1"/>
                    <a:pt x="768" y="1"/>
                    <a:pt x="768" y="1"/>
                  </a:cubicBezTo>
                  <a:cubicBezTo>
                    <a:pt x="767" y="1"/>
                    <a:pt x="767" y="1"/>
                    <a:pt x="767" y="1"/>
                  </a:cubicBezTo>
                  <a:close/>
                  <a:moveTo>
                    <a:pt x="768" y="1"/>
                  </a:moveTo>
                  <a:lnTo>
                    <a:pt x="768" y="1"/>
                  </a:lnTo>
                  <a:cubicBezTo>
                    <a:pt x="501" y="602"/>
                    <a:pt x="267" y="1202"/>
                    <a:pt x="0" y="1836"/>
                  </a:cubicBezTo>
                  <a:cubicBezTo>
                    <a:pt x="0" y="1836"/>
                    <a:pt x="2469" y="3837"/>
                    <a:pt x="8173" y="5705"/>
                  </a:cubicBezTo>
                  <a:cubicBezTo>
                    <a:pt x="13643" y="7506"/>
                    <a:pt x="17379" y="7773"/>
                    <a:pt x="17379" y="7773"/>
                  </a:cubicBezTo>
                  <a:cubicBezTo>
                    <a:pt x="17613" y="7039"/>
                    <a:pt x="17846" y="6372"/>
                    <a:pt x="18047" y="5705"/>
                  </a:cubicBezTo>
                  <a:cubicBezTo>
                    <a:pt x="6114" y="3497"/>
                    <a:pt x="826" y="50"/>
                    <a:pt x="768" y="1"/>
                  </a:cubicBezTo>
                  <a:close/>
                </a:path>
              </a:pathLst>
            </a:custGeom>
            <a:solidFill>
              <a:schemeClr val="lt1"/>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9" name="Google Shape;39;p2"/>
            <p:cNvSpPr/>
            <p:nvPr/>
          </p:nvSpPr>
          <p:spPr>
            <a:xfrm>
              <a:off x="5033775" y="1334725"/>
              <a:ext cx="456175" cy="204350"/>
            </a:xfrm>
            <a:custGeom>
              <a:avLst/>
              <a:gdLst/>
              <a:ahLst/>
              <a:cxnLst/>
              <a:rect l="l" t="t" r="r" b="b"/>
              <a:pathLst>
                <a:path w="18247" h="8174" extrusionOk="0">
                  <a:moveTo>
                    <a:pt x="901" y="1"/>
                  </a:moveTo>
                  <a:cubicBezTo>
                    <a:pt x="634" y="768"/>
                    <a:pt x="300" y="1535"/>
                    <a:pt x="0" y="2336"/>
                  </a:cubicBezTo>
                  <a:cubicBezTo>
                    <a:pt x="0" y="2336"/>
                    <a:pt x="3369" y="4637"/>
                    <a:pt x="8406" y="6305"/>
                  </a:cubicBezTo>
                  <a:cubicBezTo>
                    <a:pt x="13009" y="7806"/>
                    <a:pt x="17479" y="8173"/>
                    <a:pt x="17479" y="8173"/>
                  </a:cubicBezTo>
                  <a:cubicBezTo>
                    <a:pt x="17746" y="7373"/>
                    <a:pt x="18013" y="6639"/>
                    <a:pt x="18246" y="5872"/>
                  </a:cubicBezTo>
                  <a:cubicBezTo>
                    <a:pt x="18246" y="5872"/>
                    <a:pt x="14477" y="5638"/>
                    <a:pt x="9073" y="3870"/>
                  </a:cubicBezTo>
                  <a:cubicBezTo>
                    <a:pt x="3369" y="2002"/>
                    <a:pt x="901" y="1"/>
                    <a:pt x="901" y="1"/>
                  </a:cubicBezTo>
                  <a:close/>
                </a:path>
              </a:pathLst>
            </a:custGeom>
            <a:solidFill>
              <a:schemeClr val="lt1"/>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0" name="Google Shape;40;p2"/>
            <p:cNvSpPr/>
            <p:nvPr/>
          </p:nvSpPr>
          <p:spPr>
            <a:xfrm>
              <a:off x="4776925" y="1393100"/>
              <a:ext cx="692175" cy="914025"/>
            </a:xfrm>
            <a:custGeom>
              <a:avLst/>
              <a:gdLst/>
              <a:ahLst/>
              <a:cxnLst/>
              <a:rect l="l" t="t" r="r" b="b"/>
              <a:pathLst>
                <a:path w="27687" h="36561" extrusionOk="0">
                  <a:moveTo>
                    <a:pt x="10141" y="1"/>
                  </a:moveTo>
                  <a:cubicBezTo>
                    <a:pt x="5738" y="11709"/>
                    <a:pt x="500" y="28988"/>
                    <a:pt x="100" y="30189"/>
                  </a:cubicBezTo>
                  <a:cubicBezTo>
                    <a:pt x="67" y="30289"/>
                    <a:pt x="0" y="30389"/>
                    <a:pt x="0" y="30523"/>
                  </a:cubicBezTo>
                  <a:cubicBezTo>
                    <a:pt x="247" y="30369"/>
                    <a:pt x="1432" y="29503"/>
                    <a:pt x="2137" y="29503"/>
                  </a:cubicBezTo>
                  <a:cubicBezTo>
                    <a:pt x="2196" y="29503"/>
                    <a:pt x="2251" y="29509"/>
                    <a:pt x="2302" y="29522"/>
                  </a:cubicBezTo>
                  <a:cubicBezTo>
                    <a:pt x="3436" y="29789"/>
                    <a:pt x="3669" y="31457"/>
                    <a:pt x="4103" y="31657"/>
                  </a:cubicBezTo>
                  <a:cubicBezTo>
                    <a:pt x="4152" y="31678"/>
                    <a:pt x="4211" y="31687"/>
                    <a:pt x="4278" y="31687"/>
                  </a:cubicBezTo>
                  <a:cubicBezTo>
                    <a:pt x="4774" y="31687"/>
                    <a:pt x="5723" y="31183"/>
                    <a:pt x="6473" y="31183"/>
                  </a:cubicBezTo>
                  <a:cubicBezTo>
                    <a:pt x="6589" y="31183"/>
                    <a:pt x="6701" y="31195"/>
                    <a:pt x="6805" y="31223"/>
                  </a:cubicBezTo>
                  <a:cubicBezTo>
                    <a:pt x="7806" y="31523"/>
                    <a:pt x="8106" y="33325"/>
                    <a:pt x="8473" y="33491"/>
                  </a:cubicBezTo>
                  <a:cubicBezTo>
                    <a:pt x="8543" y="33517"/>
                    <a:pt x="8619" y="33528"/>
                    <a:pt x="8700" y="33528"/>
                  </a:cubicBezTo>
                  <a:cubicBezTo>
                    <a:pt x="9239" y="33528"/>
                    <a:pt x="10012" y="33040"/>
                    <a:pt x="10698" y="33040"/>
                  </a:cubicBezTo>
                  <a:cubicBezTo>
                    <a:pt x="10851" y="33040"/>
                    <a:pt x="11000" y="33065"/>
                    <a:pt x="11141" y="33124"/>
                  </a:cubicBezTo>
                  <a:cubicBezTo>
                    <a:pt x="12142" y="33491"/>
                    <a:pt x="11842" y="35226"/>
                    <a:pt x="12476" y="35526"/>
                  </a:cubicBezTo>
                  <a:cubicBezTo>
                    <a:pt x="12516" y="35549"/>
                    <a:pt x="12563" y="35559"/>
                    <a:pt x="12617" y="35559"/>
                  </a:cubicBezTo>
                  <a:cubicBezTo>
                    <a:pt x="13055" y="35559"/>
                    <a:pt x="13919" y="34884"/>
                    <a:pt x="14589" y="34884"/>
                  </a:cubicBezTo>
                  <a:cubicBezTo>
                    <a:pt x="14800" y="34884"/>
                    <a:pt x="14991" y="34951"/>
                    <a:pt x="15144" y="35126"/>
                  </a:cubicBezTo>
                  <a:cubicBezTo>
                    <a:pt x="15344" y="35326"/>
                    <a:pt x="15611" y="36494"/>
                    <a:pt x="15511" y="36560"/>
                  </a:cubicBezTo>
                  <a:cubicBezTo>
                    <a:pt x="15611" y="36527"/>
                    <a:pt x="15611" y="36494"/>
                    <a:pt x="15645" y="36460"/>
                  </a:cubicBezTo>
                  <a:cubicBezTo>
                    <a:pt x="16479" y="35193"/>
                    <a:pt x="23417" y="18014"/>
                    <a:pt x="27687" y="5838"/>
                  </a:cubicBezTo>
                  <a:cubicBezTo>
                    <a:pt x="27687" y="5838"/>
                    <a:pt x="23250" y="5471"/>
                    <a:pt x="18647" y="3970"/>
                  </a:cubicBezTo>
                  <a:cubicBezTo>
                    <a:pt x="13610" y="2302"/>
                    <a:pt x="10241" y="1"/>
                    <a:pt x="10141" y="1"/>
                  </a:cubicBezTo>
                  <a:close/>
                </a:path>
              </a:pathLst>
            </a:custGeom>
            <a:solidFill>
              <a:schemeClr val="accent3"/>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 name="Google Shape;41;p2"/>
            <p:cNvSpPr/>
            <p:nvPr/>
          </p:nvSpPr>
          <p:spPr>
            <a:xfrm>
              <a:off x="4773575" y="2129825"/>
              <a:ext cx="394475" cy="342400"/>
            </a:xfrm>
            <a:custGeom>
              <a:avLst/>
              <a:gdLst/>
              <a:ahLst/>
              <a:cxnLst/>
              <a:rect l="l" t="t" r="r" b="b"/>
              <a:pathLst>
                <a:path w="15779" h="13696" extrusionOk="0">
                  <a:moveTo>
                    <a:pt x="2351" y="1"/>
                  </a:moveTo>
                  <a:cubicBezTo>
                    <a:pt x="1690" y="1"/>
                    <a:pt x="450" y="866"/>
                    <a:pt x="234" y="1020"/>
                  </a:cubicBezTo>
                  <a:cubicBezTo>
                    <a:pt x="1" y="2588"/>
                    <a:pt x="568" y="7358"/>
                    <a:pt x="1202" y="11194"/>
                  </a:cubicBezTo>
                  <a:lnTo>
                    <a:pt x="1268" y="11194"/>
                  </a:lnTo>
                  <a:cubicBezTo>
                    <a:pt x="1268" y="11194"/>
                    <a:pt x="4237" y="13362"/>
                    <a:pt x="7940" y="13696"/>
                  </a:cubicBezTo>
                  <a:cubicBezTo>
                    <a:pt x="11209" y="11328"/>
                    <a:pt x="14878" y="8192"/>
                    <a:pt x="15712" y="7091"/>
                  </a:cubicBezTo>
                  <a:cubicBezTo>
                    <a:pt x="15779" y="7025"/>
                    <a:pt x="15545" y="5857"/>
                    <a:pt x="15312" y="5657"/>
                  </a:cubicBezTo>
                  <a:cubicBezTo>
                    <a:pt x="15158" y="5481"/>
                    <a:pt x="14968" y="5415"/>
                    <a:pt x="14759" y="5415"/>
                  </a:cubicBezTo>
                  <a:cubicBezTo>
                    <a:pt x="14106" y="5415"/>
                    <a:pt x="13275" y="6065"/>
                    <a:pt x="12836" y="6065"/>
                  </a:cubicBezTo>
                  <a:cubicBezTo>
                    <a:pt x="12774" y="6065"/>
                    <a:pt x="12721" y="6052"/>
                    <a:pt x="12676" y="6024"/>
                  </a:cubicBezTo>
                  <a:cubicBezTo>
                    <a:pt x="12076" y="5724"/>
                    <a:pt x="12343" y="3989"/>
                    <a:pt x="11342" y="3589"/>
                  </a:cubicBezTo>
                  <a:cubicBezTo>
                    <a:pt x="11212" y="3539"/>
                    <a:pt x="11076" y="3518"/>
                    <a:pt x="10935" y="3518"/>
                  </a:cubicBezTo>
                  <a:cubicBezTo>
                    <a:pt x="10241" y="3518"/>
                    <a:pt x="9453" y="4026"/>
                    <a:pt x="8924" y="4026"/>
                  </a:cubicBezTo>
                  <a:cubicBezTo>
                    <a:pt x="8846" y="4026"/>
                    <a:pt x="8773" y="4015"/>
                    <a:pt x="8707" y="3989"/>
                  </a:cubicBezTo>
                  <a:cubicBezTo>
                    <a:pt x="8273" y="3822"/>
                    <a:pt x="8006" y="2021"/>
                    <a:pt x="7039" y="1721"/>
                  </a:cubicBezTo>
                  <a:cubicBezTo>
                    <a:pt x="6931" y="1693"/>
                    <a:pt x="6816" y="1680"/>
                    <a:pt x="6696" y="1680"/>
                  </a:cubicBezTo>
                  <a:cubicBezTo>
                    <a:pt x="5927" y="1680"/>
                    <a:pt x="4976" y="2185"/>
                    <a:pt x="4479" y="2185"/>
                  </a:cubicBezTo>
                  <a:cubicBezTo>
                    <a:pt x="4412" y="2185"/>
                    <a:pt x="4353" y="2175"/>
                    <a:pt x="4304" y="2154"/>
                  </a:cubicBezTo>
                  <a:cubicBezTo>
                    <a:pt x="3837" y="1921"/>
                    <a:pt x="3603" y="320"/>
                    <a:pt x="2502" y="20"/>
                  </a:cubicBezTo>
                  <a:cubicBezTo>
                    <a:pt x="2457" y="7"/>
                    <a:pt x="2406" y="1"/>
                    <a:pt x="2351" y="1"/>
                  </a:cubicBezTo>
                  <a:close/>
                </a:path>
              </a:pathLst>
            </a:custGeom>
            <a:solidFill>
              <a:schemeClr val="dk2"/>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2" name="Google Shape;42;p2"/>
            <p:cNvSpPr/>
            <p:nvPr/>
          </p:nvSpPr>
          <p:spPr>
            <a:xfrm>
              <a:off x="5121650" y="1579550"/>
              <a:ext cx="242975" cy="587625"/>
            </a:xfrm>
            <a:custGeom>
              <a:avLst/>
              <a:gdLst/>
              <a:ahLst/>
              <a:cxnLst/>
              <a:rect l="l" t="t" r="r" b="b"/>
              <a:pathLst>
                <a:path w="9719" h="23505" extrusionOk="0">
                  <a:moveTo>
                    <a:pt x="9397" y="0"/>
                  </a:moveTo>
                  <a:cubicBezTo>
                    <a:pt x="9336" y="0"/>
                    <a:pt x="9275" y="25"/>
                    <a:pt x="9228" y="81"/>
                  </a:cubicBezTo>
                  <a:cubicBezTo>
                    <a:pt x="8794" y="682"/>
                    <a:pt x="8527" y="1382"/>
                    <a:pt x="8227" y="2050"/>
                  </a:cubicBezTo>
                  <a:cubicBezTo>
                    <a:pt x="7960" y="2750"/>
                    <a:pt x="7660" y="3517"/>
                    <a:pt x="7393" y="4218"/>
                  </a:cubicBezTo>
                  <a:cubicBezTo>
                    <a:pt x="6893" y="5719"/>
                    <a:pt x="6492" y="7253"/>
                    <a:pt x="5992" y="8754"/>
                  </a:cubicBezTo>
                  <a:cubicBezTo>
                    <a:pt x="4958" y="11957"/>
                    <a:pt x="3357" y="14892"/>
                    <a:pt x="2022" y="17994"/>
                  </a:cubicBezTo>
                  <a:cubicBezTo>
                    <a:pt x="1289" y="19729"/>
                    <a:pt x="555" y="21497"/>
                    <a:pt x="21" y="23365"/>
                  </a:cubicBezTo>
                  <a:cubicBezTo>
                    <a:pt x="0" y="23447"/>
                    <a:pt x="56" y="23504"/>
                    <a:pt x="118" y="23504"/>
                  </a:cubicBezTo>
                  <a:cubicBezTo>
                    <a:pt x="156" y="23504"/>
                    <a:pt x="196" y="23482"/>
                    <a:pt x="221" y="23432"/>
                  </a:cubicBezTo>
                  <a:cubicBezTo>
                    <a:pt x="1856" y="20496"/>
                    <a:pt x="3056" y="17260"/>
                    <a:pt x="4624" y="14258"/>
                  </a:cubicBezTo>
                  <a:cubicBezTo>
                    <a:pt x="6059" y="11423"/>
                    <a:pt x="6959" y="8421"/>
                    <a:pt x="7860" y="5419"/>
                  </a:cubicBezTo>
                  <a:cubicBezTo>
                    <a:pt x="8127" y="4551"/>
                    <a:pt x="8360" y="3717"/>
                    <a:pt x="8694" y="2850"/>
                  </a:cubicBezTo>
                  <a:cubicBezTo>
                    <a:pt x="8994" y="2016"/>
                    <a:pt x="9461" y="1182"/>
                    <a:pt x="9695" y="348"/>
                  </a:cubicBezTo>
                  <a:cubicBezTo>
                    <a:pt x="9718" y="157"/>
                    <a:pt x="9554" y="0"/>
                    <a:pt x="939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3" name="Google Shape;43;p2"/>
            <p:cNvSpPr/>
            <p:nvPr/>
          </p:nvSpPr>
          <p:spPr>
            <a:xfrm>
              <a:off x="4888925" y="1482450"/>
              <a:ext cx="244100" cy="614850"/>
            </a:xfrm>
            <a:custGeom>
              <a:avLst/>
              <a:gdLst/>
              <a:ahLst/>
              <a:cxnLst/>
              <a:rect l="l" t="t" r="r" b="b"/>
              <a:pathLst>
                <a:path w="9764" h="24594" extrusionOk="0">
                  <a:moveTo>
                    <a:pt x="9550" y="1"/>
                  </a:moveTo>
                  <a:cubicBezTo>
                    <a:pt x="9517" y="1"/>
                    <a:pt x="9485" y="20"/>
                    <a:pt x="9463" y="63"/>
                  </a:cubicBezTo>
                  <a:cubicBezTo>
                    <a:pt x="9130" y="430"/>
                    <a:pt x="8996" y="897"/>
                    <a:pt x="8830" y="1364"/>
                  </a:cubicBezTo>
                  <a:lnTo>
                    <a:pt x="8329" y="2831"/>
                  </a:lnTo>
                  <a:cubicBezTo>
                    <a:pt x="7996" y="3865"/>
                    <a:pt x="7629" y="4799"/>
                    <a:pt x="7262" y="5800"/>
                  </a:cubicBezTo>
                  <a:cubicBezTo>
                    <a:pt x="6461" y="7902"/>
                    <a:pt x="5627" y="9970"/>
                    <a:pt x="4793" y="12071"/>
                  </a:cubicBezTo>
                  <a:cubicBezTo>
                    <a:pt x="3959" y="14073"/>
                    <a:pt x="3159" y="16074"/>
                    <a:pt x="2325" y="18109"/>
                  </a:cubicBezTo>
                  <a:cubicBezTo>
                    <a:pt x="1491" y="20210"/>
                    <a:pt x="624" y="22245"/>
                    <a:pt x="23" y="24413"/>
                  </a:cubicBezTo>
                  <a:cubicBezTo>
                    <a:pt x="1" y="24527"/>
                    <a:pt x="86" y="24594"/>
                    <a:pt x="174" y="24594"/>
                  </a:cubicBezTo>
                  <a:cubicBezTo>
                    <a:pt x="216" y="24594"/>
                    <a:pt x="258" y="24579"/>
                    <a:pt x="290" y="24547"/>
                  </a:cubicBezTo>
                  <a:cubicBezTo>
                    <a:pt x="1324" y="22646"/>
                    <a:pt x="2025" y="20611"/>
                    <a:pt x="2825" y="18643"/>
                  </a:cubicBezTo>
                  <a:cubicBezTo>
                    <a:pt x="3659" y="16574"/>
                    <a:pt x="4460" y="14473"/>
                    <a:pt x="5260" y="12405"/>
                  </a:cubicBezTo>
                  <a:cubicBezTo>
                    <a:pt x="6028" y="10337"/>
                    <a:pt x="6862" y="8369"/>
                    <a:pt x="7662" y="6300"/>
                  </a:cubicBezTo>
                  <a:cubicBezTo>
                    <a:pt x="8029" y="5300"/>
                    <a:pt x="8463" y="4266"/>
                    <a:pt x="8796" y="3265"/>
                  </a:cubicBezTo>
                  <a:cubicBezTo>
                    <a:pt x="8963" y="2765"/>
                    <a:pt x="9130" y="2264"/>
                    <a:pt x="9330" y="1764"/>
                  </a:cubicBezTo>
                  <a:cubicBezTo>
                    <a:pt x="9497" y="1264"/>
                    <a:pt x="9764" y="730"/>
                    <a:pt x="9697" y="196"/>
                  </a:cubicBezTo>
                  <a:cubicBezTo>
                    <a:pt x="9697" y="83"/>
                    <a:pt x="9620" y="1"/>
                    <a:pt x="95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4" name="Google Shape;44;p2"/>
            <p:cNvSpPr/>
            <p:nvPr/>
          </p:nvSpPr>
          <p:spPr>
            <a:xfrm>
              <a:off x="4996650" y="1539125"/>
              <a:ext cx="255625" cy="613775"/>
            </a:xfrm>
            <a:custGeom>
              <a:avLst/>
              <a:gdLst/>
              <a:ahLst/>
              <a:cxnLst/>
              <a:rect l="l" t="t" r="r" b="b"/>
              <a:pathLst>
                <a:path w="10225" h="24551" extrusionOk="0">
                  <a:moveTo>
                    <a:pt x="10046" y="1"/>
                  </a:moveTo>
                  <a:cubicBezTo>
                    <a:pt x="9982" y="1"/>
                    <a:pt x="9912" y="30"/>
                    <a:pt x="9858" y="97"/>
                  </a:cubicBezTo>
                  <a:cubicBezTo>
                    <a:pt x="9357" y="798"/>
                    <a:pt x="9057" y="1698"/>
                    <a:pt x="8690" y="2499"/>
                  </a:cubicBezTo>
                  <a:cubicBezTo>
                    <a:pt x="8323" y="3366"/>
                    <a:pt x="7890" y="4200"/>
                    <a:pt x="7556" y="5034"/>
                  </a:cubicBezTo>
                  <a:cubicBezTo>
                    <a:pt x="6856" y="6702"/>
                    <a:pt x="6155" y="8337"/>
                    <a:pt x="5488" y="10004"/>
                  </a:cubicBezTo>
                  <a:cubicBezTo>
                    <a:pt x="4821" y="11672"/>
                    <a:pt x="4120" y="13340"/>
                    <a:pt x="3453" y="15008"/>
                  </a:cubicBezTo>
                  <a:cubicBezTo>
                    <a:pt x="2853" y="16509"/>
                    <a:pt x="2452" y="18010"/>
                    <a:pt x="2019" y="19545"/>
                  </a:cubicBezTo>
                  <a:cubicBezTo>
                    <a:pt x="1552" y="21212"/>
                    <a:pt x="1018" y="22947"/>
                    <a:pt x="51" y="24381"/>
                  </a:cubicBezTo>
                  <a:cubicBezTo>
                    <a:pt x="1" y="24456"/>
                    <a:pt x="82" y="24550"/>
                    <a:pt x="154" y="24550"/>
                  </a:cubicBezTo>
                  <a:cubicBezTo>
                    <a:pt x="178" y="24550"/>
                    <a:pt x="201" y="24540"/>
                    <a:pt x="218" y="24515"/>
                  </a:cubicBezTo>
                  <a:cubicBezTo>
                    <a:pt x="2186" y="22113"/>
                    <a:pt x="2553" y="18978"/>
                    <a:pt x="3620" y="16142"/>
                  </a:cubicBezTo>
                  <a:cubicBezTo>
                    <a:pt x="4220" y="14441"/>
                    <a:pt x="5021" y="12773"/>
                    <a:pt x="5788" y="11105"/>
                  </a:cubicBezTo>
                  <a:cubicBezTo>
                    <a:pt x="6522" y="9371"/>
                    <a:pt x="7289" y="7669"/>
                    <a:pt x="7990" y="5968"/>
                  </a:cubicBezTo>
                  <a:cubicBezTo>
                    <a:pt x="8357" y="5034"/>
                    <a:pt x="8724" y="4134"/>
                    <a:pt x="9124" y="3166"/>
                  </a:cubicBezTo>
                  <a:cubicBezTo>
                    <a:pt x="9491" y="2199"/>
                    <a:pt x="10058" y="1198"/>
                    <a:pt x="10225" y="164"/>
                  </a:cubicBezTo>
                  <a:cubicBezTo>
                    <a:pt x="10225" y="65"/>
                    <a:pt x="10142" y="1"/>
                    <a:pt x="1004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5" name="Google Shape;45;p2"/>
            <p:cNvSpPr/>
            <p:nvPr/>
          </p:nvSpPr>
          <p:spPr>
            <a:xfrm>
              <a:off x="5252272" y="1150039"/>
              <a:ext cx="40945" cy="53387"/>
            </a:xfrm>
            <a:custGeom>
              <a:avLst/>
              <a:gdLst/>
              <a:ahLst/>
              <a:cxnLst/>
              <a:rect l="l" t="t" r="r" b="b"/>
              <a:pathLst>
                <a:path w="1402" h="1828" extrusionOk="0">
                  <a:moveTo>
                    <a:pt x="501" y="0"/>
                  </a:moveTo>
                  <a:cubicBezTo>
                    <a:pt x="401" y="0"/>
                    <a:pt x="334" y="0"/>
                    <a:pt x="267" y="34"/>
                  </a:cubicBezTo>
                  <a:cubicBezTo>
                    <a:pt x="234" y="34"/>
                    <a:pt x="201" y="67"/>
                    <a:pt x="201" y="67"/>
                  </a:cubicBezTo>
                  <a:cubicBezTo>
                    <a:pt x="167" y="67"/>
                    <a:pt x="100" y="100"/>
                    <a:pt x="100" y="134"/>
                  </a:cubicBezTo>
                  <a:cubicBezTo>
                    <a:pt x="100" y="200"/>
                    <a:pt x="167" y="234"/>
                    <a:pt x="201" y="234"/>
                  </a:cubicBezTo>
                  <a:lnTo>
                    <a:pt x="267" y="234"/>
                  </a:lnTo>
                  <a:cubicBezTo>
                    <a:pt x="334" y="234"/>
                    <a:pt x="367" y="234"/>
                    <a:pt x="434" y="267"/>
                  </a:cubicBezTo>
                  <a:cubicBezTo>
                    <a:pt x="501" y="267"/>
                    <a:pt x="534" y="267"/>
                    <a:pt x="567" y="301"/>
                  </a:cubicBezTo>
                  <a:cubicBezTo>
                    <a:pt x="601" y="301"/>
                    <a:pt x="668" y="367"/>
                    <a:pt x="701" y="367"/>
                  </a:cubicBezTo>
                  <a:cubicBezTo>
                    <a:pt x="734" y="401"/>
                    <a:pt x="768" y="401"/>
                    <a:pt x="768" y="434"/>
                  </a:cubicBezTo>
                  <a:cubicBezTo>
                    <a:pt x="768" y="434"/>
                    <a:pt x="834" y="434"/>
                    <a:pt x="834" y="467"/>
                  </a:cubicBezTo>
                  <a:cubicBezTo>
                    <a:pt x="800" y="460"/>
                    <a:pt x="765" y="456"/>
                    <a:pt x="729" y="456"/>
                  </a:cubicBezTo>
                  <a:cubicBezTo>
                    <a:pt x="460" y="456"/>
                    <a:pt x="189" y="673"/>
                    <a:pt x="100" y="968"/>
                  </a:cubicBezTo>
                  <a:cubicBezTo>
                    <a:pt x="0" y="1368"/>
                    <a:pt x="167" y="1735"/>
                    <a:pt x="501" y="1802"/>
                  </a:cubicBezTo>
                  <a:cubicBezTo>
                    <a:pt x="547" y="1819"/>
                    <a:pt x="594" y="1827"/>
                    <a:pt x="643" y="1827"/>
                  </a:cubicBezTo>
                  <a:cubicBezTo>
                    <a:pt x="876" y="1827"/>
                    <a:pt x="1124" y="1633"/>
                    <a:pt x="1235" y="1301"/>
                  </a:cubicBezTo>
                  <a:cubicBezTo>
                    <a:pt x="1401" y="1001"/>
                    <a:pt x="1368" y="834"/>
                    <a:pt x="1368" y="734"/>
                  </a:cubicBezTo>
                  <a:cubicBezTo>
                    <a:pt x="1368" y="701"/>
                    <a:pt x="1368" y="601"/>
                    <a:pt x="1335" y="567"/>
                  </a:cubicBezTo>
                  <a:cubicBezTo>
                    <a:pt x="1335" y="534"/>
                    <a:pt x="1268" y="434"/>
                    <a:pt x="1268" y="401"/>
                  </a:cubicBezTo>
                  <a:cubicBezTo>
                    <a:pt x="1235" y="367"/>
                    <a:pt x="1201" y="267"/>
                    <a:pt x="1168" y="234"/>
                  </a:cubicBezTo>
                  <a:cubicBezTo>
                    <a:pt x="1101" y="200"/>
                    <a:pt x="1068" y="134"/>
                    <a:pt x="1001" y="100"/>
                  </a:cubicBezTo>
                  <a:cubicBezTo>
                    <a:pt x="934" y="67"/>
                    <a:pt x="868" y="67"/>
                    <a:pt x="834" y="34"/>
                  </a:cubicBezTo>
                  <a:cubicBezTo>
                    <a:pt x="768" y="34"/>
                    <a:pt x="701" y="0"/>
                    <a:pt x="66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6" name="Google Shape;46;p2"/>
            <p:cNvSpPr/>
            <p:nvPr/>
          </p:nvSpPr>
          <p:spPr>
            <a:xfrm>
              <a:off x="5403262" y="1191919"/>
              <a:ext cx="39982" cy="54292"/>
            </a:xfrm>
            <a:custGeom>
              <a:avLst/>
              <a:gdLst/>
              <a:ahLst/>
              <a:cxnLst/>
              <a:rect l="l" t="t" r="r" b="b"/>
              <a:pathLst>
                <a:path w="1369" h="1859" extrusionOk="0">
                  <a:moveTo>
                    <a:pt x="501" y="1"/>
                  </a:moveTo>
                  <a:cubicBezTo>
                    <a:pt x="401" y="1"/>
                    <a:pt x="334" y="1"/>
                    <a:pt x="268" y="34"/>
                  </a:cubicBezTo>
                  <a:cubicBezTo>
                    <a:pt x="234" y="34"/>
                    <a:pt x="201" y="101"/>
                    <a:pt x="201" y="101"/>
                  </a:cubicBezTo>
                  <a:cubicBezTo>
                    <a:pt x="168" y="101"/>
                    <a:pt x="101" y="134"/>
                    <a:pt x="101" y="167"/>
                  </a:cubicBezTo>
                  <a:cubicBezTo>
                    <a:pt x="101" y="201"/>
                    <a:pt x="168" y="268"/>
                    <a:pt x="201" y="268"/>
                  </a:cubicBezTo>
                  <a:lnTo>
                    <a:pt x="268" y="268"/>
                  </a:lnTo>
                  <a:cubicBezTo>
                    <a:pt x="334" y="268"/>
                    <a:pt x="368" y="268"/>
                    <a:pt x="434" y="301"/>
                  </a:cubicBezTo>
                  <a:cubicBezTo>
                    <a:pt x="501" y="301"/>
                    <a:pt x="534" y="301"/>
                    <a:pt x="568" y="334"/>
                  </a:cubicBezTo>
                  <a:cubicBezTo>
                    <a:pt x="601" y="334"/>
                    <a:pt x="668" y="368"/>
                    <a:pt x="701" y="368"/>
                  </a:cubicBezTo>
                  <a:cubicBezTo>
                    <a:pt x="735" y="434"/>
                    <a:pt x="768" y="434"/>
                    <a:pt x="768" y="468"/>
                  </a:cubicBezTo>
                  <a:cubicBezTo>
                    <a:pt x="768" y="468"/>
                    <a:pt x="835" y="468"/>
                    <a:pt x="835" y="501"/>
                  </a:cubicBezTo>
                  <a:cubicBezTo>
                    <a:pt x="800" y="493"/>
                    <a:pt x="765" y="490"/>
                    <a:pt x="730" y="490"/>
                  </a:cubicBezTo>
                  <a:cubicBezTo>
                    <a:pt x="461" y="490"/>
                    <a:pt x="189" y="706"/>
                    <a:pt x="101" y="1001"/>
                  </a:cubicBezTo>
                  <a:cubicBezTo>
                    <a:pt x="1" y="1368"/>
                    <a:pt x="168" y="1769"/>
                    <a:pt x="501" y="1835"/>
                  </a:cubicBezTo>
                  <a:cubicBezTo>
                    <a:pt x="543" y="1851"/>
                    <a:pt x="587" y="1859"/>
                    <a:pt x="631" y="1859"/>
                  </a:cubicBezTo>
                  <a:cubicBezTo>
                    <a:pt x="868" y="1859"/>
                    <a:pt x="1123" y="1644"/>
                    <a:pt x="1235" y="1335"/>
                  </a:cubicBezTo>
                  <a:cubicBezTo>
                    <a:pt x="1368" y="968"/>
                    <a:pt x="1368" y="801"/>
                    <a:pt x="1368" y="768"/>
                  </a:cubicBezTo>
                  <a:cubicBezTo>
                    <a:pt x="1368" y="735"/>
                    <a:pt x="1368" y="634"/>
                    <a:pt x="1335" y="601"/>
                  </a:cubicBezTo>
                  <a:cubicBezTo>
                    <a:pt x="1335" y="568"/>
                    <a:pt x="1268" y="468"/>
                    <a:pt x="1268" y="434"/>
                  </a:cubicBezTo>
                  <a:cubicBezTo>
                    <a:pt x="1235" y="401"/>
                    <a:pt x="1202" y="301"/>
                    <a:pt x="1135" y="268"/>
                  </a:cubicBezTo>
                  <a:cubicBezTo>
                    <a:pt x="1102" y="234"/>
                    <a:pt x="1068" y="167"/>
                    <a:pt x="1001" y="134"/>
                  </a:cubicBezTo>
                  <a:cubicBezTo>
                    <a:pt x="935" y="101"/>
                    <a:pt x="868" y="101"/>
                    <a:pt x="835" y="34"/>
                  </a:cubicBezTo>
                  <a:cubicBezTo>
                    <a:pt x="768" y="34"/>
                    <a:pt x="701" y="1"/>
                    <a:pt x="6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7" name="Google Shape;47;p2"/>
            <p:cNvSpPr/>
            <p:nvPr/>
          </p:nvSpPr>
          <p:spPr>
            <a:xfrm>
              <a:off x="5375675" y="1274425"/>
              <a:ext cx="104275" cy="93675"/>
            </a:xfrm>
            <a:custGeom>
              <a:avLst/>
              <a:gdLst/>
              <a:ahLst/>
              <a:cxnLst/>
              <a:rect l="l" t="t" r="r" b="b"/>
              <a:pathLst>
                <a:path w="4171" h="3747" extrusionOk="0">
                  <a:moveTo>
                    <a:pt x="2047" y="0"/>
                  </a:moveTo>
                  <a:cubicBezTo>
                    <a:pt x="1240" y="0"/>
                    <a:pt x="521" y="553"/>
                    <a:pt x="301" y="1379"/>
                  </a:cubicBezTo>
                  <a:cubicBezTo>
                    <a:pt x="1" y="2379"/>
                    <a:pt x="568" y="3380"/>
                    <a:pt x="1568" y="3680"/>
                  </a:cubicBezTo>
                  <a:cubicBezTo>
                    <a:pt x="1735" y="3725"/>
                    <a:pt x="1902" y="3746"/>
                    <a:pt x="2065" y="3746"/>
                  </a:cubicBezTo>
                  <a:cubicBezTo>
                    <a:pt x="2883" y="3746"/>
                    <a:pt x="3620" y="3213"/>
                    <a:pt x="3870" y="2379"/>
                  </a:cubicBezTo>
                  <a:cubicBezTo>
                    <a:pt x="4170" y="1379"/>
                    <a:pt x="3570" y="378"/>
                    <a:pt x="2569" y="78"/>
                  </a:cubicBezTo>
                  <a:cubicBezTo>
                    <a:pt x="2394" y="25"/>
                    <a:pt x="2218" y="0"/>
                    <a:pt x="204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8" name="Google Shape;48;p2"/>
            <p:cNvSpPr/>
            <p:nvPr/>
          </p:nvSpPr>
          <p:spPr>
            <a:xfrm>
              <a:off x="5153850" y="1213000"/>
              <a:ext cx="104275" cy="93675"/>
            </a:xfrm>
            <a:custGeom>
              <a:avLst/>
              <a:gdLst/>
              <a:ahLst/>
              <a:cxnLst/>
              <a:rect l="l" t="t" r="r" b="b"/>
              <a:pathLst>
                <a:path w="4171" h="3747" extrusionOk="0">
                  <a:moveTo>
                    <a:pt x="2072" y="1"/>
                  </a:moveTo>
                  <a:cubicBezTo>
                    <a:pt x="1254" y="1"/>
                    <a:pt x="518" y="533"/>
                    <a:pt x="267" y="1367"/>
                  </a:cubicBezTo>
                  <a:cubicBezTo>
                    <a:pt x="1" y="2368"/>
                    <a:pt x="568" y="3369"/>
                    <a:pt x="1568" y="3669"/>
                  </a:cubicBezTo>
                  <a:cubicBezTo>
                    <a:pt x="1744" y="3721"/>
                    <a:pt x="1919" y="3746"/>
                    <a:pt x="2091" y="3746"/>
                  </a:cubicBezTo>
                  <a:cubicBezTo>
                    <a:pt x="2898" y="3746"/>
                    <a:pt x="3622" y="3193"/>
                    <a:pt x="3870" y="2368"/>
                  </a:cubicBezTo>
                  <a:cubicBezTo>
                    <a:pt x="4170" y="1367"/>
                    <a:pt x="3570" y="367"/>
                    <a:pt x="2569" y="66"/>
                  </a:cubicBezTo>
                  <a:cubicBezTo>
                    <a:pt x="2402" y="22"/>
                    <a:pt x="2235" y="1"/>
                    <a:pt x="207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9" name="Google Shape;49;p2"/>
            <p:cNvSpPr/>
            <p:nvPr/>
          </p:nvSpPr>
          <p:spPr>
            <a:xfrm>
              <a:off x="5298065" y="1210405"/>
              <a:ext cx="73071" cy="64017"/>
            </a:xfrm>
            <a:custGeom>
              <a:avLst/>
              <a:gdLst/>
              <a:ahLst/>
              <a:cxnLst/>
              <a:rect l="l" t="t" r="r" b="b"/>
              <a:pathLst>
                <a:path w="2502" h="2192" extrusionOk="0">
                  <a:moveTo>
                    <a:pt x="474" y="0"/>
                  </a:moveTo>
                  <a:cubicBezTo>
                    <a:pt x="449" y="0"/>
                    <a:pt x="414" y="11"/>
                    <a:pt x="367" y="35"/>
                  </a:cubicBezTo>
                  <a:cubicBezTo>
                    <a:pt x="350" y="26"/>
                    <a:pt x="332" y="22"/>
                    <a:pt x="312" y="22"/>
                  </a:cubicBezTo>
                  <a:cubicBezTo>
                    <a:pt x="255" y="22"/>
                    <a:pt x="192" y="60"/>
                    <a:pt x="167" y="135"/>
                  </a:cubicBezTo>
                  <a:cubicBezTo>
                    <a:pt x="34" y="468"/>
                    <a:pt x="0" y="835"/>
                    <a:pt x="34" y="1202"/>
                  </a:cubicBezTo>
                  <a:cubicBezTo>
                    <a:pt x="67" y="1402"/>
                    <a:pt x="167" y="1636"/>
                    <a:pt x="300" y="1803"/>
                  </a:cubicBezTo>
                  <a:cubicBezTo>
                    <a:pt x="400" y="2003"/>
                    <a:pt x="667" y="2136"/>
                    <a:pt x="867" y="2170"/>
                  </a:cubicBezTo>
                  <a:cubicBezTo>
                    <a:pt x="950" y="2183"/>
                    <a:pt x="1045" y="2192"/>
                    <a:pt x="1141" y="2192"/>
                  </a:cubicBezTo>
                  <a:cubicBezTo>
                    <a:pt x="1277" y="2192"/>
                    <a:pt x="1417" y="2175"/>
                    <a:pt x="1535" y="2136"/>
                  </a:cubicBezTo>
                  <a:cubicBezTo>
                    <a:pt x="1801" y="2036"/>
                    <a:pt x="1968" y="1936"/>
                    <a:pt x="2102" y="1769"/>
                  </a:cubicBezTo>
                  <a:cubicBezTo>
                    <a:pt x="2335" y="1436"/>
                    <a:pt x="2469" y="1102"/>
                    <a:pt x="2502" y="702"/>
                  </a:cubicBezTo>
                  <a:cubicBezTo>
                    <a:pt x="2502" y="635"/>
                    <a:pt x="2469" y="569"/>
                    <a:pt x="2435" y="535"/>
                  </a:cubicBezTo>
                  <a:cubicBezTo>
                    <a:pt x="2394" y="521"/>
                    <a:pt x="2358" y="513"/>
                    <a:pt x="2326" y="513"/>
                  </a:cubicBezTo>
                  <a:cubicBezTo>
                    <a:pt x="2280" y="513"/>
                    <a:pt x="2241" y="529"/>
                    <a:pt x="2202" y="569"/>
                  </a:cubicBezTo>
                  <a:cubicBezTo>
                    <a:pt x="2035" y="835"/>
                    <a:pt x="1868" y="1136"/>
                    <a:pt x="1668" y="1302"/>
                  </a:cubicBezTo>
                  <a:cubicBezTo>
                    <a:pt x="1513" y="1432"/>
                    <a:pt x="1378" y="1481"/>
                    <a:pt x="1201" y="1481"/>
                  </a:cubicBezTo>
                  <a:cubicBezTo>
                    <a:pt x="1149" y="1481"/>
                    <a:pt x="1094" y="1477"/>
                    <a:pt x="1034" y="1469"/>
                  </a:cubicBezTo>
                  <a:cubicBezTo>
                    <a:pt x="834" y="1436"/>
                    <a:pt x="701" y="1302"/>
                    <a:pt x="634" y="1002"/>
                  </a:cubicBezTo>
                  <a:cubicBezTo>
                    <a:pt x="601" y="702"/>
                    <a:pt x="534" y="435"/>
                    <a:pt x="534" y="102"/>
                  </a:cubicBezTo>
                  <a:cubicBezTo>
                    <a:pt x="534" y="37"/>
                    <a:pt x="520" y="0"/>
                    <a:pt x="47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0" name="Google Shape;50;p2"/>
            <p:cNvSpPr/>
            <p:nvPr/>
          </p:nvSpPr>
          <p:spPr>
            <a:xfrm>
              <a:off x="5051275" y="1329650"/>
              <a:ext cx="444500" cy="158550"/>
            </a:xfrm>
            <a:custGeom>
              <a:avLst/>
              <a:gdLst/>
              <a:ahLst/>
              <a:cxnLst/>
              <a:rect l="l" t="t" r="r" b="b"/>
              <a:pathLst>
                <a:path w="17780" h="6342" extrusionOk="0">
                  <a:moveTo>
                    <a:pt x="173" y="1"/>
                  </a:moveTo>
                  <a:cubicBezTo>
                    <a:pt x="116" y="1"/>
                    <a:pt x="75" y="29"/>
                    <a:pt x="34" y="70"/>
                  </a:cubicBezTo>
                  <a:cubicBezTo>
                    <a:pt x="1" y="170"/>
                    <a:pt x="1" y="304"/>
                    <a:pt x="101" y="371"/>
                  </a:cubicBezTo>
                  <a:cubicBezTo>
                    <a:pt x="1335" y="1338"/>
                    <a:pt x="2669" y="2072"/>
                    <a:pt x="4104" y="2806"/>
                  </a:cubicBezTo>
                  <a:cubicBezTo>
                    <a:pt x="5505" y="3506"/>
                    <a:pt x="6906" y="4073"/>
                    <a:pt x="8440" y="4540"/>
                  </a:cubicBezTo>
                  <a:cubicBezTo>
                    <a:pt x="9874" y="5007"/>
                    <a:pt x="11375" y="5407"/>
                    <a:pt x="12943" y="5741"/>
                  </a:cubicBezTo>
                  <a:cubicBezTo>
                    <a:pt x="14444" y="6075"/>
                    <a:pt x="15979" y="6341"/>
                    <a:pt x="17546" y="6341"/>
                  </a:cubicBezTo>
                  <a:cubicBezTo>
                    <a:pt x="17680" y="6341"/>
                    <a:pt x="17780" y="6241"/>
                    <a:pt x="17780" y="6175"/>
                  </a:cubicBezTo>
                  <a:cubicBezTo>
                    <a:pt x="17780" y="6075"/>
                    <a:pt x="17713" y="5975"/>
                    <a:pt x="17613" y="5975"/>
                  </a:cubicBezTo>
                  <a:cubicBezTo>
                    <a:pt x="16846" y="5874"/>
                    <a:pt x="16112" y="5741"/>
                    <a:pt x="15345" y="5574"/>
                  </a:cubicBezTo>
                  <a:cubicBezTo>
                    <a:pt x="14611" y="5474"/>
                    <a:pt x="13844" y="5307"/>
                    <a:pt x="13110" y="5074"/>
                  </a:cubicBezTo>
                  <a:cubicBezTo>
                    <a:pt x="11609" y="4707"/>
                    <a:pt x="10141" y="4240"/>
                    <a:pt x="8673" y="3806"/>
                  </a:cubicBezTo>
                  <a:cubicBezTo>
                    <a:pt x="7206" y="3339"/>
                    <a:pt x="5805" y="2739"/>
                    <a:pt x="4370" y="2172"/>
                  </a:cubicBezTo>
                  <a:cubicBezTo>
                    <a:pt x="3670" y="1838"/>
                    <a:pt x="2969" y="1505"/>
                    <a:pt x="2302" y="1171"/>
                  </a:cubicBezTo>
                  <a:cubicBezTo>
                    <a:pt x="1635" y="804"/>
                    <a:pt x="935" y="404"/>
                    <a:pt x="301" y="37"/>
                  </a:cubicBezTo>
                  <a:cubicBezTo>
                    <a:pt x="250" y="11"/>
                    <a:pt x="209" y="1"/>
                    <a:pt x="173" y="1"/>
                  </a:cubicBezTo>
                  <a:close/>
                </a:path>
              </a:pathLst>
            </a:custGeom>
            <a:solidFill>
              <a:srgbClr val="897E7E"/>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21243487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bg>
      <p:bgPr>
        <a:blipFill>
          <a:blip r:embed="rId2">
            <a:alphaModFix/>
          </a:blip>
          <a:stretch>
            <a:fillRect/>
          </a:stretch>
        </a:blipFill>
        <a:effectLst/>
      </p:bgPr>
    </p:bg>
    <p:spTree>
      <p:nvGrpSpPr>
        <p:cNvPr id="1" name="Shape 51"/>
        <p:cNvGrpSpPr/>
        <p:nvPr/>
      </p:nvGrpSpPr>
      <p:grpSpPr>
        <a:xfrm>
          <a:off x="0" y="0"/>
          <a:ext cx="0" cy="0"/>
          <a:chOff x="0" y="0"/>
          <a:chExt cx="0" cy="0"/>
        </a:xfrm>
      </p:grpSpPr>
      <p:sp>
        <p:nvSpPr>
          <p:cNvPr id="52" name="Google Shape;52;p3"/>
          <p:cNvSpPr txBox="1">
            <a:spLocks noGrp="1"/>
          </p:cNvSpPr>
          <p:nvPr>
            <p:ph type="ctrTitle"/>
          </p:nvPr>
        </p:nvSpPr>
        <p:spPr>
          <a:xfrm>
            <a:off x="6256300" y="3349767"/>
            <a:ext cx="4868800" cy="770400"/>
          </a:xfrm>
          <a:prstGeom prst="rect">
            <a:avLst/>
          </a:prstGeom>
        </p:spPr>
        <p:txBody>
          <a:bodyPr spcFirstLastPara="1" wrap="square" lIns="91425" tIns="91425" rIns="91425" bIns="91425" anchor="b" anchorCtr="0">
            <a:normAutofit/>
          </a:bodyPr>
          <a:lstStyle>
            <a:lvl1pPr lvl="0" rtl="0">
              <a:spcBef>
                <a:spcPts val="0"/>
              </a:spcBef>
              <a:spcAft>
                <a:spcPts val="0"/>
              </a:spcAft>
              <a:buSzPts val="3200"/>
              <a:buNone/>
              <a:defRPr sz="7066"/>
            </a:lvl1pPr>
            <a:lvl2pPr lvl="1" algn="ctr" rtl="0">
              <a:spcBef>
                <a:spcPts val="0"/>
              </a:spcBef>
              <a:spcAft>
                <a:spcPts val="0"/>
              </a:spcAft>
              <a:buClr>
                <a:srgbClr val="233C4F"/>
              </a:buClr>
              <a:buSzPts val="1800"/>
              <a:buNone/>
              <a:defRPr sz="2400">
                <a:solidFill>
                  <a:srgbClr val="233C4F"/>
                </a:solidFill>
              </a:defRPr>
            </a:lvl2pPr>
            <a:lvl3pPr lvl="2" algn="ctr" rtl="0">
              <a:spcBef>
                <a:spcPts val="0"/>
              </a:spcBef>
              <a:spcAft>
                <a:spcPts val="0"/>
              </a:spcAft>
              <a:buClr>
                <a:srgbClr val="233C4F"/>
              </a:buClr>
              <a:buSzPts val="1800"/>
              <a:buNone/>
              <a:defRPr sz="2400">
                <a:solidFill>
                  <a:srgbClr val="233C4F"/>
                </a:solidFill>
              </a:defRPr>
            </a:lvl3pPr>
            <a:lvl4pPr lvl="3" algn="ctr" rtl="0">
              <a:spcBef>
                <a:spcPts val="0"/>
              </a:spcBef>
              <a:spcAft>
                <a:spcPts val="0"/>
              </a:spcAft>
              <a:buClr>
                <a:srgbClr val="233C4F"/>
              </a:buClr>
              <a:buSzPts val="1800"/>
              <a:buNone/>
              <a:defRPr sz="2400">
                <a:solidFill>
                  <a:srgbClr val="233C4F"/>
                </a:solidFill>
              </a:defRPr>
            </a:lvl4pPr>
            <a:lvl5pPr lvl="4" algn="ctr" rtl="0">
              <a:spcBef>
                <a:spcPts val="0"/>
              </a:spcBef>
              <a:spcAft>
                <a:spcPts val="0"/>
              </a:spcAft>
              <a:buClr>
                <a:srgbClr val="233C4F"/>
              </a:buClr>
              <a:buSzPts val="1800"/>
              <a:buNone/>
              <a:defRPr sz="2400">
                <a:solidFill>
                  <a:srgbClr val="233C4F"/>
                </a:solidFill>
              </a:defRPr>
            </a:lvl5pPr>
            <a:lvl6pPr lvl="5" algn="ctr" rtl="0">
              <a:spcBef>
                <a:spcPts val="0"/>
              </a:spcBef>
              <a:spcAft>
                <a:spcPts val="0"/>
              </a:spcAft>
              <a:buClr>
                <a:srgbClr val="233C4F"/>
              </a:buClr>
              <a:buSzPts val="1800"/>
              <a:buNone/>
              <a:defRPr sz="2400">
                <a:solidFill>
                  <a:srgbClr val="233C4F"/>
                </a:solidFill>
              </a:defRPr>
            </a:lvl6pPr>
            <a:lvl7pPr lvl="6" algn="ctr" rtl="0">
              <a:spcBef>
                <a:spcPts val="0"/>
              </a:spcBef>
              <a:spcAft>
                <a:spcPts val="0"/>
              </a:spcAft>
              <a:buClr>
                <a:srgbClr val="233C4F"/>
              </a:buClr>
              <a:buSzPts val="1800"/>
              <a:buNone/>
              <a:defRPr sz="2400">
                <a:solidFill>
                  <a:srgbClr val="233C4F"/>
                </a:solidFill>
              </a:defRPr>
            </a:lvl7pPr>
            <a:lvl8pPr lvl="7" algn="ctr" rtl="0">
              <a:spcBef>
                <a:spcPts val="0"/>
              </a:spcBef>
              <a:spcAft>
                <a:spcPts val="0"/>
              </a:spcAft>
              <a:buClr>
                <a:srgbClr val="233C4F"/>
              </a:buClr>
              <a:buSzPts val="1800"/>
              <a:buNone/>
              <a:defRPr sz="2400">
                <a:solidFill>
                  <a:srgbClr val="233C4F"/>
                </a:solidFill>
              </a:defRPr>
            </a:lvl8pPr>
            <a:lvl9pPr lvl="8" algn="ctr" rtl="0">
              <a:spcBef>
                <a:spcPts val="0"/>
              </a:spcBef>
              <a:spcAft>
                <a:spcPts val="0"/>
              </a:spcAft>
              <a:buClr>
                <a:srgbClr val="233C4F"/>
              </a:buClr>
              <a:buSzPts val="1800"/>
              <a:buNone/>
              <a:defRPr sz="2400">
                <a:solidFill>
                  <a:srgbClr val="233C4F"/>
                </a:solidFill>
              </a:defRPr>
            </a:lvl9pPr>
          </a:lstStyle>
          <a:p>
            <a:endParaRPr/>
          </a:p>
        </p:txBody>
      </p:sp>
      <p:sp>
        <p:nvSpPr>
          <p:cNvPr id="53" name="Google Shape;53;p3"/>
          <p:cNvSpPr txBox="1">
            <a:spLocks noGrp="1"/>
          </p:cNvSpPr>
          <p:nvPr>
            <p:ph type="subTitle" idx="1"/>
          </p:nvPr>
        </p:nvSpPr>
        <p:spPr>
          <a:xfrm>
            <a:off x="6256433" y="4075900"/>
            <a:ext cx="3510800" cy="770400"/>
          </a:xfrm>
          <a:prstGeom prst="rect">
            <a:avLst/>
          </a:prstGeom>
        </p:spPr>
        <p:txBody>
          <a:bodyPr spcFirstLastPara="1" wrap="square" lIns="91425" tIns="91425" rIns="91425" bIns="91425" anchor="t" anchorCtr="0">
            <a:normAutofit/>
          </a:bodyPr>
          <a:lstStyle>
            <a:lvl1pPr lvl="0" rtl="0">
              <a:lnSpc>
                <a:spcPct val="80000"/>
              </a:lnSpc>
              <a:spcBef>
                <a:spcPts val="0"/>
              </a:spcBef>
              <a:spcAft>
                <a:spcPts val="0"/>
              </a:spcAft>
              <a:buSzPts val="1300"/>
              <a:buNone/>
              <a:defRPr b="0"/>
            </a:lvl1pPr>
            <a:lvl2pPr lvl="1" algn="ctr" rtl="0">
              <a:lnSpc>
                <a:spcPct val="100000"/>
              </a:lnSpc>
              <a:spcBef>
                <a:spcPts val="0"/>
              </a:spcBef>
              <a:spcAft>
                <a:spcPts val="0"/>
              </a:spcAft>
              <a:buClr>
                <a:srgbClr val="541C1D"/>
              </a:buClr>
              <a:buSzPts val="1600"/>
              <a:buNone/>
              <a:defRPr>
                <a:solidFill>
                  <a:srgbClr val="541C1D"/>
                </a:solidFill>
              </a:defRPr>
            </a:lvl2pPr>
            <a:lvl3pPr lvl="2" algn="ctr" rtl="0">
              <a:lnSpc>
                <a:spcPct val="100000"/>
              </a:lnSpc>
              <a:spcBef>
                <a:spcPts val="0"/>
              </a:spcBef>
              <a:spcAft>
                <a:spcPts val="0"/>
              </a:spcAft>
              <a:buClr>
                <a:srgbClr val="541C1D"/>
              </a:buClr>
              <a:buSzPts val="1600"/>
              <a:buNone/>
              <a:defRPr>
                <a:solidFill>
                  <a:srgbClr val="541C1D"/>
                </a:solidFill>
              </a:defRPr>
            </a:lvl3pPr>
            <a:lvl4pPr lvl="3" algn="ctr" rtl="0">
              <a:lnSpc>
                <a:spcPct val="100000"/>
              </a:lnSpc>
              <a:spcBef>
                <a:spcPts val="0"/>
              </a:spcBef>
              <a:spcAft>
                <a:spcPts val="0"/>
              </a:spcAft>
              <a:buClr>
                <a:srgbClr val="541C1D"/>
              </a:buClr>
              <a:buSzPts val="1600"/>
              <a:buNone/>
              <a:defRPr>
                <a:solidFill>
                  <a:srgbClr val="541C1D"/>
                </a:solidFill>
              </a:defRPr>
            </a:lvl4pPr>
            <a:lvl5pPr lvl="4" algn="ctr" rtl="0">
              <a:lnSpc>
                <a:spcPct val="100000"/>
              </a:lnSpc>
              <a:spcBef>
                <a:spcPts val="0"/>
              </a:spcBef>
              <a:spcAft>
                <a:spcPts val="0"/>
              </a:spcAft>
              <a:buClr>
                <a:srgbClr val="541C1D"/>
              </a:buClr>
              <a:buSzPts val="1600"/>
              <a:buNone/>
              <a:defRPr>
                <a:solidFill>
                  <a:srgbClr val="541C1D"/>
                </a:solidFill>
              </a:defRPr>
            </a:lvl5pPr>
            <a:lvl6pPr lvl="5" algn="ctr" rtl="0">
              <a:lnSpc>
                <a:spcPct val="100000"/>
              </a:lnSpc>
              <a:spcBef>
                <a:spcPts val="0"/>
              </a:spcBef>
              <a:spcAft>
                <a:spcPts val="0"/>
              </a:spcAft>
              <a:buClr>
                <a:srgbClr val="541C1D"/>
              </a:buClr>
              <a:buSzPts val="1600"/>
              <a:buNone/>
              <a:defRPr>
                <a:solidFill>
                  <a:srgbClr val="541C1D"/>
                </a:solidFill>
              </a:defRPr>
            </a:lvl6pPr>
            <a:lvl7pPr lvl="6" algn="ctr" rtl="0">
              <a:lnSpc>
                <a:spcPct val="100000"/>
              </a:lnSpc>
              <a:spcBef>
                <a:spcPts val="0"/>
              </a:spcBef>
              <a:spcAft>
                <a:spcPts val="0"/>
              </a:spcAft>
              <a:buClr>
                <a:srgbClr val="541C1D"/>
              </a:buClr>
              <a:buSzPts val="1600"/>
              <a:buNone/>
              <a:defRPr>
                <a:solidFill>
                  <a:srgbClr val="541C1D"/>
                </a:solidFill>
              </a:defRPr>
            </a:lvl7pPr>
            <a:lvl8pPr lvl="7" algn="ctr" rtl="0">
              <a:lnSpc>
                <a:spcPct val="100000"/>
              </a:lnSpc>
              <a:spcBef>
                <a:spcPts val="0"/>
              </a:spcBef>
              <a:spcAft>
                <a:spcPts val="0"/>
              </a:spcAft>
              <a:buClr>
                <a:srgbClr val="541C1D"/>
              </a:buClr>
              <a:buSzPts val="1600"/>
              <a:buNone/>
              <a:defRPr>
                <a:solidFill>
                  <a:srgbClr val="541C1D"/>
                </a:solidFill>
              </a:defRPr>
            </a:lvl8pPr>
            <a:lvl9pPr lvl="8" algn="ctr" rtl="0">
              <a:lnSpc>
                <a:spcPct val="100000"/>
              </a:lnSpc>
              <a:spcBef>
                <a:spcPts val="0"/>
              </a:spcBef>
              <a:spcAft>
                <a:spcPts val="0"/>
              </a:spcAft>
              <a:buClr>
                <a:srgbClr val="541C1D"/>
              </a:buClr>
              <a:buSzPts val="1600"/>
              <a:buNone/>
              <a:defRPr>
                <a:solidFill>
                  <a:srgbClr val="541C1D"/>
                </a:solidFill>
              </a:defRPr>
            </a:lvl9pPr>
          </a:lstStyle>
          <a:p>
            <a:endParaRPr/>
          </a:p>
        </p:txBody>
      </p:sp>
      <p:sp>
        <p:nvSpPr>
          <p:cNvPr id="54" name="Google Shape;54;p3"/>
          <p:cNvSpPr txBox="1">
            <a:spLocks noGrp="1"/>
          </p:cNvSpPr>
          <p:nvPr>
            <p:ph type="title" idx="2" hasCustomPrompt="1"/>
          </p:nvPr>
        </p:nvSpPr>
        <p:spPr>
          <a:xfrm>
            <a:off x="6256200" y="2470133"/>
            <a:ext cx="4868800" cy="770400"/>
          </a:xfrm>
          <a:prstGeom prst="rect">
            <a:avLst/>
          </a:prstGeom>
          <a:noFill/>
        </p:spPr>
        <p:txBody>
          <a:bodyPr spcFirstLastPara="1" wrap="square" lIns="91425" tIns="91425" rIns="91425" bIns="91425" anchor="ctr" anchorCtr="0">
            <a:normAutofit/>
          </a:bodyPr>
          <a:lstStyle>
            <a:lvl1pPr lvl="0" rtl="0">
              <a:spcBef>
                <a:spcPts val="0"/>
              </a:spcBef>
              <a:spcAft>
                <a:spcPts val="0"/>
              </a:spcAft>
              <a:buSzPts val="5500"/>
              <a:buNone/>
              <a:defRPr sz="6400"/>
            </a:lvl1pPr>
            <a:lvl2pPr lvl="1"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2pPr>
            <a:lvl3pPr lvl="2"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3pPr>
            <a:lvl4pPr lvl="3"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4pPr>
            <a:lvl5pPr lvl="4"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5pPr>
            <a:lvl6pPr lvl="5"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6pPr>
            <a:lvl7pPr lvl="6"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7pPr>
            <a:lvl8pPr lvl="7"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8pPr>
            <a:lvl9pPr lvl="8"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9pPr>
          </a:lstStyle>
          <a:p>
            <a:r>
              <a:t>xx%</a:t>
            </a:r>
          </a:p>
        </p:txBody>
      </p:sp>
      <p:sp>
        <p:nvSpPr>
          <p:cNvPr id="55" name="Google Shape;55;p3"/>
          <p:cNvSpPr/>
          <p:nvPr/>
        </p:nvSpPr>
        <p:spPr>
          <a:xfrm rot="344346">
            <a:off x="640603" y="873998"/>
            <a:ext cx="13558403" cy="2844469"/>
          </a:xfrm>
          <a:custGeom>
            <a:avLst/>
            <a:gdLst/>
            <a:ahLst/>
            <a:cxnLst/>
            <a:rect l="l" t="t" r="r" b="b"/>
            <a:pathLst>
              <a:path w="406747" h="85333" extrusionOk="0">
                <a:moveTo>
                  <a:pt x="26611" y="43450"/>
                </a:moveTo>
                <a:cubicBezTo>
                  <a:pt x="22593" y="44990"/>
                  <a:pt x="-8550" y="50482"/>
                  <a:pt x="2500" y="52692"/>
                </a:cubicBezTo>
                <a:cubicBezTo>
                  <a:pt x="13551" y="54902"/>
                  <a:pt x="40073" y="63542"/>
                  <a:pt x="92914" y="56711"/>
                </a:cubicBezTo>
                <a:cubicBezTo>
                  <a:pt x="145756" y="49880"/>
                  <a:pt x="284857" y="6950"/>
                  <a:pt x="319549" y="11705"/>
                </a:cubicBezTo>
                <a:cubicBezTo>
                  <a:pt x="354241" y="16460"/>
                  <a:pt x="308432" y="86714"/>
                  <a:pt x="301065" y="85241"/>
                </a:cubicBezTo>
                <a:cubicBezTo>
                  <a:pt x="293698" y="83768"/>
                  <a:pt x="257733" y="13916"/>
                  <a:pt x="275347" y="2865"/>
                </a:cubicBezTo>
                <a:cubicBezTo>
                  <a:pt x="292961" y="-8185"/>
                  <a:pt x="384847" y="16259"/>
                  <a:pt x="406747" y="18938"/>
                </a:cubicBezTo>
              </a:path>
            </a:pathLst>
          </a:custGeom>
          <a:noFill/>
          <a:ln w="19050" cap="flat" cmpd="sng">
            <a:solidFill>
              <a:schemeClr val="dk2"/>
            </a:solidFill>
            <a:prstDash val="dash"/>
            <a:round/>
            <a:headEnd type="none" w="med" len="med"/>
            <a:tailEnd type="none" w="med" len="med"/>
          </a:ln>
        </p:spPr>
      </p:sp>
      <p:sp>
        <p:nvSpPr>
          <p:cNvPr id="56" name="Google Shape;56;p3"/>
          <p:cNvSpPr/>
          <p:nvPr/>
        </p:nvSpPr>
        <p:spPr>
          <a:xfrm>
            <a:off x="10157385" y="5647695"/>
            <a:ext cx="132647" cy="116940"/>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57" name="Google Shape;57;p3"/>
          <p:cNvSpPr/>
          <p:nvPr/>
        </p:nvSpPr>
        <p:spPr>
          <a:xfrm>
            <a:off x="10157396" y="5140489"/>
            <a:ext cx="344784" cy="303995"/>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58" name="Google Shape;58;p3"/>
          <p:cNvGrpSpPr/>
          <p:nvPr/>
        </p:nvGrpSpPr>
        <p:grpSpPr>
          <a:xfrm rot="1056892">
            <a:off x="7463891" y="734917"/>
            <a:ext cx="2012171" cy="1280992"/>
            <a:chOff x="3908800" y="4074100"/>
            <a:chExt cx="1374325" cy="874925"/>
          </a:xfrm>
        </p:grpSpPr>
        <p:sp>
          <p:nvSpPr>
            <p:cNvPr id="59" name="Google Shape;59;p3"/>
            <p:cNvSpPr/>
            <p:nvPr/>
          </p:nvSpPr>
          <p:spPr>
            <a:xfrm>
              <a:off x="3908800" y="4074100"/>
              <a:ext cx="1374325" cy="874925"/>
            </a:xfrm>
            <a:custGeom>
              <a:avLst/>
              <a:gdLst/>
              <a:ahLst/>
              <a:cxnLst/>
              <a:rect l="l" t="t" r="r" b="b"/>
              <a:pathLst>
                <a:path w="54973" h="34997" extrusionOk="0">
                  <a:moveTo>
                    <a:pt x="48538" y="1"/>
                  </a:moveTo>
                  <a:cubicBezTo>
                    <a:pt x="46825" y="1"/>
                    <a:pt x="34" y="22856"/>
                    <a:pt x="34" y="23187"/>
                  </a:cubicBezTo>
                  <a:cubicBezTo>
                    <a:pt x="0" y="23855"/>
                    <a:pt x="4637" y="34896"/>
                    <a:pt x="5538" y="34996"/>
                  </a:cubicBezTo>
                  <a:cubicBezTo>
                    <a:pt x="5544" y="34997"/>
                    <a:pt x="5551" y="34997"/>
                    <a:pt x="5559" y="34997"/>
                  </a:cubicBezTo>
                  <a:cubicBezTo>
                    <a:pt x="7676" y="34997"/>
                    <a:pt x="53208" y="12608"/>
                    <a:pt x="54072" y="11212"/>
                  </a:cubicBezTo>
                  <a:cubicBezTo>
                    <a:pt x="54973" y="9845"/>
                    <a:pt x="49636" y="338"/>
                    <a:pt x="48568" y="4"/>
                  </a:cubicBezTo>
                  <a:cubicBezTo>
                    <a:pt x="48561" y="2"/>
                    <a:pt x="48551" y="1"/>
                    <a:pt x="48538" y="1"/>
                  </a:cubicBezTo>
                  <a:close/>
                </a:path>
              </a:pathLst>
            </a:custGeom>
            <a:solidFill>
              <a:schemeClr val="accent4"/>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0" name="Google Shape;60;p3"/>
            <p:cNvSpPr/>
            <p:nvPr/>
          </p:nvSpPr>
          <p:spPr>
            <a:xfrm>
              <a:off x="3980525" y="4608950"/>
              <a:ext cx="56725" cy="119900"/>
            </a:xfrm>
            <a:custGeom>
              <a:avLst/>
              <a:gdLst/>
              <a:ahLst/>
              <a:cxnLst/>
              <a:rect l="l" t="t" r="r" b="b"/>
              <a:pathLst>
                <a:path w="2269" h="4796" extrusionOk="0">
                  <a:moveTo>
                    <a:pt x="259" y="1"/>
                  </a:moveTo>
                  <a:cubicBezTo>
                    <a:pt x="225" y="1"/>
                    <a:pt x="193" y="19"/>
                    <a:pt x="167" y="59"/>
                  </a:cubicBezTo>
                  <a:cubicBezTo>
                    <a:pt x="67" y="126"/>
                    <a:pt x="0" y="192"/>
                    <a:pt x="67" y="326"/>
                  </a:cubicBezTo>
                  <a:cubicBezTo>
                    <a:pt x="367" y="1093"/>
                    <a:pt x="701" y="1793"/>
                    <a:pt x="1067" y="2561"/>
                  </a:cubicBezTo>
                  <a:cubicBezTo>
                    <a:pt x="1401" y="3295"/>
                    <a:pt x="1735" y="4062"/>
                    <a:pt x="2102" y="4762"/>
                  </a:cubicBezTo>
                  <a:cubicBezTo>
                    <a:pt x="2135" y="4796"/>
                    <a:pt x="2168" y="4796"/>
                    <a:pt x="2235" y="4796"/>
                  </a:cubicBezTo>
                  <a:cubicBezTo>
                    <a:pt x="2268" y="4762"/>
                    <a:pt x="2268" y="4729"/>
                    <a:pt x="2268" y="4662"/>
                  </a:cubicBezTo>
                  <a:cubicBezTo>
                    <a:pt x="2001" y="3895"/>
                    <a:pt x="1735" y="3128"/>
                    <a:pt x="1401" y="2394"/>
                  </a:cubicBezTo>
                  <a:cubicBezTo>
                    <a:pt x="1067" y="1627"/>
                    <a:pt x="767" y="893"/>
                    <a:pt x="434" y="126"/>
                  </a:cubicBezTo>
                  <a:cubicBezTo>
                    <a:pt x="373" y="45"/>
                    <a:pt x="312" y="1"/>
                    <a:pt x="259"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1" name="Google Shape;61;p3"/>
            <p:cNvSpPr/>
            <p:nvPr/>
          </p:nvSpPr>
          <p:spPr>
            <a:xfrm>
              <a:off x="4022200" y="4590925"/>
              <a:ext cx="37550" cy="78725"/>
            </a:xfrm>
            <a:custGeom>
              <a:avLst/>
              <a:gdLst/>
              <a:ahLst/>
              <a:cxnLst/>
              <a:rect l="l" t="t" r="r" b="b"/>
              <a:pathLst>
                <a:path w="1502" h="3149" extrusionOk="0">
                  <a:moveTo>
                    <a:pt x="242" y="1"/>
                  </a:moveTo>
                  <a:cubicBezTo>
                    <a:pt x="217" y="1"/>
                    <a:pt x="191" y="5"/>
                    <a:pt x="168" y="13"/>
                  </a:cubicBezTo>
                  <a:cubicBezTo>
                    <a:pt x="34" y="79"/>
                    <a:pt x="1" y="179"/>
                    <a:pt x="34" y="313"/>
                  </a:cubicBezTo>
                  <a:cubicBezTo>
                    <a:pt x="268" y="813"/>
                    <a:pt x="468" y="1247"/>
                    <a:pt x="668" y="1714"/>
                  </a:cubicBezTo>
                  <a:cubicBezTo>
                    <a:pt x="868" y="2181"/>
                    <a:pt x="1102" y="2648"/>
                    <a:pt x="1335" y="3082"/>
                  </a:cubicBezTo>
                  <a:cubicBezTo>
                    <a:pt x="1369" y="3148"/>
                    <a:pt x="1435" y="3148"/>
                    <a:pt x="1469" y="3148"/>
                  </a:cubicBezTo>
                  <a:cubicBezTo>
                    <a:pt x="1502" y="3082"/>
                    <a:pt x="1502" y="3048"/>
                    <a:pt x="1502" y="3015"/>
                  </a:cubicBezTo>
                  <a:cubicBezTo>
                    <a:pt x="1369" y="2514"/>
                    <a:pt x="1202" y="2014"/>
                    <a:pt x="1002" y="1547"/>
                  </a:cubicBezTo>
                  <a:cubicBezTo>
                    <a:pt x="801" y="1113"/>
                    <a:pt x="635" y="613"/>
                    <a:pt x="435" y="146"/>
                  </a:cubicBezTo>
                  <a:cubicBezTo>
                    <a:pt x="409" y="44"/>
                    <a:pt x="325" y="1"/>
                    <a:pt x="242"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2" name="Google Shape;62;p3"/>
            <p:cNvSpPr/>
            <p:nvPr/>
          </p:nvSpPr>
          <p:spPr>
            <a:xfrm>
              <a:off x="4068075" y="4567050"/>
              <a:ext cx="37550" cy="78400"/>
            </a:xfrm>
            <a:custGeom>
              <a:avLst/>
              <a:gdLst/>
              <a:ahLst/>
              <a:cxnLst/>
              <a:rect l="l" t="t" r="r" b="b"/>
              <a:pathLst>
                <a:path w="1502" h="3136" extrusionOk="0">
                  <a:moveTo>
                    <a:pt x="167" y="0"/>
                  </a:moveTo>
                  <a:cubicBezTo>
                    <a:pt x="34" y="100"/>
                    <a:pt x="1" y="167"/>
                    <a:pt x="34" y="301"/>
                  </a:cubicBezTo>
                  <a:cubicBezTo>
                    <a:pt x="267" y="801"/>
                    <a:pt x="468" y="1268"/>
                    <a:pt x="668" y="1735"/>
                  </a:cubicBezTo>
                  <a:cubicBezTo>
                    <a:pt x="868" y="2169"/>
                    <a:pt x="1101" y="2636"/>
                    <a:pt x="1335" y="3103"/>
                  </a:cubicBezTo>
                  <a:cubicBezTo>
                    <a:pt x="1368" y="3136"/>
                    <a:pt x="1435" y="3136"/>
                    <a:pt x="1468" y="3136"/>
                  </a:cubicBezTo>
                  <a:cubicBezTo>
                    <a:pt x="1502" y="3103"/>
                    <a:pt x="1502" y="3069"/>
                    <a:pt x="1502" y="3002"/>
                  </a:cubicBezTo>
                  <a:cubicBezTo>
                    <a:pt x="1368" y="2502"/>
                    <a:pt x="1235" y="2002"/>
                    <a:pt x="1001" y="1568"/>
                  </a:cubicBezTo>
                  <a:cubicBezTo>
                    <a:pt x="801" y="1101"/>
                    <a:pt x="634" y="601"/>
                    <a:pt x="434" y="134"/>
                  </a:cubicBezTo>
                  <a:cubicBezTo>
                    <a:pt x="401" y="67"/>
                    <a:pt x="267" y="0"/>
                    <a:pt x="167"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3" name="Google Shape;63;p3"/>
            <p:cNvSpPr/>
            <p:nvPr/>
          </p:nvSpPr>
          <p:spPr>
            <a:xfrm>
              <a:off x="4114775" y="4543025"/>
              <a:ext cx="38375" cy="78250"/>
            </a:xfrm>
            <a:custGeom>
              <a:avLst/>
              <a:gdLst/>
              <a:ahLst/>
              <a:cxnLst/>
              <a:rect l="l" t="t" r="r" b="b"/>
              <a:pathLst>
                <a:path w="1535" h="3130" extrusionOk="0">
                  <a:moveTo>
                    <a:pt x="256" y="0"/>
                  </a:moveTo>
                  <a:cubicBezTo>
                    <a:pt x="226" y="0"/>
                    <a:pt x="195" y="9"/>
                    <a:pt x="167" y="27"/>
                  </a:cubicBezTo>
                  <a:cubicBezTo>
                    <a:pt x="67" y="94"/>
                    <a:pt x="1" y="194"/>
                    <a:pt x="67" y="294"/>
                  </a:cubicBezTo>
                  <a:cubicBezTo>
                    <a:pt x="267" y="795"/>
                    <a:pt x="468" y="1262"/>
                    <a:pt x="668" y="1729"/>
                  </a:cubicBezTo>
                  <a:cubicBezTo>
                    <a:pt x="901" y="2196"/>
                    <a:pt x="1101" y="2629"/>
                    <a:pt x="1335" y="3096"/>
                  </a:cubicBezTo>
                  <a:cubicBezTo>
                    <a:pt x="1402" y="3130"/>
                    <a:pt x="1435" y="3130"/>
                    <a:pt x="1468" y="3130"/>
                  </a:cubicBezTo>
                  <a:cubicBezTo>
                    <a:pt x="1535" y="3096"/>
                    <a:pt x="1535" y="3063"/>
                    <a:pt x="1535" y="3029"/>
                  </a:cubicBezTo>
                  <a:cubicBezTo>
                    <a:pt x="1402" y="2529"/>
                    <a:pt x="1235" y="2029"/>
                    <a:pt x="1035" y="1562"/>
                  </a:cubicBezTo>
                  <a:cubicBezTo>
                    <a:pt x="801" y="1095"/>
                    <a:pt x="634" y="594"/>
                    <a:pt x="434" y="127"/>
                  </a:cubicBezTo>
                  <a:cubicBezTo>
                    <a:pt x="410" y="55"/>
                    <a:pt x="334" y="0"/>
                    <a:pt x="256"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4" name="Google Shape;64;p3"/>
            <p:cNvSpPr/>
            <p:nvPr/>
          </p:nvSpPr>
          <p:spPr>
            <a:xfrm>
              <a:off x="4158150" y="4524525"/>
              <a:ext cx="37550" cy="78400"/>
            </a:xfrm>
            <a:custGeom>
              <a:avLst/>
              <a:gdLst/>
              <a:ahLst/>
              <a:cxnLst/>
              <a:rect l="l" t="t" r="r" b="b"/>
              <a:pathLst>
                <a:path w="1502" h="3136" extrusionOk="0">
                  <a:moveTo>
                    <a:pt x="167" y="0"/>
                  </a:moveTo>
                  <a:cubicBezTo>
                    <a:pt x="33" y="100"/>
                    <a:pt x="0" y="167"/>
                    <a:pt x="33" y="300"/>
                  </a:cubicBezTo>
                  <a:cubicBezTo>
                    <a:pt x="234" y="801"/>
                    <a:pt x="434" y="1234"/>
                    <a:pt x="667" y="1701"/>
                  </a:cubicBezTo>
                  <a:cubicBezTo>
                    <a:pt x="867" y="2168"/>
                    <a:pt x="1068" y="2635"/>
                    <a:pt x="1334" y="3102"/>
                  </a:cubicBezTo>
                  <a:cubicBezTo>
                    <a:pt x="1368" y="3136"/>
                    <a:pt x="1401" y="3136"/>
                    <a:pt x="1434" y="3136"/>
                  </a:cubicBezTo>
                  <a:cubicBezTo>
                    <a:pt x="1501" y="3102"/>
                    <a:pt x="1501" y="3036"/>
                    <a:pt x="1501" y="3002"/>
                  </a:cubicBezTo>
                  <a:cubicBezTo>
                    <a:pt x="1368" y="2502"/>
                    <a:pt x="1201" y="2002"/>
                    <a:pt x="1001" y="1535"/>
                  </a:cubicBezTo>
                  <a:cubicBezTo>
                    <a:pt x="767" y="1101"/>
                    <a:pt x="634" y="601"/>
                    <a:pt x="400" y="134"/>
                  </a:cubicBezTo>
                  <a:cubicBezTo>
                    <a:pt x="367" y="33"/>
                    <a:pt x="234" y="0"/>
                    <a:pt x="167"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5" name="Google Shape;65;p3"/>
            <p:cNvSpPr/>
            <p:nvPr/>
          </p:nvSpPr>
          <p:spPr>
            <a:xfrm>
              <a:off x="4195675" y="4503675"/>
              <a:ext cx="55900" cy="120100"/>
            </a:xfrm>
            <a:custGeom>
              <a:avLst/>
              <a:gdLst/>
              <a:ahLst/>
              <a:cxnLst/>
              <a:rect l="l" t="t" r="r" b="b"/>
              <a:pathLst>
                <a:path w="2236" h="4804" extrusionOk="0">
                  <a:moveTo>
                    <a:pt x="250" y="0"/>
                  </a:moveTo>
                  <a:cubicBezTo>
                    <a:pt x="219" y="0"/>
                    <a:pt x="189" y="11"/>
                    <a:pt x="167" y="33"/>
                  </a:cubicBezTo>
                  <a:cubicBezTo>
                    <a:pt x="34" y="134"/>
                    <a:pt x="0" y="200"/>
                    <a:pt x="34" y="334"/>
                  </a:cubicBezTo>
                  <a:cubicBezTo>
                    <a:pt x="367" y="1068"/>
                    <a:pt x="701" y="1801"/>
                    <a:pt x="1034" y="2535"/>
                  </a:cubicBezTo>
                  <a:cubicBezTo>
                    <a:pt x="1368" y="3303"/>
                    <a:pt x="1701" y="4036"/>
                    <a:pt x="2068" y="4770"/>
                  </a:cubicBezTo>
                  <a:cubicBezTo>
                    <a:pt x="2135" y="4804"/>
                    <a:pt x="2168" y="4804"/>
                    <a:pt x="2202" y="4804"/>
                  </a:cubicBezTo>
                  <a:cubicBezTo>
                    <a:pt x="2235" y="4770"/>
                    <a:pt x="2235" y="4704"/>
                    <a:pt x="2235" y="4670"/>
                  </a:cubicBezTo>
                  <a:cubicBezTo>
                    <a:pt x="2002" y="3870"/>
                    <a:pt x="1701" y="3136"/>
                    <a:pt x="1368" y="2369"/>
                  </a:cubicBezTo>
                  <a:cubicBezTo>
                    <a:pt x="1034" y="1635"/>
                    <a:pt x="734" y="867"/>
                    <a:pt x="400" y="134"/>
                  </a:cubicBezTo>
                  <a:cubicBezTo>
                    <a:pt x="378" y="45"/>
                    <a:pt x="312" y="0"/>
                    <a:pt x="250"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6" name="Google Shape;66;p3"/>
            <p:cNvSpPr/>
            <p:nvPr/>
          </p:nvSpPr>
          <p:spPr>
            <a:xfrm>
              <a:off x="4237375" y="4485925"/>
              <a:ext cx="37550" cy="78650"/>
            </a:xfrm>
            <a:custGeom>
              <a:avLst/>
              <a:gdLst/>
              <a:ahLst/>
              <a:cxnLst/>
              <a:rect l="l" t="t" r="r" b="b"/>
              <a:pathLst>
                <a:path w="1502" h="3146" extrusionOk="0">
                  <a:moveTo>
                    <a:pt x="208" y="1"/>
                  </a:moveTo>
                  <a:cubicBezTo>
                    <a:pt x="193" y="1"/>
                    <a:pt x="179" y="4"/>
                    <a:pt x="167" y="10"/>
                  </a:cubicBezTo>
                  <a:cubicBezTo>
                    <a:pt x="33" y="76"/>
                    <a:pt x="0" y="176"/>
                    <a:pt x="33" y="310"/>
                  </a:cubicBezTo>
                  <a:cubicBezTo>
                    <a:pt x="234" y="810"/>
                    <a:pt x="434" y="1244"/>
                    <a:pt x="667" y="1711"/>
                  </a:cubicBezTo>
                  <a:cubicBezTo>
                    <a:pt x="867" y="2178"/>
                    <a:pt x="1067" y="2612"/>
                    <a:pt x="1334" y="3079"/>
                  </a:cubicBezTo>
                  <a:cubicBezTo>
                    <a:pt x="1368" y="3145"/>
                    <a:pt x="1401" y="3145"/>
                    <a:pt x="1434" y="3145"/>
                  </a:cubicBezTo>
                  <a:cubicBezTo>
                    <a:pt x="1501" y="3079"/>
                    <a:pt x="1501" y="3045"/>
                    <a:pt x="1501" y="3012"/>
                  </a:cubicBezTo>
                  <a:cubicBezTo>
                    <a:pt x="1368" y="2511"/>
                    <a:pt x="1201" y="2011"/>
                    <a:pt x="1001" y="1544"/>
                  </a:cubicBezTo>
                  <a:cubicBezTo>
                    <a:pt x="801" y="1077"/>
                    <a:pt x="634" y="577"/>
                    <a:pt x="400" y="143"/>
                  </a:cubicBezTo>
                  <a:cubicBezTo>
                    <a:pt x="373" y="61"/>
                    <a:pt x="278" y="1"/>
                    <a:pt x="208"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7" name="Google Shape;67;p3"/>
            <p:cNvSpPr/>
            <p:nvPr/>
          </p:nvSpPr>
          <p:spPr>
            <a:xfrm>
              <a:off x="4284075" y="4462500"/>
              <a:ext cx="37550" cy="78725"/>
            </a:xfrm>
            <a:custGeom>
              <a:avLst/>
              <a:gdLst/>
              <a:ahLst/>
              <a:cxnLst/>
              <a:rect l="l" t="t" r="r" b="b"/>
              <a:pathLst>
                <a:path w="1502" h="3149" extrusionOk="0">
                  <a:moveTo>
                    <a:pt x="219" y="1"/>
                  </a:moveTo>
                  <a:cubicBezTo>
                    <a:pt x="200" y="1"/>
                    <a:pt x="183" y="5"/>
                    <a:pt x="167" y="13"/>
                  </a:cubicBezTo>
                  <a:cubicBezTo>
                    <a:pt x="33" y="113"/>
                    <a:pt x="0" y="179"/>
                    <a:pt x="33" y="313"/>
                  </a:cubicBezTo>
                  <a:cubicBezTo>
                    <a:pt x="234" y="813"/>
                    <a:pt x="467" y="1280"/>
                    <a:pt x="667" y="1747"/>
                  </a:cubicBezTo>
                  <a:cubicBezTo>
                    <a:pt x="867" y="2181"/>
                    <a:pt x="1067" y="2648"/>
                    <a:pt x="1334" y="3115"/>
                  </a:cubicBezTo>
                  <a:cubicBezTo>
                    <a:pt x="1368" y="3148"/>
                    <a:pt x="1401" y="3148"/>
                    <a:pt x="1468" y="3148"/>
                  </a:cubicBezTo>
                  <a:cubicBezTo>
                    <a:pt x="1501" y="3115"/>
                    <a:pt x="1501" y="3082"/>
                    <a:pt x="1501" y="3015"/>
                  </a:cubicBezTo>
                  <a:cubicBezTo>
                    <a:pt x="1368" y="2514"/>
                    <a:pt x="1201" y="2014"/>
                    <a:pt x="1001" y="1580"/>
                  </a:cubicBezTo>
                  <a:cubicBezTo>
                    <a:pt x="801" y="1113"/>
                    <a:pt x="634" y="613"/>
                    <a:pt x="434" y="146"/>
                  </a:cubicBezTo>
                  <a:cubicBezTo>
                    <a:pt x="357" y="44"/>
                    <a:pt x="281" y="1"/>
                    <a:pt x="219"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8" name="Google Shape;68;p3"/>
            <p:cNvSpPr/>
            <p:nvPr/>
          </p:nvSpPr>
          <p:spPr>
            <a:xfrm>
              <a:off x="4329925" y="4437625"/>
              <a:ext cx="37550" cy="78575"/>
            </a:xfrm>
            <a:custGeom>
              <a:avLst/>
              <a:gdLst/>
              <a:ahLst/>
              <a:cxnLst/>
              <a:rect l="l" t="t" r="r" b="b"/>
              <a:pathLst>
                <a:path w="1502" h="3143" extrusionOk="0">
                  <a:moveTo>
                    <a:pt x="208" y="0"/>
                  </a:moveTo>
                  <a:cubicBezTo>
                    <a:pt x="195" y="0"/>
                    <a:pt x="181" y="2"/>
                    <a:pt x="167" y="7"/>
                  </a:cubicBezTo>
                  <a:cubicBezTo>
                    <a:pt x="34" y="107"/>
                    <a:pt x="1" y="174"/>
                    <a:pt x="34" y="307"/>
                  </a:cubicBezTo>
                  <a:cubicBezTo>
                    <a:pt x="234" y="807"/>
                    <a:pt x="468" y="1274"/>
                    <a:pt x="668" y="1708"/>
                  </a:cubicBezTo>
                  <a:cubicBezTo>
                    <a:pt x="868" y="2175"/>
                    <a:pt x="1068" y="2642"/>
                    <a:pt x="1335" y="3109"/>
                  </a:cubicBezTo>
                  <a:cubicBezTo>
                    <a:pt x="1368" y="3143"/>
                    <a:pt x="1402" y="3143"/>
                    <a:pt x="1468" y="3143"/>
                  </a:cubicBezTo>
                  <a:cubicBezTo>
                    <a:pt x="1502" y="3109"/>
                    <a:pt x="1502" y="3076"/>
                    <a:pt x="1502" y="3009"/>
                  </a:cubicBezTo>
                  <a:cubicBezTo>
                    <a:pt x="1368" y="2509"/>
                    <a:pt x="1202" y="2008"/>
                    <a:pt x="1001" y="1575"/>
                  </a:cubicBezTo>
                  <a:cubicBezTo>
                    <a:pt x="801" y="1108"/>
                    <a:pt x="634" y="607"/>
                    <a:pt x="434" y="140"/>
                  </a:cubicBezTo>
                  <a:cubicBezTo>
                    <a:pt x="377" y="83"/>
                    <a:pt x="294" y="0"/>
                    <a:pt x="208"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9" name="Google Shape;69;p3"/>
            <p:cNvSpPr/>
            <p:nvPr/>
          </p:nvSpPr>
          <p:spPr>
            <a:xfrm>
              <a:off x="4372450" y="4419975"/>
              <a:ext cx="37550" cy="78700"/>
            </a:xfrm>
            <a:custGeom>
              <a:avLst/>
              <a:gdLst/>
              <a:ahLst/>
              <a:cxnLst/>
              <a:rect l="l" t="t" r="r" b="b"/>
              <a:pathLst>
                <a:path w="1502" h="3148" extrusionOk="0">
                  <a:moveTo>
                    <a:pt x="242" y="0"/>
                  </a:moveTo>
                  <a:cubicBezTo>
                    <a:pt x="217" y="0"/>
                    <a:pt x="191" y="5"/>
                    <a:pt x="168" y="12"/>
                  </a:cubicBezTo>
                  <a:cubicBezTo>
                    <a:pt x="34" y="112"/>
                    <a:pt x="1" y="179"/>
                    <a:pt x="34" y="313"/>
                  </a:cubicBezTo>
                  <a:cubicBezTo>
                    <a:pt x="268" y="813"/>
                    <a:pt x="468" y="1247"/>
                    <a:pt x="668" y="1714"/>
                  </a:cubicBezTo>
                  <a:cubicBezTo>
                    <a:pt x="868" y="2181"/>
                    <a:pt x="1102" y="2648"/>
                    <a:pt x="1335" y="3115"/>
                  </a:cubicBezTo>
                  <a:cubicBezTo>
                    <a:pt x="1369" y="3148"/>
                    <a:pt x="1435" y="3148"/>
                    <a:pt x="1469" y="3148"/>
                  </a:cubicBezTo>
                  <a:cubicBezTo>
                    <a:pt x="1502" y="3115"/>
                    <a:pt x="1502" y="3048"/>
                    <a:pt x="1502" y="3015"/>
                  </a:cubicBezTo>
                  <a:cubicBezTo>
                    <a:pt x="1369" y="2514"/>
                    <a:pt x="1235" y="2014"/>
                    <a:pt x="1002" y="1547"/>
                  </a:cubicBezTo>
                  <a:cubicBezTo>
                    <a:pt x="801" y="1113"/>
                    <a:pt x="635" y="613"/>
                    <a:pt x="435" y="146"/>
                  </a:cubicBezTo>
                  <a:cubicBezTo>
                    <a:pt x="409" y="44"/>
                    <a:pt x="325" y="0"/>
                    <a:pt x="242"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0" name="Google Shape;70;p3"/>
            <p:cNvSpPr/>
            <p:nvPr/>
          </p:nvSpPr>
          <p:spPr>
            <a:xfrm>
              <a:off x="4421650" y="4394425"/>
              <a:ext cx="56750" cy="120100"/>
            </a:xfrm>
            <a:custGeom>
              <a:avLst/>
              <a:gdLst/>
              <a:ahLst/>
              <a:cxnLst/>
              <a:rect l="l" t="t" r="r" b="b"/>
              <a:pathLst>
                <a:path w="2270" h="4804" extrusionOk="0">
                  <a:moveTo>
                    <a:pt x="267" y="0"/>
                  </a:moveTo>
                  <a:cubicBezTo>
                    <a:pt x="234" y="0"/>
                    <a:pt x="201" y="11"/>
                    <a:pt x="168" y="34"/>
                  </a:cubicBezTo>
                  <a:cubicBezTo>
                    <a:pt x="34" y="100"/>
                    <a:pt x="1" y="200"/>
                    <a:pt x="34" y="334"/>
                  </a:cubicBezTo>
                  <a:cubicBezTo>
                    <a:pt x="368" y="1068"/>
                    <a:pt x="701" y="1768"/>
                    <a:pt x="1035" y="2535"/>
                  </a:cubicBezTo>
                  <a:cubicBezTo>
                    <a:pt x="1369" y="3303"/>
                    <a:pt x="1702" y="4037"/>
                    <a:pt x="2102" y="4737"/>
                  </a:cubicBezTo>
                  <a:cubicBezTo>
                    <a:pt x="2136" y="4804"/>
                    <a:pt x="2169" y="4804"/>
                    <a:pt x="2203" y="4804"/>
                  </a:cubicBezTo>
                  <a:cubicBezTo>
                    <a:pt x="2269" y="4737"/>
                    <a:pt x="2269" y="4704"/>
                    <a:pt x="2269" y="4670"/>
                  </a:cubicBezTo>
                  <a:cubicBezTo>
                    <a:pt x="2002" y="3870"/>
                    <a:pt x="1702" y="3136"/>
                    <a:pt x="1369" y="2369"/>
                  </a:cubicBezTo>
                  <a:cubicBezTo>
                    <a:pt x="1035" y="1635"/>
                    <a:pt x="768" y="868"/>
                    <a:pt x="435" y="134"/>
                  </a:cubicBezTo>
                  <a:cubicBezTo>
                    <a:pt x="390" y="45"/>
                    <a:pt x="331" y="0"/>
                    <a:pt x="267"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1" name="Google Shape;71;p3"/>
            <p:cNvSpPr/>
            <p:nvPr/>
          </p:nvSpPr>
          <p:spPr>
            <a:xfrm>
              <a:off x="4464200" y="4376225"/>
              <a:ext cx="37550" cy="78275"/>
            </a:xfrm>
            <a:custGeom>
              <a:avLst/>
              <a:gdLst/>
              <a:ahLst/>
              <a:cxnLst/>
              <a:rect l="l" t="t" r="r" b="b"/>
              <a:pathLst>
                <a:path w="1502" h="3131" extrusionOk="0">
                  <a:moveTo>
                    <a:pt x="244" y="1"/>
                  </a:moveTo>
                  <a:cubicBezTo>
                    <a:pt x="220" y="1"/>
                    <a:pt x="195" y="9"/>
                    <a:pt x="167" y="28"/>
                  </a:cubicBezTo>
                  <a:cubicBezTo>
                    <a:pt x="34" y="95"/>
                    <a:pt x="0" y="195"/>
                    <a:pt x="34" y="295"/>
                  </a:cubicBezTo>
                  <a:cubicBezTo>
                    <a:pt x="267" y="795"/>
                    <a:pt x="467" y="1262"/>
                    <a:pt x="667" y="1729"/>
                  </a:cubicBezTo>
                  <a:cubicBezTo>
                    <a:pt x="867" y="2196"/>
                    <a:pt x="1101" y="2630"/>
                    <a:pt x="1334" y="3097"/>
                  </a:cubicBezTo>
                  <a:cubicBezTo>
                    <a:pt x="1368" y="3130"/>
                    <a:pt x="1435" y="3130"/>
                    <a:pt x="1468" y="3130"/>
                  </a:cubicBezTo>
                  <a:cubicBezTo>
                    <a:pt x="1501" y="3097"/>
                    <a:pt x="1501" y="3063"/>
                    <a:pt x="1501" y="3030"/>
                  </a:cubicBezTo>
                  <a:cubicBezTo>
                    <a:pt x="1368" y="2530"/>
                    <a:pt x="1234" y="2029"/>
                    <a:pt x="1001" y="1562"/>
                  </a:cubicBezTo>
                  <a:cubicBezTo>
                    <a:pt x="801" y="1095"/>
                    <a:pt x="634" y="595"/>
                    <a:pt x="434" y="128"/>
                  </a:cubicBezTo>
                  <a:cubicBezTo>
                    <a:pt x="362" y="56"/>
                    <a:pt x="307" y="1"/>
                    <a:pt x="244"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2" name="Google Shape;72;p3"/>
            <p:cNvSpPr/>
            <p:nvPr/>
          </p:nvSpPr>
          <p:spPr>
            <a:xfrm>
              <a:off x="4510050" y="4353250"/>
              <a:ext cx="37550" cy="78725"/>
            </a:xfrm>
            <a:custGeom>
              <a:avLst/>
              <a:gdLst/>
              <a:ahLst/>
              <a:cxnLst/>
              <a:rect l="l" t="t" r="r" b="b"/>
              <a:pathLst>
                <a:path w="1502" h="3149" extrusionOk="0">
                  <a:moveTo>
                    <a:pt x="238" y="1"/>
                  </a:moveTo>
                  <a:cubicBezTo>
                    <a:pt x="215" y="1"/>
                    <a:pt x="191" y="5"/>
                    <a:pt x="168" y="13"/>
                  </a:cubicBezTo>
                  <a:cubicBezTo>
                    <a:pt x="34" y="113"/>
                    <a:pt x="1" y="180"/>
                    <a:pt x="34" y="313"/>
                  </a:cubicBezTo>
                  <a:cubicBezTo>
                    <a:pt x="268" y="813"/>
                    <a:pt x="468" y="1247"/>
                    <a:pt x="668" y="1714"/>
                  </a:cubicBezTo>
                  <a:cubicBezTo>
                    <a:pt x="868" y="2181"/>
                    <a:pt x="1102" y="2648"/>
                    <a:pt x="1335" y="3115"/>
                  </a:cubicBezTo>
                  <a:cubicBezTo>
                    <a:pt x="1368" y="3148"/>
                    <a:pt x="1435" y="3148"/>
                    <a:pt x="1469" y="3148"/>
                  </a:cubicBezTo>
                  <a:cubicBezTo>
                    <a:pt x="1502" y="3115"/>
                    <a:pt x="1502" y="3048"/>
                    <a:pt x="1502" y="3015"/>
                  </a:cubicBezTo>
                  <a:cubicBezTo>
                    <a:pt x="1368" y="2515"/>
                    <a:pt x="1202" y="2014"/>
                    <a:pt x="1002" y="1547"/>
                  </a:cubicBezTo>
                  <a:cubicBezTo>
                    <a:pt x="801" y="1114"/>
                    <a:pt x="635" y="613"/>
                    <a:pt x="434" y="146"/>
                  </a:cubicBezTo>
                  <a:cubicBezTo>
                    <a:pt x="384" y="44"/>
                    <a:pt x="313" y="1"/>
                    <a:pt x="238"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3" name="Google Shape;73;p3"/>
            <p:cNvSpPr/>
            <p:nvPr/>
          </p:nvSpPr>
          <p:spPr>
            <a:xfrm>
              <a:off x="4556750" y="4328325"/>
              <a:ext cx="37550" cy="78625"/>
            </a:xfrm>
            <a:custGeom>
              <a:avLst/>
              <a:gdLst/>
              <a:ahLst/>
              <a:cxnLst/>
              <a:rect l="l" t="t" r="r" b="b"/>
              <a:pathLst>
                <a:path w="1502" h="3145" extrusionOk="0">
                  <a:moveTo>
                    <a:pt x="221" y="0"/>
                  </a:moveTo>
                  <a:cubicBezTo>
                    <a:pt x="203" y="0"/>
                    <a:pt x="185" y="3"/>
                    <a:pt x="168" y="9"/>
                  </a:cubicBezTo>
                  <a:cubicBezTo>
                    <a:pt x="68" y="109"/>
                    <a:pt x="1" y="176"/>
                    <a:pt x="68" y="309"/>
                  </a:cubicBezTo>
                  <a:cubicBezTo>
                    <a:pt x="268" y="810"/>
                    <a:pt x="468" y="1243"/>
                    <a:pt x="668" y="1710"/>
                  </a:cubicBezTo>
                  <a:cubicBezTo>
                    <a:pt x="901" y="2177"/>
                    <a:pt x="1102" y="2644"/>
                    <a:pt x="1335" y="3078"/>
                  </a:cubicBezTo>
                  <a:cubicBezTo>
                    <a:pt x="1402" y="3145"/>
                    <a:pt x="1435" y="3145"/>
                    <a:pt x="1469" y="3145"/>
                  </a:cubicBezTo>
                  <a:cubicBezTo>
                    <a:pt x="1502" y="3078"/>
                    <a:pt x="1502" y="3045"/>
                    <a:pt x="1502" y="3011"/>
                  </a:cubicBezTo>
                  <a:cubicBezTo>
                    <a:pt x="1402" y="2511"/>
                    <a:pt x="1235" y="2011"/>
                    <a:pt x="1002" y="1544"/>
                  </a:cubicBezTo>
                  <a:cubicBezTo>
                    <a:pt x="801" y="1110"/>
                    <a:pt x="635" y="610"/>
                    <a:pt x="434" y="143"/>
                  </a:cubicBezTo>
                  <a:cubicBezTo>
                    <a:pt x="380" y="60"/>
                    <a:pt x="302" y="0"/>
                    <a:pt x="221"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4" name="Google Shape;74;p3"/>
            <p:cNvSpPr/>
            <p:nvPr/>
          </p:nvSpPr>
          <p:spPr>
            <a:xfrm>
              <a:off x="4598450" y="4310725"/>
              <a:ext cx="38400" cy="78725"/>
            </a:xfrm>
            <a:custGeom>
              <a:avLst/>
              <a:gdLst/>
              <a:ahLst/>
              <a:cxnLst/>
              <a:rect l="l" t="t" r="r" b="b"/>
              <a:pathLst>
                <a:path w="1536" h="3149" extrusionOk="0">
                  <a:moveTo>
                    <a:pt x="242" y="1"/>
                  </a:moveTo>
                  <a:cubicBezTo>
                    <a:pt x="217" y="1"/>
                    <a:pt x="191" y="5"/>
                    <a:pt x="167" y="13"/>
                  </a:cubicBezTo>
                  <a:cubicBezTo>
                    <a:pt x="67" y="79"/>
                    <a:pt x="1" y="179"/>
                    <a:pt x="67" y="313"/>
                  </a:cubicBezTo>
                  <a:cubicBezTo>
                    <a:pt x="268" y="813"/>
                    <a:pt x="468" y="1247"/>
                    <a:pt x="668" y="1714"/>
                  </a:cubicBezTo>
                  <a:cubicBezTo>
                    <a:pt x="901" y="2181"/>
                    <a:pt x="1101" y="2614"/>
                    <a:pt x="1335" y="3081"/>
                  </a:cubicBezTo>
                  <a:cubicBezTo>
                    <a:pt x="1402" y="3148"/>
                    <a:pt x="1435" y="3148"/>
                    <a:pt x="1468" y="3148"/>
                  </a:cubicBezTo>
                  <a:cubicBezTo>
                    <a:pt x="1535" y="3081"/>
                    <a:pt x="1535" y="3048"/>
                    <a:pt x="1535" y="3015"/>
                  </a:cubicBezTo>
                  <a:cubicBezTo>
                    <a:pt x="1402" y="2514"/>
                    <a:pt x="1235" y="2014"/>
                    <a:pt x="1035" y="1547"/>
                  </a:cubicBezTo>
                  <a:cubicBezTo>
                    <a:pt x="801" y="1080"/>
                    <a:pt x="634" y="580"/>
                    <a:pt x="434" y="146"/>
                  </a:cubicBezTo>
                  <a:cubicBezTo>
                    <a:pt x="409" y="44"/>
                    <a:pt x="325" y="1"/>
                    <a:pt x="242"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5" name="Google Shape;75;p3"/>
            <p:cNvSpPr/>
            <p:nvPr/>
          </p:nvSpPr>
          <p:spPr>
            <a:xfrm>
              <a:off x="4651825" y="4284775"/>
              <a:ext cx="56725" cy="119675"/>
            </a:xfrm>
            <a:custGeom>
              <a:avLst/>
              <a:gdLst/>
              <a:ahLst/>
              <a:cxnLst/>
              <a:rect l="l" t="t" r="r" b="b"/>
              <a:pathLst>
                <a:path w="2269" h="4787" extrusionOk="0">
                  <a:moveTo>
                    <a:pt x="279" y="0"/>
                  </a:moveTo>
                  <a:cubicBezTo>
                    <a:pt x="241" y="0"/>
                    <a:pt x="202" y="15"/>
                    <a:pt x="167" y="50"/>
                  </a:cubicBezTo>
                  <a:cubicBezTo>
                    <a:pt x="67" y="117"/>
                    <a:pt x="1" y="217"/>
                    <a:pt x="67" y="317"/>
                  </a:cubicBezTo>
                  <a:cubicBezTo>
                    <a:pt x="401" y="1084"/>
                    <a:pt x="734" y="1784"/>
                    <a:pt x="1068" y="2552"/>
                  </a:cubicBezTo>
                  <a:cubicBezTo>
                    <a:pt x="1402" y="3286"/>
                    <a:pt x="1735" y="4053"/>
                    <a:pt x="2102" y="4753"/>
                  </a:cubicBezTo>
                  <a:cubicBezTo>
                    <a:pt x="2135" y="4787"/>
                    <a:pt x="2169" y="4787"/>
                    <a:pt x="2235" y="4787"/>
                  </a:cubicBezTo>
                  <a:cubicBezTo>
                    <a:pt x="2269" y="4753"/>
                    <a:pt x="2269" y="4720"/>
                    <a:pt x="2269" y="4687"/>
                  </a:cubicBezTo>
                  <a:cubicBezTo>
                    <a:pt x="2002" y="3886"/>
                    <a:pt x="1735" y="3119"/>
                    <a:pt x="1402" y="2385"/>
                  </a:cubicBezTo>
                  <a:cubicBezTo>
                    <a:pt x="1068" y="1618"/>
                    <a:pt x="768" y="884"/>
                    <a:pt x="434" y="117"/>
                  </a:cubicBezTo>
                  <a:cubicBezTo>
                    <a:pt x="412" y="51"/>
                    <a:pt x="348" y="0"/>
                    <a:pt x="279"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6" name="Google Shape;76;p3"/>
            <p:cNvSpPr/>
            <p:nvPr/>
          </p:nvSpPr>
          <p:spPr>
            <a:xfrm>
              <a:off x="4693525" y="4266675"/>
              <a:ext cx="37550" cy="78575"/>
            </a:xfrm>
            <a:custGeom>
              <a:avLst/>
              <a:gdLst/>
              <a:ahLst/>
              <a:cxnLst/>
              <a:rect l="l" t="t" r="r" b="b"/>
              <a:pathLst>
                <a:path w="1502" h="3143" extrusionOk="0">
                  <a:moveTo>
                    <a:pt x="210" y="0"/>
                  </a:moveTo>
                  <a:cubicBezTo>
                    <a:pt x="195" y="0"/>
                    <a:pt x="181" y="2"/>
                    <a:pt x="167" y="7"/>
                  </a:cubicBezTo>
                  <a:cubicBezTo>
                    <a:pt x="34" y="107"/>
                    <a:pt x="0" y="173"/>
                    <a:pt x="34" y="307"/>
                  </a:cubicBezTo>
                  <a:cubicBezTo>
                    <a:pt x="267" y="807"/>
                    <a:pt x="467" y="1274"/>
                    <a:pt x="668" y="1741"/>
                  </a:cubicBezTo>
                  <a:cubicBezTo>
                    <a:pt x="868" y="2175"/>
                    <a:pt x="1101" y="2642"/>
                    <a:pt x="1335" y="3109"/>
                  </a:cubicBezTo>
                  <a:cubicBezTo>
                    <a:pt x="1401" y="3142"/>
                    <a:pt x="1435" y="3142"/>
                    <a:pt x="1468" y="3142"/>
                  </a:cubicBezTo>
                  <a:cubicBezTo>
                    <a:pt x="1501" y="3109"/>
                    <a:pt x="1501" y="3076"/>
                    <a:pt x="1501" y="3009"/>
                  </a:cubicBezTo>
                  <a:cubicBezTo>
                    <a:pt x="1401" y="2508"/>
                    <a:pt x="1235" y="2008"/>
                    <a:pt x="1001" y="1574"/>
                  </a:cubicBezTo>
                  <a:cubicBezTo>
                    <a:pt x="801" y="1107"/>
                    <a:pt x="634" y="607"/>
                    <a:pt x="434" y="140"/>
                  </a:cubicBezTo>
                  <a:cubicBezTo>
                    <a:pt x="405" y="83"/>
                    <a:pt x="302" y="0"/>
                    <a:pt x="210"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7" name="Google Shape;77;p3"/>
            <p:cNvSpPr/>
            <p:nvPr/>
          </p:nvSpPr>
          <p:spPr>
            <a:xfrm>
              <a:off x="4740225" y="4244025"/>
              <a:ext cx="38375" cy="78700"/>
            </a:xfrm>
            <a:custGeom>
              <a:avLst/>
              <a:gdLst/>
              <a:ahLst/>
              <a:cxnLst/>
              <a:rect l="l" t="t" r="r" b="b"/>
              <a:pathLst>
                <a:path w="1535" h="3148" extrusionOk="0">
                  <a:moveTo>
                    <a:pt x="242" y="0"/>
                  </a:moveTo>
                  <a:cubicBezTo>
                    <a:pt x="216" y="0"/>
                    <a:pt x="191" y="4"/>
                    <a:pt x="167" y="12"/>
                  </a:cubicBezTo>
                  <a:cubicBezTo>
                    <a:pt x="67" y="79"/>
                    <a:pt x="0" y="179"/>
                    <a:pt x="67" y="312"/>
                  </a:cubicBezTo>
                  <a:cubicBezTo>
                    <a:pt x="267" y="813"/>
                    <a:pt x="467" y="1246"/>
                    <a:pt x="668" y="1713"/>
                  </a:cubicBezTo>
                  <a:cubicBezTo>
                    <a:pt x="901" y="2180"/>
                    <a:pt x="1101" y="2647"/>
                    <a:pt x="1335" y="3081"/>
                  </a:cubicBezTo>
                  <a:cubicBezTo>
                    <a:pt x="1401" y="3148"/>
                    <a:pt x="1435" y="3148"/>
                    <a:pt x="1468" y="3148"/>
                  </a:cubicBezTo>
                  <a:cubicBezTo>
                    <a:pt x="1535" y="3081"/>
                    <a:pt x="1535" y="3048"/>
                    <a:pt x="1535" y="3014"/>
                  </a:cubicBezTo>
                  <a:cubicBezTo>
                    <a:pt x="1401" y="2514"/>
                    <a:pt x="1235" y="2013"/>
                    <a:pt x="1034" y="1546"/>
                  </a:cubicBezTo>
                  <a:cubicBezTo>
                    <a:pt x="801" y="1079"/>
                    <a:pt x="634" y="579"/>
                    <a:pt x="434" y="145"/>
                  </a:cubicBezTo>
                  <a:cubicBezTo>
                    <a:pt x="409" y="44"/>
                    <a:pt x="325" y="0"/>
                    <a:pt x="242"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8" name="Google Shape;78;p3"/>
            <p:cNvSpPr/>
            <p:nvPr/>
          </p:nvSpPr>
          <p:spPr>
            <a:xfrm>
              <a:off x="4786100" y="4219300"/>
              <a:ext cx="38375" cy="78400"/>
            </a:xfrm>
            <a:custGeom>
              <a:avLst/>
              <a:gdLst/>
              <a:ahLst/>
              <a:cxnLst/>
              <a:rect l="l" t="t" r="r" b="b"/>
              <a:pathLst>
                <a:path w="1535" h="3136" extrusionOk="0">
                  <a:moveTo>
                    <a:pt x="167" y="0"/>
                  </a:moveTo>
                  <a:cubicBezTo>
                    <a:pt x="67" y="67"/>
                    <a:pt x="0" y="167"/>
                    <a:pt x="67" y="301"/>
                  </a:cubicBezTo>
                  <a:cubicBezTo>
                    <a:pt x="267" y="768"/>
                    <a:pt x="467" y="1235"/>
                    <a:pt x="667" y="1702"/>
                  </a:cubicBezTo>
                  <a:cubicBezTo>
                    <a:pt x="901" y="2169"/>
                    <a:pt x="1101" y="2602"/>
                    <a:pt x="1334" y="3069"/>
                  </a:cubicBezTo>
                  <a:cubicBezTo>
                    <a:pt x="1401" y="3136"/>
                    <a:pt x="1434" y="3136"/>
                    <a:pt x="1468" y="3136"/>
                  </a:cubicBezTo>
                  <a:cubicBezTo>
                    <a:pt x="1534" y="3069"/>
                    <a:pt x="1534" y="3036"/>
                    <a:pt x="1534" y="3002"/>
                  </a:cubicBezTo>
                  <a:cubicBezTo>
                    <a:pt x="1401" y="2502"/>
                    <a:pt x="1234" y="2002"/>
                    <a:pt x="1034" y="1535"/>
                  </a:cubicBezTo>
                  <a:cubicBezTo>
                    <a:pt x="801" y="1068"/>
                    <a:pt x="634" y="567"/>
                    <a:pt x="434" y="134"/>
                  </a:cubicBezTo>
                  <a:cubicBezTo>
                    <a:pt x="400" y="34"/>
                    <a:pt x="267" y="0"/>
                    <a:pt x="167"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9" name="Google Shape;79;p3"/>
            <p:cNvSpPr/>
            <p:nvPr/>
          </p:nvSpPr>
          <p:spPr>
            <a:xfrm>
              <a:off x="4829450" y="4201100"/>
              <a:ext cx="37550" cy="78275"/>
            </a:xfrm>
            <a:custGeom>
              <a:avLst/>
              <a:gdLst/>
              <a:ahLst/>
              <a:cxnLst/>
              <a:rect l="l" t="t" r="r" b="b"/>
              <a:pathLst>
                <a:path w="1502" h="3131" extrusionOk="0">
                  <a:moveTo>
                    <a:pt x="235" y="1"/>
                  </a:moveTo>
                  <a:cubicBezTo>
                    <a:pt x="210" y="1"/>
                    <a:pt x="186" y="9"/>
                    <a:pt x="167" y="28"/>
                  </a:cubicBezTo>
                  <a:cubicBezTo>
                    <a:pt x="34" y="95"/>
                    <a:pt x="1" y="195"/>
                    <a:pt x="34" y="295"/>
                  </a:cubicBezTo>
                  <a:cubicBezTo>
                    <a:pt x="234" y="795"/>
                    <a:pt x="434" y="1262"/>
                    <a:pt x="668" y="1729"/>
                  </a:cubicBezTo>
                  <a:cubicBezTo>
                    <a:pt x="868" y="2196"/>
                    <a:pt x="1068" y="2630"/>
                    <a:pt x="1335" y="3097"/>
                  </a:cubicBezTo>
                  <a:cubicBezTo>
                    <a:pt x="1368" y="3130"/>
                    <a:pt x="1402" y="3130"/>
                    <a:pt x="1468" y="3130"/>
                  </a:cubicBezTo>
                  <a:cubicBezTo>
                    <a:pt x="1502" y="3097"/>
                    <a:pt x="1502" y="3063"/>
                    <a:pt x="1502" y="3030"/>
                  </a:cubicBezTo>
                  <a:cubicBezTo>
                    <a:pt x="1368" y="2530"/>
                    <a:pt x="1201" y="2029"/>
                    <a:pt x="1001" y="1562"/>
                  </a:cubicBezTo>
                  <a:cubicBezTo>
                    <a:pt x="801" y="1095"/>
                    <a:pt x="634" y="595"/>
                    <a:pt x="401" y="128"/>
                  </a:cubicBezTo>
                  <a:cubicBezTo>
                    <a:pt x="377" y="56"/>
                    <a:pt x="301" y="1"/>
                    <a:pt x="235"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0" name="Google Shape;80;p3"/>
            <p:cNvSpPr/>
            <p:nvPr/>
          </p:nvSpPr>
          <p:spPr>
            <a:xfrm>
              <a:off x="4876150" y="4182300"/>
              <a:ext cx="56725" cy="119575"/>
            </a:xfrm>
            <a:custGeom>
              <a:avLst/>
              <a:gdLst/>
              <a:ahLst/>
              <a:cxnLst/>
              <a:rect l="l" t="t" r="r" b="b"/>
              <a:pathLst>
                <a:path w="2269" h="4783" extrusionOk="0">
                  <a:moveTo>
                    <a:pt x="242" y="0"/>
                  </a:moveTo>
                  <a:cubicBezTo>
                    <a:pt x="217" y="0"/>
                    <a:pt x="192" y="4"/>
                    <a:pt x="167" y="13"/>
                  </a:cubicBezTo>
                  <a:cubicBezTo>
                    <a:pt x="34" y="113"/>
                    <a:pt x="1" y="179"/>
                    <a:pt x="34" y="313"/>
                  </a:cubicBezTo>
                  <a:cubicBezTo>
                    <a:pt x="368" y="1047"/>
                    <a:pt x="701" y="1781"/>
                    <a:pt x="1035" y="2514"/>
                  </a:cubicBezTo>
                  <a:cubicBezTo>
                    <a:pt x="1368" y="3282"/>
                    <a:pt x="1702" y="4015"/>
                    <a:pt x="2102" y="4716"/>
                  </a:cubicBezTo>
                  <a:cubicBezTo>
                    <a:pt x="2135" y="4783"/>
                    <a:pt x="2169" y="4783"/>
                    <a:pt x="2202" y="4783"/>
                  </a:cubicBezTo>
                  <a:cubicBezTo>
                    <a:pt x="2269" y="4716"/>
                    <a:pt x="2269" y="4683"/>
                    <a:pt x="2269" y="4649"/>
                  </a:cubicBezTo>
                  <a:cubicBezTo>
                    <a:pt x="2002" y="3849"/>
                    <a:pt x="1702" y="3115"/>
                    <a:pt x="1368" y="2348"/>
                  </a:cubicBezTo>
                  <a:cubicBezTo>
                    <a:pt x="1035" y="1614"/>
                    <a:pt x="768" y="847"/>
                    <a:pt x="434" y="113"/>
                  </a:cubicBezTo>
                  <a:cubicBezTo>
                    <a:pt x="384" y="38"/>
                    <a:pt x="315" y="0"/>
                    <a:pt x="242"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1" name="Google Shape;81;p3"/>
            <p:cNvSpPr/>
            <p:nvPr/>
          </p:nvSpPr>
          <p:spPr>
            <a:xfrm>
              <a:off x="4917850" y="4164800"/>
              <a:ext cx="37550" cy="78700"/>
            </a:xfrm>
            <a:custGeom>
              <a:avLst/>
              <a:gdLst/>
              <a:ahLst/>
              <a:cxnLst/>
              <a:rect l="l" t="t" r="r" b="b"/>
              <a:pathLst>
                <a:path w="1502" h="3148" extrusionOk="0">
                  <a:moveTo>
                    <a:pt x="238" y="0"/>
                  </a:moveTo>
                  <a:cubicBezTo>
                    <a:pt x="215" y="0"/>
                    <a:pt x="191" y="4"/>
                    <a:pt x="167" y="12"/>
                  </a:cubicBezTo>
                  <a:cubicBezTo>
                    <a:pt x="34" y="79"/>
                    <a:pt x="0" y="179"/>
                    <a:pt x="34" y="312"/>
                  </a:cubicBezTo>
                  <a:cubicBezTo>
                    <a:pt x="234" y="813"/>
                    <a:pt x="467" y="1246"/>
                    <a:pt x="668" y="1713"/>
                  </a:cubicBezTo>
                  <a:cubicBezTo>
                    <a:pt x="868" y="2180"/>
                    <a:pt x="1068" y="2614"/>
                    <a:pt x="1335" y="3081"/>
                  </a:cubicBezTo>
                  <a:cubicBezTo>
                    <a:pt x="1368" y="3148"/>
                    <a:pt x="1401" y="3148"/>
                    <a:pt x="1468" y="3148"/>
                  </a:cubicBezTo>
                  <a:cubicBezTo>
                    <a:pt x="1502" y="3081"/>
                    <a:pt x="1502" y="3048"/>
                    <a:pt x="1502" y="3014"/>
                  </a:cubicBezTo>
                  <a:cubicBezTo>
                    <a:pt x="1368" y="2514"/>
                    <a:pt x="1201" y="2014"/>
                    <a:pt x="1001" y="1547"/>
                  </a:cubicBezTo>
                  <a:cubicBezTo>
                    <a:pt x="801" y="1080"/>
                    <a:pt x="634" y="579"/>
                    <a:pt x="434" y="146"/>
                  </a:cubicBezTo>
                  <a:cubicBezTo>
                    <a:pt x="383" y="44"/>
                    <a:pt x="313" y="0"/>
                    <a:pt x="238"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2" name="Google Shape;82;p3"/>
            <p:cNvSpPr/>
            <p:nvPr/>
          </p:nvSpPr>
          <p:spPr>
            <a:xfrm>
              <a:off x="4963725" y="4140900"/>
              <a:ext cx="37550" cy="78425"/>
            </a:xfrm>
            <a:custGeom>
              <a:avLst/>
              <a:gdLst/>
              <a:ahLst/>
              <a:cxnLst/>
              <a:rect l="l" t="t" r="r" b="b"/>
              <a:pathLst>
                <a:path w="1502" h="3137" extrusionOk="0">
                  <a:moveTo>
                    <a:pt x="167" y="1"/>
                  </a:moveTo>
                  <a:cubicBezTo>
                    <a:pt x="33" y="101"/>
                    <a:pt x="0" y="168"/>
                    <a:pt x="33" y="301"/>
                  </a:cubicBezTo>
                  <a:cubicBezTo>
                    <a:pt x="234" y="801"/>
                    <a:pt x="467" y="1235"/>
                    <a:pt x="667" y="1702"/>
                  </a:cubicBezTo>
                  <a:cubicBezTo>
                    <a:pt x="867" y="2169"/>
                    <a:pt x="1068" y="2636"/>
                    <a:pt x="1334" y="3070"/>
                  </a:cubicBezTo>
                  <a:cubicBezTo>
                    <a:pt x="1368" y="3136"/>
                    <a:pt x="1401" y="3136"/>
                    <a:pt x="1468" y="3136"/>
                  </a:cubicBezTo>
                  <a:cubicBezTo>
                    <a:pt x="1501" y="3070"/>
                    <a:pt x="1501" y="3036"/>
                    <a:pt x="1501" y="3003"/>
                  </a:cubicBezTo>
                  <a:cubicBezTo>
                    <a:pt x="1368" y="2503"/>
                    <a:pt x="1201" y="2002"/>
                    <a:pt x="1001" y="1535"/>
                  </a:cubicBezTo>
                  <a:cubicBezTo>
                    <a:pt x="801" y="1102"/>
                    <a:pt x="634" y="601"/>
                    <a:pt x="434" y="134"/>
                  </a:cubicBezTo>
                  <a:cubicBezTo>
                    <a:pt x="367" y="34"/>
                    <a:pt x="267" y="1"/>
                    <a:pt x="167"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3" name="Google Shape;83;p3"/>
            <p:cNvSpPr/>
            <p:nvPr/>
          </p:nvSpPr>
          <p:spPr>
            <a:xfrm>
              <a:off x="5010425" y="4116425"/>
              <a:ext cx="37550" cy="78700"/>
            </a:xfrm>
            <a:custGeom>
              <a:avLst/>
              <a:gdLst/>
              <a:ahLst/>
              <a:cxnLst/>
              <a:rect l="l" t="t" r="r" b="b"/>
              <a:pathLst>
                <a:path w="1502" h="3148" extrusionOk="0">
                  <a:moveTo>
                    <a:pt x="242" y="0"/>
                  </a:moveTo>
                  <a:cubicBezTo>
                    <a:pt x="216" y="0"/>
                    <a:pt x="191" y="5"/>
                    <a:pt x="167" y="12"/>
                  </a:cubicBezTo>
                  <a:cubicBezTo>
                    <a:pt x="33" y="112"/>
                    <a:pt x="0" y="179"/>
                    <a:pt x="33" y="313"/>
                  </a:cubicBezTo>
                  <a:cubicBezTo>
                    <a:pt x="267" y="813"/>
                    <a:pt x="467" y="1280"/>
                    <a:pt x="667" y="1714"/>
                  </a:cubicBezTo>
                  <a:cubicBezTo>
                    <a:pt x="867" y="2181"/>
                    <a:pt x="1101" y="2648"/>
                    <a:pt x="1334" y="3115"/>
                  </a:cubicBezTo>
                  <a:cubicBezTo>
                    <a:pt x="1368" y="3148"/>
                    <a:pt x="1434" y="3148"/>
                    <a:pt x="1468" y="3148"/>
                  </a:cubicBezTo>
                  <a:cubicBezTo>
                    <a:pt x="1501" y="3115"/>
                    <a:pt x="1501" y="3081"/>
                    <a:pt x="1501" y="3015"/>
                  </a:cubicBezTo>
                  <a:cubicBezTo>
                    <a:pt x="1368" y="2514"/>
                    <a:pt x="1234" y="2014"/>
                    <a:pt x="1001" y="1547"/>
                  </a:cubicBezTo>
                  <a:cubicBezTo>
                    <a:pt x="801" y="1113"/>
                    <a:pt x="634" y="613"/>
                    <a:pt x="434" y="146"/>
                  </a:cubicBezTo>
                  <a:cubicBezTo>
                    <a:pt x="408" y="44"/>
                    <a:pt x="324" y="0"/>
                    <a:pt x="242"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4" name="Google Shape;84;p3"/>
            <p:cNvSpPr/>
            <p:nvPr/>
          </p:nvSpPr>
          <p:spPr>
            <a:xfrm>
              <a:off x="5052950" y="4098375"/>
              <a:ext cx="38375" cy="78425"/>
            </a:xfrm>
            <a:custGeom>
              <a:avLst/>
              <a:gdLst/>
              <a:ahLst/>
              <a:cxnLst/>
              <a:rect l="l" t="t" r="r" b="b"/>
              <a:pathLst>
                <a:path w="1535" h="3137" extrusionOk="0">
                  <a:moveTo>
                    <a:pt x="167" y="1"/>
                  </a:moveTo>
                  <a:cubicBezTo>
                    <a:pt x="67" y="67"/>
                    <a:pt x="0" y="167"/>
                    <a:pt x="67" y="301"/>
                  </a:cubicBezTo>
                  <a:cubicBezTo>
                    <a:pt x="267" y="801"/>
                    <a:pt x="467" y="1235"/>
                    <a:pt x="667" y="1702"/>
                  </a:cubicBezTo>
                  <a:cubicBezTo>
                    <a:pt x="901" y="2169"/>
                    <a:pt x="1101" y="2636"/>
                    <a:pt x="1335" y="3069"/>
                  </a:cubicBezTo>
                  <a:cubicBezTo>
                    <a:pt x="1401" y="3136"/>
                    <a:pt x="1435" y="3136"/>
                    <a:pt x="1468" y="3136"/>
                  </a:cubicBezTo>
                  <a:cubicBezTo>
                    <a:pt x="1535" y="3069"/>
                    <a:pt x="1535" y="3036"/>
                    <a:pt x="1535" y="3003"/>
                  </a:cubicBezTo>
                  <a:cubicBezTo>
                    <a:pt x="1401" y="2502"/>
                    <a:pt x="1235" y="2002"/>
                    <a:pt x="1034" y="1535"/>
                  </a:cubicBezTo>
                  <a:cubicBezTo>
                    <a:pt x="801" y="1068"/>
                    <a:pt x="634" y="568"/>
                    <a:pt x="434" y="134"/>
                  </a:cubicBezTo>
                  <a:cubicBezTo>
                    <a:pt x="401" y="34"/>
                    <a:pt x="267" y="1"/>
                    <a:pt x="167"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5" name="Google Shape;85;p3"/>
            <p:cNvSpPr/>
            <p:nvPr/>
          </p:nvSpPr>
          <p:spPr>
            <a:xfrm>
              <a:off x="4496725" y="4540775"/>
              <a:ext cx="45050" cy="42750"/>
            </a:xfrm>
            <a:custGeom>
              <a:avLst/>
              <a:gdLst/>
              <a:ahLst/>
              <a:cxnLst/>
              <a:rect l="l" t="t" r="r" b="b"/>
              <a:pathLst>
                <a:path w="1802" h="1710" extrusionOk="0">
                  <a:moveTo>
                    <a:pt x="805" y="0"/>
                  </a:moveTo>
                  <a:cubicBezTo>
                    <a:pt x="715" y="0"/>
                    <a:pt x="624" y="16"/>
                    <a:pt x="534" y="51"/>
                  </a:cubicBezTo>
                  <a:cubicBezTo>
                    <a:pt x="167" y="217"/>
                    <a:pt x="0" y="718"/>
                    <a:pt x="200" y="1151"/>
                  </a:cubicBezTo>
                  <a:cubicBezTo>
                    <a:pt x="379" y="1509"/>
                    <a:pt x="675" y="1710"/>
                    <a:pt x="983" y="1710"/>
                  </a:cubicBezTo>
                  <a:cubicBezTo>
                    <a:pt x="1078" y="1710"/>
                    <a:pt x="1174" y="1691"/>
                    <a:pt x="1268" y="1652"/>
                  </a:cubicBezTo>
                  <a:cubicBezTo>
                    <a:pt x="1635" y="1485"/>
                    <a:pt x="1801" y="985"/>
                    <a:pt x="1601" y="551"/>
                  </a:cubicBezTo>
                  <a:cubicBezTo>
                    <a:pt x="1469" y="234"/>
                    <a:pt x="1148" y="0"/>
                    <a:pt x="80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6" name="Google Shape;86;p3"/>
            <p:cNvSpPr/>
            <p:nvPr/>
          </p:nvSpPr>
          <p:spPr>
            <a:xfrm>
              <a:off x="4687675" y="4457375"/>
              <a:ext cx="45075" cy="42775"/>
            </a:xfrm>
            <a:custGeom>
              <a:avLst/>
              <a:gdLst/>
              <a:ahLst/>
              <a:cxnLst/>
              <a:rect l="l" t="t" r="r" b="b"/>
              <a:pathLst>
                <a:path w="1803" h="1711" extrusionOk="0">
                  <a:moveTo>
                    <a:pt x="772" y="0"/>
                  </a:moveTo>
                  <a:cubicBezTo>
                    <a:pt x="691" y="0"/>
                    <a:pt x="611" y="16"/>
                    <a:pt x="535" y="51"/>
                  </a:cubicBezTo>
                  <a:cubicBezTo>
                    <a:pt x="168" y="218"/>
                    <a:pt x="1" y="718"/>
                    <a:pt x="201" y="1152"/>
                  </a:cubicBezTo>
                  <a:cubicBezTo>
                    <a:pt x="354" y="1509"/>
                    <a:pt x="664" y="1710"/>
                    <a:pt x="965" y="1710"/>
                  </a:cubicBezTo>
                  <a:cubicBezTo>
                    <a:pt x="1057" y="1710"/>
                    <a:pt x="1149" y="1691"/>
                    <a:pt x="1235" y="1652"/>
                  </a:cubicBezTo>
                  <a:cubicBezTo>
                    <a:pt x="1635" y="1485"/>
                    <a:pt x="1802" y="985"/>
                    <a:pt x="1569" y="551"/>
                  </a:cubicBezTo>
                  <a:cubicBezTo>
                    <a:pt x="1410" y="234"/>
                    <a:pt x="1084"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7" name="Google Shape;87;p3"/>
            <p:cNvSpPr/>
            <p:nvPr/>
          </p:nvSpPr>
          <p:spPr>
            <a:xfrm>
              <a:off x="4562600" y="4496150"/>
              <a:ext cx="110100" cy="76800"/>
            </a:xfrm>
            <a:custGeom>
              <a:avLst/>
              <a:gdLst/>
              <a:ahLst/>
              <a:cxnLst/>
              <a:rect l="l" t="t" r="r" b="b"/>
              <a:pathLst>
                <a:path w="4404" h="3072" extrusionOk="0">
                  <a:moveTo>
                    <a:pt x="4170" y="1"/>
                  </a:moveTo>
                  <a:cubicBezTo>
                    <a:pt x="4070" y="1"/>
                    <a:pt x="4003" y="101"/>
                    <a:pt x="4003" y="168"/>
                  </a:cubicBezTo>
                  <a:cubicBezTo>
                    <a:pt x="4003" y="635"/>
                    <a:pt x="3870" y="1102"/>
                    <a:pt x="3670" y="1469"/>
                  </a:cubicBezTo>
                  <a:cubicBezTo>
                    <a:pt x="3469" y="1836"/>
                    <a:pt x="3136" y="2136"/>
                    <a:pt x="2702" y="2336"/>
                  </a:cubicBezTo>
                  <a:cubicBezTo>
                    <a:pt x="2462" y="2489"/>
                    <a:pt x="2179" y="2556"/>
                    <a:pt x="1900" y="2556"/>
                  </a:cubicBezTo>
                  <a:cubicBezTo>
                    <a:pt x="1752" y="2556"/>
                    <a:pt x="1606" y="2537"/>
                    <a:pt x="1468" y="2503"/>
                  </a:cubicBezTo>
                  <a:cubicBezTo>
                    <a:pt x="1034" y="2436"/>
                    <a:pt x="567" y="2236"/>
                    <a:pt x="234" y="1936"/>
                  </a:cubicBezTo>
                  <a:cubicBezTo>
                    <a:pt x="167" y="1902"/>
                    <a:pt x="134" y="1902"/>
                    <a:pt x="67" y="1902"/>
                  </a:cubicBezTo>
                  <a:cubicBezTo>
                    <a:pt x="0" y="1936"/>
                    <a:pt x="0" y="2002"/>
                    <a:pt x="34" y="2102"/>
                  </a:cubicBezTo>
                  <a:cubicBezTo>
                    <a:pt x="367" y="2503"/>
                    <a:pt x="801" y="2803"/>
                    <a:pt x="1335" y="2970"/>
                  </a:cubicBezTo>
                  <a:cubicBezTo>
                    <a:pt x="1550" y="3037"/>
                    <a:pt x="1776" y="3072"/>
                    <a:pt x="2002" y="3072"/>
                  </a:cubicBezTo>
                  <a:cubicBezTo>
                    <a:pt x="2336" y="3072"/>
                    <a:pt x="2670" y="2996"/>
                    <a:pt x="2969" y="2836"/>
                  </a:cubicBezTo>
                  <a:cubicBezTo>
                    <a:pt x="3469" y="2636"/>
                    <a:pt x="3870" y="2236"/>
                    <a:pt x="4137" y="1736"/>
                  </a:cubicBezTo>
                  <a:cubicBezTo>
                    <a:pt x="4370" y="1235"/>
                    <a:pt x="4403" y="668"/>
                    <a:pt x="4303" y="134"/>
                  </a:cubicBezTo>
                  <a:cubicBezTo>
                    <a:pt x="4303" y="68"/>
                    <a:pt x="4237" y="1"/>
                    <a:pt x="41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8" name="Google Shape;88;p3"/>
            <p:cNvSpPr/>
            <p:nvPr/>
          </p:nvSpPr>
          <p:spPr>
            <a:xfrm>
              <a:off x="4711025" y="4492800"/>
              <a:ext cx="103450" cy="78425"/>
            </a:xfrm>
            <a:custGeom>
              <a:avLst/>
              <a:gdLst/>
              <a:ahLst/>
              <a:cxnLst/>
              <a:rect l="l" t="t" r="r" b="b"/>
              <a:pathLst>
                <a:path w="4138" h="3137" extrusionOk="0">
                  <a:moveTo>
                    <a:pt x="2381" y="1"/>
                  </a:moveTo>
                  <a:cubicBezTo>
                    <a:pt x="2086" y="1"/>
                    <a:pt x="1774" y="65"/>
                    <a:pt x="1469" y="202"/>
                  </a:cubicBezTo>
                  <a:cubicBezTo>
                    <a:pt x="501" y="602"/>
                    <a:pt x="1" y="1569"/>
                    <a:pt x="368" y="2303"/>
                  </a:cubicBezTo>
                  <a:cubicBezTo>
                    <a:pt x="597" y="2830"/>
                    <a:pt x="1156" y="3137"/>
                    <a:pt x="1798" y="3137"/>
                  </a:cubicBezTo>
                  <a:cubicBezTo>
                    <a:pt x="2090" y="3137"/>
                    <a:pt x="2400" y="3073"/>
                    <a:pt x="2703" y="2937"/>
                  </a:cubicBezTo>
                  <a:cubicBezTo>
                    <a:pt x="3637" y="2537"/>
                    <a:pt x="4137" y="1569"/>
                    <a:pt x="3804" y="802"/>
                  </a:cubicBezTo>
                  <a:cubicBezTo>
                    <a:pt x="3575" y="300"/>
                    <a:pt x="3019" y="1"/>
                    <a:pt x="23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9" name="Google Shape;89;p3"/>
            <p:cNvSpPr/>
            <p:nvPr/>
          </p:nvSpPr>
          <p:spPr>
            <a:xfrm>
              <a:off x="4475875" y="4605400"/>
              <a:ext cx="103425" cy="78400"/>
            </a:xfrm>
            <a:custGeom>
              <a:avLst/>
              <a:gdLst/>
              <a:ahLst/>
              <a:cxnLst/>
              <a:rect l="l" t="t" r="r" b="b"/>
              <a:pathLst>
                <a:path w="4137" h="3136" extrusionOk="0">
                  <a:moveTo>
                    <a:pt x="2380" y="0"/>
                  </a:moveTo>
                  <a:cubicBezTo>
                    <a:pt x="2086" y="0"/>
                    <a:pt x="1773" y="64"/>
                    <a:pt x="1468" y="201"/>
                  </a:cubicBezTo>
                  <a:cubicBezTo>
                    <a:pt x="501" y="601"/>
                    <a:pt x="0" y="1569"/>
                    <a:pt x="334" y="2302"/>
                  </a:cubicBezTo>
                  <a:cubicBezTo>
                    <a:pt x="563" y="2829"/>
                    <a:pt x="1122" y="3136"/>
                    <a:pt x="1763" y="3136"/>
                  </a:cubicBezTo>
                  <a:cubicBezTo>
                    <a:pt x="2056" y="3136"/>
                    <a:pt x="2366" y="3072"/>
                    <a:pt x="2669" y="2936"/>
                  </a:cubicBezTo>
                  <a:cubicBezTo>
                    <a:pt x="3636" y="2536"/>
                    <a:pt x="4136" y="1569"/>
                    <a:pt x="3803" y="801"/>
                  </a:cubicBezTo>
                  <a:cubicBezTo>
                    <a:pt x="3575" y="299"/>
                    <a:pt x="3019" y="0"/>
                    <a:pt x="2380"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90" name="Google Shape;90;p3"/>
          <p:cNvSpPr/>
          <p:nvPr/>
        </p:nvSpPr>
        <p:spPr>
          <a:xfrm>
            <a:off x="1149729" y="876223"/>
            <a:ext cx="344784" cy="303995"/>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91" name="Google Shape;91;p3"/>
          <p:cNvSpPr/>
          <p:nvPr/>
        </p:nvSpPr>
        <p:spPr>
          <a:xfrm>
            <a:off x="1459985" y="630529"/>
            <a:ext cx="132647" cy="116940"/>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92" name="Google Shape;92;p3"/>
          <p:cNvSpPr/>
          <p:nvPr/>
        </p:nvSpPr>
        <p:spPr>
          <a:xfrm rot="-5400000">
            <a:off x="9477607" y="4222305"/>
            <a:ext cx="1492199" cy="3936600"/>
          </a:xfrm>
          <a:custGeom>
            <a:avLst/>
            <a:gdLst/>
            <a:ahLst/>
            <a:cxnLst/>
            <a:rect l="l" t="t" r="r" b="b"/>
            <a:pathLst>
              <a:path w="34097" h="89952" extrusionOk="0">
                <a:moveTo>
                  <a:pt x="6827" y="1"/>
                </a:moveTo>
                <a:cubicBezTo>
                  <a:pt x="4501" y="1"/>
                  <a:pt x="2262" y="226"/>
                  <a:pt x="338" y="633"/>
                </a:cubicBezTo>
                <a:lnTo>
                  <a:pt x="0" y="89951"/>
                </a:lnTo>
                <a:lnTo>
                  <a:pt x="8097" y="89812"/>
                </a:lnTo>
                <a:cubicBezTo>
                  <a:pt x="17327" y="89235"/>
                  <a:pt x="25980" y="83347"/>
                  <a:pt x="30058" y="75032"/>
                </a:cubicBezTo>
                <a:cubicBezTo>
                  <a:pt x="34096" y="66757"/>
                  <a:pt x="32763" y="55935"/>
                  <a:pt x="26338" y="49291"/>
                </a:cubicBezTo>
                <a:cubicBezTo>
                  <a:pt x="23653" y="46546"/>
                  <a:pt x="20271" y="44556"/>
                  <a:pt x="17645" y="41771"/>
                </a:cubicBezTo>
                <a:cubicBezTo>
                  <a:pt x="14999" y="38947"/>
                  <a:pt x="13129" y="34869"/>
                  <a:pt x="14502" y="31288"/>
                </a:cubicBezTo>
                <a:cubicBezTo>
                  <a:pt x="16093" y="27150"/>
                  <a:pt x="21086" y="25519"/>
                  <a:pt x="24011" y="22177"/>
                </a:cubicBezTo>
                <a:cubicBezTo>
                  <a:pt x="28327" y="17144"/>
                  <a:pt x="26796" y="8769"/>
                  <a:pt x="21842" y="4373"/>
                </a:cubicBezTo>
                <a:cubicBezTo>
                  <a:pt x="18358" y="1267"/>
                  <a:pt x="12345" y="1"/>
                  <a:pt x="6827" y="1"/>
                </a:cubicBezTo>
                <a:close/>
              </a:path>
            </a:pathLst>
          </a:custGeom>
          <a:solidFill>
            <a:schemeClr val="accent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23683899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itle and body" type="tx">
  <p:cSld name="Title and body">
    <p:bg>
      <p:bgPr>
        <a:blipFill>
          <a:blip r:embed="rId2">
            <a:alphaModFix/>
          </a:blip>
          <a:stretch>
            <a:fillRect/>
          </a:stretch>
        </a:blipFill>
        <a:effectLst/>
      </p:bgPr>
    </p:bg>
    <p:spTree>
      <p:nvGrpSpPr>
        <p:cNvPr id="1" name="Shape 93"/>
        <p:cNvGrpSpPr/>
        <p:nvPr/>
      </p:nvGrpSpPr>
      <p:grpSpPr>
        <a:xfrm>
          <a:off x="0" y="0"/>
          <a:ext cx="0" cy="0"/>
          <a:chOff x="0" y="0"/>
          <a:chExt cx="0" cy="0"/>
        </a:xfrm>
      </p:grpSpPr>
      <p:sp>
        <p:nvSpPr>
          <p:cNvPr id="94" name="Google Shape;94;p4"/>
          <p:cNvSpPr/>
          <p:nvPr/>
        </p:nvSpPr>
        <p:spPr>
          <a:xfrm rot="7028957">
            <a:off x="11607765" y="6146378"/>
            <a:ext cx="418624" cy="484489"/>
          </a:xfrm>
          <a:custGeom>
            <a:avLst/>
            <a:gdLst/>
            <a:ahLst/>
            <a:cxnLst/>
            <a:rect l="l" t="t" r="r" b="b"/>
            <a:pathLst>
              <a:path w="12559" h="14535" extrusionOk="0">
                <a:moveTo>
                  <a:pt x="11221" y="0"/>
                </a:moveTo>
                <a:cubicBezTo>
                  <a:pt x="10880" y="0"/>
                  <a:pt x="10563" y="317"/>
                  <a:pt x="10791" y="727"/>
                </a:cubicBezTo>
                <a:cubicBezTo>
                  <a:pt x="10991" y="1061"/>
                  <a:pt x="11124" y="1394"/>
                  <a:pt x="11158" y="1761"/>
                </a:cubicBezTo>
                <a:cubicBezTo>
                  <a:pt x="11191" y="1895"/>
                  <a:pt x="11191" y="1995"/>
                  <a:pt x="11191" y="2161"/>
                </a:cubicBezTo>
                <a:cubicBezTo>
                  <a:pt x="11024" y="2095"/>
                  <a:pt x="10824" y="1995"/>
                  <a:pt x="10657" y="1928"/>
                </a:cubicBezTo>
                <a:lnTo>
                  <a:pt x="9490" y="1328"/>
                </a:lnTo>
                <a:cubicBezTo>
                  <a:pt x="9385" y="1281"/>
                  <a:pt x="9282" y="1260"/>
                  <a:pt x="9185" y="1260"/>
                </a:cubicBezTo>
                <a:cubicBezTo>
                  <a:pt x="8728" y="1260"/>
                  <a:pt x="8402" y="1733"/>
                  <a:pt x="8623" y="2228"/>
                </a:cubicBezTo>
                <a:cubicBezTo>
                  <a:pt x="8856" y="2729"/>
                  <a:pt x="9123" y="3229"/>
                  <a:pt x="9323" y="3729"/>
                </a:cubicBezTo>
                <a:lnTo>
                  <a:pt x="7822" y="2595"/>
                </a:lnTo>
                <a:cubicBezTo>
                  <a:pt x="7678" y="2490"/>
                  <a:pt x="7523" y="2442"/>
                  <a:pt x="7379" y="2442"/>
                </a:cubicBezTo>
                <a:cubicBezTo>
                  <a:pt x="7021" y="2442"/>
                  <a:pt x="6726" y="2734"/>
                  <a:pt x="6821" y="3162"/>
                </a:cubicBezTo>
                <a:cubicBezTo>
                  <a:pt x="6955" y="3963"/>
                  <a:pt x="7322" y="4663"/>
                  <a:pt x="7789" y="5397"/>
                </a:cubicBezTo>
                <a:cubicBezTo>
                  <a:pt x="7722" y="5330"/>
                  <a:pt x="7689" y="5297"/>
                  <a:pt x="7655" y="5230"/>
                </a:cubicBezTo>
                <a:cubicBezTo>
                  <a:pt x="6855" y="4330"/>
                  <a:pt x="6121" y="3429"/>
                  <a:pt x="5354" y="2495"/>
                </a:cubicBezTo>
                <a:cubicBezTo>
                  <a:pt x="5244" y="2359"/>
                  <a:pt x="5108" y="2301"/>
                  <a:pt x="4970" y="2301"/>
                </a:cubicBezTo>
                <a:cubicBezTo>
                  <a:pt x="4602" y="2301"/>
                  <a:pt x="4223" y="2707"/>
                  <a:pt x="4320" y="3095"/>
                </a:cubicBezTo>
                <a:cubicBezTo>
                  <a:pt x="4720" y="4630"/>
                  <a:pt x="5220" y="6131"/>
                  <a:pt x="5887" y="7599"/>
                </a:cubicBezTo>
                <a:cubicBezTo>
                  <a:pt x="6021" y="7832"/>
                  <a:pt x="6154" y="8132"/>
                  <a:pt x="6288" y="8399"/>
                </a:cubicBezTo>
                <a:cubicBezTo>
                  <a:pt x="6121" y="8166"/>
                  <a:pt x="5887" y="7932"/>
                  <a:pt x="5721" y="7732"/>
                </a:cubicBezTo>
                <a:cubicBezTo>
                  <a:pt x="5220" y="7132"/>
                  <a:pt x="4720" y="6498"/>
                  <a:pt x="4186" y="5931"/>
                </a:cubicBezTo>
                <a:cubicBezTo>
                  <a:pt x="3719" y="5364"/>
                  <a:pt x="3319" y="4797"/>
                  <a:pt x="2618" y="4530"/>
                </a:cubicBezTo>
                <a:cubicBezTo>
                  <a:pt x="2566" y="4515"/>
                  <a:pt x="2514" y="4508"/>
                  <a:pt x="2463" y="4508"/>
                </a:cubicBezTo>
                <a:cubicBezTo>
                  <a:pt x="2061" y="4508"/>
                  <a:pt x="1733" y="4942"/>
                  <a:pt x="1851" y="5297"/>
                </a:cubicBezTo>
                <a:cubicBezTo>
                  <a:pt x="2218" y="6831"/>
                  <a:pt x="2819" y="8333"/>
                  <a:pt x="3486" y="9800"/>
                </a:cubicBezTo>
                <a:cubicBezTo>
                  <a:pt x="3719" y="10334"/>
                  <a:pt x="3986" y="10834"/>
                  <a:pt x="4286" y="11401"/>
                </a:cubicBezTo>
                <a:cubicBezTo>
                  <a:pt x="4153" y="11235"/>
                  <a:pt x="3986" y="11101"/>
                  <a:pt x="3853" y="10934"/>
                </a:cubicBezTo>
                <a:cubicBezTo>
                  <a:pt x="3119" y="10034"/>
                  <a:pt x="2552" y="9066"/>
                  <a:pt x="1651" y="8333"/>
                </a:cubicBezTo>
                <a:cubicBezTo>
                  <a:pt x="1553" y="8262"/>
                  <a:pt x="1454" y="8232"/>
                  <a:pt x="1361" y="8232"/>
                </a:cubicBezTo>
                <a:cubicBezTo>
                  <a:pt x="1011" y="8232"/>
                  <a:pt x="731" y="8657"/>
                  <a:pt x="784" y="9000"/>
                </a:cubicBezTo>
                <a:cubicBezTo>
                  <a:pt x="1017" y="10334"/>
                  <a:pt x="1351" y="11635"/>
                  <a:pt x="1885" y="12902"/>
                </a:cubicBezTo>
                <a:cubicBezTo>
                  <a:pt x="1951" y="13003"/>
                  <a:pt x="2018" y="13269"/>
                  <a:pt x="2051" y="13436"/>
                </a:cubicBezTo>
                <a:cubicBezTo>
                  <a:pt x="1985" y="13403"/>
                  <a:pt x="1885" y="13303"/>
                  <a:pt x="1851" y="13269"/>
                </a:cubicBezTo>
                <a:cubicBezTo>
                  <a:pt x="1351" y="12836"/>
                  <a:pt x="984" y="12335"/>
                  <a:pt x="650" y="11768"/>
                </a:cubicBezTo>
                <a:cubicBezTo>
                  <a:pt x="589" y="11656"/>
                  <a:pt x="499" y="11609"/>
                  <a:pt x="409" y="11609"/>
                </a:cubicBezTo>
                <a:cubicBezTo>
                  <a:pt x="206" y="11609"/>
                  <a:pt x="1" y="11847"/>
                  <a:pt x="117" y="12102"/>
                </a:cubicBezTo>
                <a:cubicBezTo>
                  <a:pt x="484" y="12836"/>
                  <a:pt x="951" y="13603"/>
                  <a:pt x="1618" y="14137"/>
                </a:cubicBezTo>
                <a:cubicBezTo>
                  <a:pt x="1859" y="14341"/>
                  <a:pt x="2223" y="14534"/>
                  <a:pt x="2546" y="14534"/>
                </a:cubicBezTo>
                <a:cubicBezTo>
                  <a:pt x="2803" y="14534"/>
                  <a:pt x="3034" y="14411"/>
                  <a:pt x="3152" y="14070"/>
                </a:cubicBezTo>
                <a:cubicBezTo>
                  <a:pt x="3219" y="13736"/>
                  <a:pt x="3119" y="13436"/>
                  <a:pt x="3019" y="13103"/>
                </a:cubicBezTo>
                <a:cubicBezTo>
                  <a:pt x="2852" y="12602"/>
                  <a:pt x="2718" y="12102"/>
                  <a:pt x="2552" y="11602"/>
                </a:cubicBezTo>
                <a:cubicBezTo>
                  <a:pt x="2485" y="11335"/>
                  <a:pt x="2452" y="11135"/>
                  <a:pt x="2352" y="10901"/>
                </a:cubicBezTo>
                <a:lnTo>
                  <a:pt x="2352" y="10901"/>
                </a:lnTo>
                <a:cubicBezTo>
                  <a:pt x="2652" y="11268"/>
                  <a:pt x="2885" y="11635"/>
                  <a:pt x="3185" y="11968"/>
                </a:cubicBezTo>
                <a:cubicBezTo>
                  <a:pt x="3986" y="12902"/>
                  <a:pt x="4953" y="13603"/>
                  <a:pt x="5887" y="14303"/>
                </a:cubicBezTo>
                <a:cubicBezTo>
                  <a:pt x="5959" y="14361"/>
                  <a:pt x="6043" y="14386"/>
                  <a:pt x="6129" y="14386"/>
                </a:cubicBezTo>
                <a:cubicBezTo>
                  <a:pt x="6443" y="14386"/>
                  <a:pt x="6786" y="14051"/>
                  <a:pt x="6655" y="13736"/>
                </a:cubicBezTo>
                <a:cubicBezTo>
                  <a:pt x="6121" y="12302"/>
                  <a:pt x="5187" y="11001"/>
                  <a:pt x="4553" y="9600"/>
                </a:cubicBezTo>
                <a:cubicBezTo>
                  <a:pt x="4220" y="8833"/>
                  <a:pt x="3953" y="8066"/>
                  <a:pt x="3686" y="7265"/>
                </a:cubicBezTo>
                <a:lnTo>
                  <a:pt x="3686" y="7265"/>
                </a:lnTo>
                <a:lnTo>
                  <a:pt x="5053" y="8900"/>
                </a:lnTo>
                <a:cubicBezTo>
                  <a:pt x="6021" y="10000"/>
                  <a:pt x="6988" y="11135"/>
                  <a:pt x="7889" y="12235"/>
                </a:cubicBezTo>
                <a:cubicBezTo>
                  <a:pt x="8008" y="12354"/>
                  <a:pt x="8150" y="12406"/>
                  <a:pt x="8292" y="12406"/>
                </a:cubicBezTo>
                <a:cubicBezTo>
                  <a:pt x="8627" y="12406"/>
                  <a:pt x="8956" y="12120"/>
                  <a:pt x="8956" y="11768"/>
                </a:cubicBezTo>
                <a:cubicBezTo>
                  <a:pt x="8990" y="10968"/>
                  <a:pt x="8656" y="10301"/>
                  <a:pt x="8289" y="9633"/>
                </a:cubicBezTo>
                <a:cubicBezTo>
                  <a:pt x="7855" y="8933"/>
                  <a:pt x="7489" y="8166"/>
                  <a:pt x="7155" y="7432"/>
                </a:cubicBezTo>
                <a:cubicBezTo>
                  <a:pt x="6855" y="6831"/>
                  <a:pt x="6655" y="6231"/>
                  <a:pt x="6388" y="5631"/>
                </a:cubicBezTo>
                <a:lnTo>
                  <a:pt x="6388" y="5631"/>
                </a:lnTo>
                <a:cubicBezTo>
                  <a:pt x="6555" y="5797"/>
                  <a:pt x="6721" y="5998"/>
                  <a:pt x="6855" y="6164"/>
                </a:cubicBezTo>
                <a:cubicBezTo>
                  <a:pt x="7622" y="6998"/>
                  <a:pt x="8322" y="7966"/>
                  <a:pt x="9357" y="8466"/>
                </a:cubicBezTo>
                <a:cubicBezTo>
                  <a:pt x="9442" y="8505"/>
                  <a:pt x="9541" y="8524"/>
                  <a:pt x="9643" y="8524"/>
                </a:cubicBezTo>
                <a:cubicBezTo>
                  <a:pt x="9980" y="8524"/>
                  <a:pt x="10342" y="8316"/>
                  <a:pt x="10291" y="7932"/>
                </a:cubicBezTo>
                <a:cubicBezTo>
                  <a:pt x="10157" y="6965"/>
                  <a:pt x="9723" y="6131"/>
                  <a:pt x="9190" y="5297"/>
                </a:cubicBezTo>
                <a:lnTo>
                  <a:pt x="8956" y="4930"/>
                </a:lnTo>
                <a:lnTo>
                  <a:pt x="8956" y="4930"/>
                </a:lnTo>
                <a:cubicBezTo>
                  <a:pt x="9290" y="5164"/>
                  <a:pt x="9657" y="5464"/>
                  <a:pt x="9990" y="5731"/>
                </a:cubicBezTo>
                <a:cubicBezTo>
                  <a:pt x="10127" y="5822"/>
                  <a:pt x="10291" y="5878"/>
                  <a:pt x="10452" y="5878"/>
                </a:cubicBezTo>
                <a:cubicBezTo>
                  <a:pt x="10644" y="5878"/>
                  <a:pt x="10830" y="5797"/>
                  <a:pt x="10958" y="5597"/>
                </a:cubicBezTo>
                <a:cubicBezTo>
                  <a:pt x="11291" y="4897"/>
                  <a:pt x="10991" y="4330"/>
                  <a:pt x="10691" y="3663"/>
                </a:cubicBezTo>
                <a:cubicBezTo>
                  <a:pt x="10624" y="3496"/>
                  <a:pt x="10524" y="3362"/>
                  <a:pt x="10491" y="3196"/>
                </a:cubicBezTo>
                <a:lnTo>
                  <a:pt x="10491" y="3196"/>
                </a:lnTo>
                <a:cubicBezTo>
                  <a:pt x="10557" y="3262"/>
                  <a:pt x="10624" y="3296"/>
                  <a:pt x="10691" y="3329"/>
                </a:cubicBezTo>
                <a:cubicBezTo>
                  <a:pt x="10982" y="3495"/>
                  <a:pt x="11338" y="3688"/>
                  <a:pt x="11662" y="3688"/>
                </a:cubicBezTo>
                <a:cubicBezTo>
                  <a:pt x="11857" y="3688"/>
                  <a:pt x="12041" y="3617"/>
                  <a:pt x="12192" y="3429"/>
                </a:cubicBezTo>
                <a:cubicBezTo>
                  <a:pt x="12559" y="2995"/>
                  <a:pt x="12492" y="2328"/>
                  <a:pt x="12392" y="1828"/>
                </a:cubicBezTo>
                <a:cubicBezTo>
                  <a:pt x="12325" y="1261"/>
                  <a:pt x="12025" y="660"/>
                  <a:pt x="11658" y="227"/>
                </a:cubicBezTo>
                <a:cubicBezTo>
                  <a:pt x="11542" y="68"/>
                  <a:pt x="11379" y="0"/>
                  <a:pt x="11221" y="0"/>
                </a:cubicBezTo>
                <a:close/>
              </a:path>
            </a:pathLst>
          </a:custGeom>
          <a:solidFill>
            <a:schemeClr val="accent4"/>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95" name="Google Shape;95;p4"/>
          <p:cNvSpPr txBox="1">
            <a:spLocks noGrp="1"/>
          </p:cNvSpPr>
          <p:nvPr>
            <p:ph type="title"/>
          </p:nvPr>
        </p:nvSpPr>
        <p:spPr>
          <a:xfrm>
            <a:off x="831200" y="593367"/>
            <a:ext cx="1040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sz="4267"/>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96" name="Google Shape;96;p4"/>
          <p:cNvSpPr txBox="1">
            <a:spLocks noGrp="1"/>
          </p:cNvSpPr>
          <p:nvPr>
            <p:ph type="body" idx="1"/>
          </p:nvPr>
        </p:nvSpPr>
        <p:spPr>
          <a:xfrm>
            <a:off x="822000" y="1596400"/>
            <a:ext cx="10603600" cy="4555200"/>
          </a:xfrm>
          <a:prstGeom prst="rect">
            <a:avLst/>
          </a:prstGeom>
        </p:spPr>
        <p:txBody>
          <a:bodyPr spcFirstLastPara="1" wrap="square" lIns="91425" tIns="91425" rIns="91425" bIns="91425" anchor="t" anchorCtr="0">
            <a:normAutofit/>
          </a:bodyPr>
          <a:lstStyle>
            <a:lvl1pPr marL="609585" lvl="0" indent="-406390">
              <a:spcBef>
                <a:spcPts val="0"/>
              </a:spcBef>
              <a:spcAft>
                <a:spcPts val="0"/>
              </a:spcAft>
              <a:buSzPts val="1200"/>
              <a:buChar char="●"/>
              <a:defRPr sz="1600"/>
            </a:lvl1pPr>
            <a:lvl2pPr marL="1219170" lvl="1" indent="-440256">
              <a:lnSpc>
                <a:spcPct val="100000"/>
              </a:lnSpc>
              <a:spcBef>
                <a:spcPts val="0"/>
              </a:spcBef>
              <a:spcAft>
                <a:spcPts val="0"/>
              </a:spcAft>
              <a:buSzPts val="1600"/>
              <a:buChar char="○"/>
              <a:defRPr sz="1600"/>
            </a:lvl2pPr>
            <a:lvl3pPr marL="1828754" lvl="2" indent="-440256">
              <a:spcBef>
                <a:spcPts val="0"/>
              </a:spcBef>
              <a:spcAft>
                <a:spcPts val="0"/>
              </a:spcAft>
              <a:buSzPts val="1600"/>
              <a:buChar char="■"/>
              <a:defRPr/>
            </a:lvl3pPr>
            <a:lvl4pPr marL="2438339" lvl="3" indent="-440256">
              <a:spcBef>
                <a:spcPts val="0"/>
              </a:spcBef>
              <a:spcAft>
                <a:spcPts val="0"/>
              </a:spcAft>
              <a:buSzPts val="1600"/>
              <a:buChar char="●"/>
              <a:defRPr/>
            </a:lvl4pPr>
            <a:lvl5pPr marL="3047924" lvl="4" indent="-440256">
              <a:spcBef>
                <a:spcPts val="0"/>
              </a:spcBef>
              <a:spcAft>
                <a:spcPts val="0"/>
              </a:spcAft>
              <a:buSzPts val="1600"/>
              <a:buChar char="○"/>
              <a:defRPr/>
            </a:lvl5pPr>
            <a:lvl6pPr marL="3657509" lvl="5" indent="-440256">
              <a:spcBef>
                <a:spcPts val="0"/>
              </a:spcBef>
              <a:spcAft>
                <a:spcPts val="0"/>
              </a:spcAft>
              <a:buSzPts val="1600"/>
              <a:buChar char="■"/>
              <a:defRPr/>
            </a:lvl6pPr>
            <a:lvl7pPr marL="4267093" lvl="6" indent="-440256">
              <a:spcBef>
                <a:spcPts val="0"/>
              </a:spcBef>
              <a:spcAft>
                <a:spcPts val="0"/>
              </a:spcAft>
              <a:buSzPts val="1600"/>
              <a:buChar char="●"/>
              <a:defRPr/>
            </a:lvl7pPr>
            <a:lvl8pPr marL="4876678" lvl="7" indent="-440256">
              <a:spcBef>
                <a:spcPts val="0"/>
              </a:spcBef>
              <a:spcAft>
                <a:spcPts val="0"/>
              </a:spcAft>
              <a:buSzPts val="1600"/>
              <a:buChar char="○"/>
              <a:defRPr/>
            </a:lvl8pPr>
            <a:lvl9pPr marL="5486263" lvl="8" indent="-440256">
              <a:spcBef>
                <a:spcPts val="0"/>
              </a:spcBef>
              <a:spcAft>
                <a:spcPts val="0"/>
              </a:spcAft>
              <a:buSzPts val="1600"/>
              <a:buChar char="■"/>
              <a:defRPr/>
            </a:lvl9pPr>
          </a:lstStyle>
          <a:p>
            <a:endParaRPr/>
          </a:p>
        </p:txBody>
      </p:sp>
      <p:sp>
        <p:nvSpPr>
          <p:cNvPr id="97" name="Google Shape;97;p4"/>
          <p:cNvSpPr/>
          <p:nvPr/>
        </p:nvSpPr>
        <p:spPr>
          <a:xfrm rot="-5400000">
            <a:off x="9610604" y="79900"/>
            <a:ext cx="2659057" cy="2503731"/>
          </a:xfrm>
          <a:custGeom>
            <a:avLst/>
            <a:gdLst/>
            <a:ahLst/>
            <a:cxnLst/>
            <a:rect l="l" t="t" r="r" b="b"/>
            <a:pathLst>
              <a:path w="59301" h="55837" extrusionOk="0">
                <a:moveTo>
                  <a:pt x="53972" y="1"/>
                </a:moveTo>
                <a:cubicBezTo>
                  <a:pt x="47710" y="1"/>
                  <a:pt x="44048" y="6413"/>
                  <a:pt x="43048" y="10621"/>
                </a:cubicBezTo>
                <a:cubicBezTo>
                  <a:pt x="41735" y="15892"/>
                  <a:pt x="42451" y="21621"/>
                  <a:pt x="40422" y="26654"/>
                </a:cubicBezTo>
                <a:cubicBezTo>
                  <a:pt x="36821" y="35666"/>
                  <a:pt x="25940" y="39386"/>
                  <a:pt x="16232" y="39425"/>
                </a:cubicBezTo>
                <a:cubicBezTo>
                  <a:pt x="15382" y="39425"/>
                  <a:pt x="14519" y="39408"/>
                  <a:pt x="13657" y="39408"/>
                </a:cubicBezTo>
                <a:cubicBezTo>
                  <a:pt x="11069" y="39408"/>
                  <a:pt x="8484" y="39565"/>
                  <a:pt x="6246" y="40818"/>
                </a:cubicBezTo>
                <a:cubicBezTo>
                  <a:pt x="1293" y="43563"/>
                  <a:pt x="338" y="50167"/>
                  <a:pt x="0" y="55837"/>
                </a:cubicBezTo>
                <a:lnTo>
                  <a:pt x="59300" y="55837"/>
                </a:lnTo>
                <a:lnTo>
                  <a:pt x="59221" y="1371"/>
                </a:lnTo>
                <a:cubicBezTo>
                  <a:pt x="57305" y="411"/>
                  <a:pt x="55555" y="1"/>
                  <a:pt x="53972"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98" name="Google Shape;98;p4"/>
          <p:cNvGrpSpPr/>
          <p:nvPr/>
        </p:nvGrpSpPr>
        <p:grpSpPr>
          <a:xfrm>
            <a:off x="9407226" y="480641"/>
            <a:ext cx="979889" cy="1078461"/>
            <a:chOff x="5571650" y="2059975"/>
            <a:chExt cx="445350" cy="490150"/>
          </a:xfrm>
        </p:grpSpPr>
        <p:sp>
          <p:nvSpPr>
            <p:cNvPr id="99" name="Google Shape;99;p4"/>
            <p:cNvSpPr/>
            <p:nvPr/>
          </p:nvSpPr>
          <p:spPr>
            <a:xfrm>
              <a:off x="5571650" y="2059975"/>
              <a:ext cx="445350" cy="490150"/>
            </a:xfrm>
            <a:custGeom>
              <a:avLst/>
              <a:gdLst/>
              <a:ahLst/>
              <a:cxnLst/>
              <a:rect l="l" t="t" r="r" b="b"/>
              <a:pathLst>
                <a:path w="17814" h="19606" extrusionOk="0">
                  <a:moveTo>
                    <a:pt x="11439" y="1"/>
                  </a:moveTo>
                  <a:cubicBezTo>
                    <a:pt x="9178" y="1"/>
                    <a:pt x="1533" y="1745"/>
                    <a:pt x="734" y="3214"/>
                  </a:cubicBezTo>
                  <a:cubicBezTo>
                    <a:pt x="201" y="4181"/>
                    <a:pt x="0" y="7884"/>
                    <a:pt x="701" y="8951"/>
                  </a:cubicBezTo>
                  <a:cubicBezTo>
                    <a:pt x="701" y="8951"/>
                    <a:pt x="990" y="8896"/>
                    <a:pt x="1415" y="8896"/>
                  </a:cubicBezTo>
                  <a:cubicBezTo>
                    <a:pt x="2352" y="8896"/>
                    <a:pt x="3951" y="9165"/>
                    <a:pt x="4570" y="10886"/>
                  </a:cubicBezTo>
                  <a:cubicBezTo>
                    <a:pt x="5871" y="14522"/>
                    <a:pt x="2836" y="15990"/>
                    <a:pt x="2836" y="15990"/>
                  </a:cubicBezTo>
                  <a:cubicBezTo>
                    <a:pt x="2669" y="17190"/>
                    <a:pt x="3403" y="19259"/>
                    <a:pt x="4404" y="19559"/>
                  </a:cubicBezTo>
                  <a:cubicBezTo>
                    <a:pt x="4525" y="19591"/>
                    <a:pt x="4688" y="19605"/>
                    <a:pt x="4881" y="19605"/>
                  </a:cubicBezTo>
                  <a:cubicBezTo>
                    <a:pt x="6278" y="19605"/>
                    <a:pt x="9240" y="18858"/>
                    <a:pt x="9240" y="18858"/>
                  </a:cubicBezTo>
                  <a:cubicBezTo>
                    <a:pt x="9240" y="18858"/>
                    <a:pt x="7839" y="10619"/>
                    <a:pt x="7072" y="7550"/>
                  </a:cubicBezTo>
                  <a:cubicBezTo>
                    <a:pt x="6443" y="4793"/>
                    <a:pt x="6217" y="2628"/>
                    <a:pt x="7412" y="2628"/>
                  </a:cubicBezTo>
                  <a:cubicBezTo>
                    <a:pt x="7547" y="2628"/>
                    <a:pt x="7700" y="2656"/>
                    <a:pt x="7873" y="2713"/>
                  </a:cubicBezTo>
                  <a:cubicBezTo>
                    <a:pt x="10141" y="3481"/>
                    <a:pt x="11375" y="10953"/>
                    <a:pt x="13010" y="17691"/>
                  </a:cubicBezTo>
                  <a:cubicBezTo>
                    <a:pt x="13051" y="17703"/>
                    <a:pt x="13110" y="17708"/>
                    <a:pt x="13185" y="17708"/>
                  </a:cubicBezTo>
                  <a:cubicBezTo>
                    <a:pt x="13964" y="17708"/>
                    <a:pt x="16410" y="17082"/>
                    <a:pt x="17079" y="15956"/>
                  </a:cubicBezTo>
                  <a:cubicBezTo>
                    <a:pt x="17813" y="14689"/>
                    <a:pt x="16846" y="11920"/>
                    <a:pt x="16179" y="11220"/>
                  </a:cubicBezTo>
                  <a:cubicBezTo>
                    <a:pt x="16179" y="11220"/>
                    <a:pt x="15802" y="11322"/>
                    <a:pt x="15286" y="11322"/>
                  </a:cubicBezTo>
                  <a:cubicBezTo>
                    <a:pt x="14362" y="11322"/>
                    <a:pt x="12992" y="10993"/>
                    <a:pt x="12543" y="9151"/>
                  </a:cubicBezTo>
                  <a:cubicBezTo>
                    <a:pt x="11842" y="6383"/>
                    <a:pt x="14711" y="4848"/>
                    <a:pt x="14711" y="4848"/>
                  </a:cubicBezTo>
                  <a:cubicBezTo>
                    <a:pt x="14578" y="3881"/>
                    <a:pt x="13377" y="145"/>
                    <a:pt x="11709" y="12"/>
                  </a:cubicBezTo>
                  <a:cubicBezTo>
                    <a:pt x="11630" y="4"/>
                    <a:pt x="11540" y="1"/>
                    <a:pt x="11439" y="1"/>
                  </a:cubicBezTo>
                  <a:close/>
                </a:path>
              </a:pathLst>
            </a:custGeom>
            <a:solidFill>
              <a:schemeClr val="accent4"/>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0" name="Google Shape;100;p4"/>
            <p:cNvSpPr/>
            <p:nvPr/>
          </p:nvSpPr>
          <p:spPr>
            <a:xfrm>
              <a:off x="5866850" y="2180325"/>
              <a:ext cx="109275" cy="162675"/>
            </a:xfrm>
            <a:custGeom>
              <a:avLst/>
              <a:gdLst/>
              <a:ahLst/>
              <a:cxnLst/>
              <a:rect l="l" t="t" r="r" b="b"/>
              <a:pathLst>
                <a:path w="4371" h="6507" extrusionOk="0">
                  <a:moveTo>
                    <a:pt x="2870" y="1"/>
                  </a:moveTo>
                  <a:lnTo>
                    <a:pt x="2870" y="1"/>
                  </a:lnTo>
                  <a:cubicBezTo>
                    <a:pt x="2869" y="1"/>
                    <a:pt x="1" y="1536"/>
                    <a:pt x="701" y="4304"/>
                  </a:cubicBezTo>
                  <a:cubicBezTo>
                    <a:pt x="1174" y="6174"/>
                    <a:pt x="2562" y="6507"/>
                    <a:pt x="3488" y="6507"/>
                  </a:cubicBezTo>
                  <a:cubicBezTo>
                    <a:pt x="4000" y="6507"/>
                    <a:pt x="4371" y="6406"/>
                    <a:pt x="4371" y="6406"/>
                  </a:cubicBezTo>
                  <a:cubicBezTo>
                    <a:pt x="3704" y="5738"/>
                    <a:pt x="2269" y="6172"/>
                    <a:pt x="2002" y="3704"/>
                  </a:cubicBezTo>
                  <a:cubicBezTo>
                    <a:pt x="1769" y="2069"/>
                    <a:pt x="2903" y="435"/>
                    <a:pt x="2870" y="1"/>
                  </a:cubicBezTo>
                  <a:close/>
                </a:path>
              </a:pathLst>
            </a:custGeom>
            <a:solidFill>
              <a:schemeClr val="accent5"/>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1" name="Google Shape;101;p4"/>
            <p:cNvSpPr/>
            <p:nvPr/>
          </p:nvSpPr>
          <p:spPr>
            <a:xfrm>
              <a:off x="5726050" y="2125875"/>
              <a:ext cx="170025" cy="405575"/>
            </a:xfrm>
            <a:custGeom>
              <a:avLst/>
              <a:gdLst/>
              <a:ahLst/>
              <a:cxnLst/>
              <a:rect l="l" t="t" r="r" b="b"/>
              <a:pathLst>
                <a:path w="6801" h="16223" extrusionOk="0">
                  <a:moveTo>
                    <a:pt x="1218" y="0"/>
                  </a:moveTo>
                  <a:cubicBezTo>
                    <a:pt x="0" y="0"/>
                    <a:pt x="201" y="2145"/>
                    <a:pt x="863" y="4914"/>
                  </a:cubicBezTo>
                  <a:cubicBezTo>
                    <a:pt x="1563" y="7950"/>
                    <a:pt x="3031" y="16222"/>
                    <a:pt x="3031" y="16222"/>
                  </a:cubicBezTo>
                  <a:cubicBezTo>
                    <a:pt x="3031" y="16222"/>
                    <a:pt x="3365" y="15388"/>
                    <a:pt x="4132" y="15122"/>
                  </a:cubicBezTo>
                  <a:cubicBezTo>
                    <a:pt x="4397" y="15055"/>
                    <a:pt x="4939" y="14887"/>
                    <a:pt x="5634" y="14887"/>
                  </a:cubicBezTo>
                  <a:cubicBezTo>
                    <a:pt x="5989" y="14887"/>
                    <a:pt x="6383" y="14931"/>
                    <a:pt x="6800" y="15055"/>
                  </a:cubicBezTo>
                  <a:cubicBezTo>
                    <a:pt x="5166" y="8317"/>
                    <a:pt x="3965" y="845"/>
                    <a:pt x="1663" y="77"/>
                  </a:cubicBezTo>
                  <a:cubicBezTo>
                    <a:pt x="1497" y="25"/>
                    <a:pt x="1349" y="0"/>
                    <a:pt x="1218" y="0"/>
                  </a:cubicBezTo>
                  <a:close/>
                </a:path>
              </a:pathLst>
            </a:custGeom>
            <a:solidFill>
              <a:schemeClr val="accent1"/>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2" name="Google Shape;102;p4"/>
            <p:cNvSpPr/>
            <p:nvPr/>
          </p:nvSpPr>
          <p:spPr>
            <a:xfrm>
              <a:off x="5587500" y="2280575"/>
              <a:ext cx="130950" cy="178325"/>
            </a:xfrm>
            <a:custGeom>
              <a:avLst/>
              <a:gdLst/>
              <a:ahLst/>
              <a:cxnLst/>
              <a:rect l="l" t="t" r="r" b="b"/>
              <a:pathLst>
                <a:path w="5238" h="7133" extrusionOk="0">
                  <a:moveTo>
                    <a:pt x="617" y="1"/>
                  </a:moveTo>
                  <a:cubicBezTo>
                    <a:pt x="295" y="1"/>
                    <a:pt x="68" y="29"/>
                    <a:pt x="13" y="29"/>
                  </a:cubicBezTo>
                  <a:cubicBezTo>
                    <a:pt x="6" y="29"/>
                    <a:pt x="1" y="28"/>
                    <a:pt x="0" y="27"/>
                  </a:cubicBezTo>
                  <a:lnTo>
                    <a:pt x="0" y="27"/>
                  </a:lnTo>
                  <a:cubicBezTo>
                    <a:pt x="67" y="161"/>
                    <a:pt x="167" y="227"/>
                    <a:pt x="234" y="294"/>
                  </a:cubicBezTo>
                  <a:cubicBezTo>
                    <a:pt x="1234" y="794"/>
                    <a:pt x="1668" y="995"/>
                    <a:pt x="2402" y="2963"/>
                  </a:cubicBezTo>
                  <a:cubicBezTo>
                    <a:pt x="2936" y="4397"/>
                    <a:pt x="2335" y="5865"/>
                    <a:pt x="2168" y="7132"/>
                  </a:cubicBezTo>
                  <a:cubicBezTo>
                    <a:pt x="2168" y="7132"/>
                    <a:pt x="5237" y="5665"/>
                    <a:pt x="3903" y="2029"/>
                  </a:cubicBezTo>
                  <a:cubicBezTo>
                    <a:pt x="3256" y="232"/>
                    <a:pt x="1543" y="1"/>
                    <a:pt x="617" y="1"/>
                  </a:cubicBezTo>
                  <a:close/>
                </a:path>
              </a:pathLst>
            </a:custGeom>
            <a:solidFill>
              <a:schemeClr val="accent5"/>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3" name="Google Shape;103;p4"/>
            <p:cNvSpPr/>
            <p:nvPr/>
          </p:nvSpPr>
          <p:spPr>
            <a:xfrm>
              <a:off x="5808475" y="2290425"/>
              <a:ext cx="33400" cy="33375"/>
            </a:xfrm>
            <a:custGeom>
              <a:avLst/>
              <a:gdLst/>
              <a:ahLst/>
              <a:cxnLst/>
              <a:rect l="l" t="t" r="r" b="b"/>
              <a:pathLst>
                <a:path w="1336" h="1335" extrusionOk="0">
                  <a:moveTo>
                    <a:pt x="701" y="0"/>
                  </a:moveTo>
                  <a:cubicBezTo>
                    <a:pt x="601" y="0"/>
                    <a:pt x="535" y="0"/>
                    <a:pt x="435" y="33"/>
                  </a:cubicBezTo>
                  <a:cubicBezTo>
                    <a:pt x="368" y="100"/>
                    <a:pt x="268" y="134"/>
                    <a:pt x="234" y="167"/>
                  </a:cubicBezTo>
                  <a:cubicBezTo>
                    <a:pt x="168" y="200"/>
                    <a:pt x="101" y="300"/>
                    <a:pt x="68" y="400"/>
                  </a:cubicBezTo>
                  <a:cubicBezTo>
                    <a:pt x="34" y="467"/>
                    <a:pt x="1" y="567"/>
                    <a:pt x="1" y="634"/>
                  </a:cubicBezTo>
                  <a:lnTo>
                    <a:pt x="1" y="801"/>
                  </a:lnTo>
                  <a:cubicBezTo>
                    <a:pt x="34" y="934"/>
                    <a:pt x="68" y="1001"/>
                    <a:pt x="168" y="1101"/>
                  </a:cubicBezTo>
                  <a:lnTo>
                    <a:pt x="268" y="1234"/>
                  </a:lnTo>
                  <a:cubicBezTo>
                    <a:pt x="368" y="1301"/>
                    <a:pt x="501" y="1334"/>
                    <a:pt x="601" y="1334"/>
                  </a:cubicBezTo>
                  <a:cubicBezTo>
                    <a:pt x="701" y="1334"/>
                    <a:pt x="768" y="1334"/>
                    <a:pt x="868" y="1301"/>
                  </a:cubicBezTo>
                  <a:cubicBezTo>
                    <a:pt x="935" y="1268"/>
                    <a:pt x="1035" y="1234"/>
                    <a:pt x="1068" y="1168"/>
                  </a:cubicBezTo>
                  <a:cubicBezTo>
                    <a:pt x="1168" y="1134"/>
                    <a:pt x="1202" y="1034"/>
                    <a:pt x="1235" y="967"/>
                  </a:cubicBezTo>
                  <a:cubicBezTo>
                    <a:pt x="1268" y="901"/>
                    <a:pt x="1335" y="801"/>
                    <a:pt x="1335" y="734"/>
                  </a:cubicBezTo>
                  <a:lnTo>
                    <a:pt x="1335" y="567"/>
                  </a:lnTo>
                  <a:cubicBezTo>
                    <a:pt x="1268" y="434"/>
                    <a:pt x="1235" y="334"/>
                    <a:pt x="1168" y="267"/>
                  </a:cubicBezTo>
                  <a:lnTo>
                    <a:pt x="1035" y="134"/>
                  </a:lnTo>
                  <a:cubicBezTo>
                    <a:pt x="935" y="67"/>
                    <a:pt x="835" y="0"/>
                    <a:pt x="7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4" name="Google Shape;104;p4"/>
            <p:cNvSpPr/>
            <p:nvPr/>
          </p:nvSpPr>
          <p:spPr>
            <a:xfrm>
              <a:off x="5604180" y="2176896"/>
              <a:ext cx="20961" cy="22000"/>
            </a:xfrm>
            <a:custGeom>
              <a:avLst/>
              <a:gdLst/>
              <a:ahLst/>
              <a:cxnLst/>
              <a:rect l="l" t="t" r="r" b="b"/>
              <a:pathLst>
                <a:path w="768" h="806" extrusionOk="0">
                  <a:moveTo>
                    <a:pt x="350" y="0"/>
                  </a:moveTo>
                  <a:cubicBezTo>
                    <a:pt x="173" y="0"/>
                    <a:pt x="31" y="158"/>
                    <a:pt x="0" y="371"/>
                  </a:cubicBezTo>
                  <a:cubicBezTo>
                    <a:pt x="0" y="605"/>
                    <a:pt x="134" y="805"/>
                    <a:pt x="367" y="805"/>
                  </a:cubicBezTo>
                  <a:cubicBezTo>
                    <a:pt x="567" y="805"/>
                    <a:pt x="768" y="638"/>
                    <a:pt x="768" y="438"/>
                  </a:cubicBezTo>
                  <a:cubicBezTo>
                    <a:pt x="768" y="205"/>
                    <a:pt x="601" y="5"/>
                    <a:pt x="401" y="5"/>
                  </a:cubicBezTo>
                  <a:cubicBezTo>
                    <a:pt x="384" y="2"/>
                    <a:pt x="367" y="0"/>
                    <a:pt x="35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5" name="Google Shape;105;p4"/>
            <p:cNvSpPr/>
            <p:nvPr/>
          </p:nvSpPr>
          <p:spPr>
            <a:xfrm>
              <a:off x="5691567" y="2181564"/>
              <a:ext cx="21889" cy="21863"/>
            </a:xfrm>
            <a:custGeom>
              <a:avLst/>
              <a:gdLst/>
              <a:ahLst/>
              <a:cxnLst/>
              <a:rect l="l" t="t" r="r" b="b"/>
              <a:pathLst>
                <a:path w="802" h="801" extrusionOk="0">
                  <a:moveTo>
                    <a:pt x="401" y="0"/>
                  </a:moveTo>
                  <a:cubicBezTo>
                    <a:pt x="201" y="0"/>
                    <a:pt x="34" y="167"/>
                    <a:pt x="1" y="367"/>
                  </a:cubicBezTo>
                  <a:cubicBezTo>
                    <a:pt x="1" y="601"/>
                    <a:pt x="167" y="801"/>
                    <a:pt x="368" y="801"/>
                  </a:cubicBezTo>
                  <a:cubicBezTo>
                    <a:pt x="568" y="801"/>
                    <a:pt x="801" y="634"/>
                    <a:pt x="801" y="434"/>
                  </a:cubicBezTo>
                  <a:cubicBezTo>
                    <a:pt x="801" y="200"/>
                    <a:pt x="634" y="0"/>
                    <a:pt x="4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6" name="Google Shape;106;p4"/>
            <p:cNvSpPr/>
            <p:nvPr/>
          </p:nvSpPr>
          <p:spPr>
            <a:xfrm>
              <a:off x="5633300" y="2210140"/>
              <a:ext cx="49208" cy="23337"/>
            </a:xfrm>
            <a:custGeom>
              <a:avLst/>
              <a:gdLst/>
              <a:ahLst/>
              <a:cxnLst/>
              <a:rect l="l" t="t" r="r" b="b"/>
              <a:pathLst>
                <a:path w="1803" h="855" extrusionOk="0">
                  <a:moveTo>
                    <a:pt x="187" y="1"/>
                  </a:moveTo>
                  <a:cubicBezTo>
                    <a:pt x="174" y="1"/>
                    <a:pt x="159" y="9"/>
                    <a:pt x="134" y="21"/>
                  </a:cubicBezTo>
                  <a:cubicBezTo>
                    <a:pt x="101" y="21"/>
                    <a:pt x="34" y="87"/>
                    <a:pt x="34" y="121"/>
                  </a:cubicBezTo>
                  <a:cubicBezTo>
                    <a:pt x="1" y="321"/>
                    <a:pt x="134" y="521"/>
                    <a:pt x="301" y="655"/>
                  </a:cubicBezTo>
                  <a:cubicBezTo>
                    <a:pt x="501" y="788"/>
                    <a:pt x="668" y="855"/>
                    <a:pt x="868" y="855"/>
                  </a:cubicBezTo>
                  <a:cubicBezTo>
                    <a:pt x="1035" y="855"/>
                    <a:pt x="1302" y="821"/>
                    <a:pt x="1469" y="688"/>
                  </a:cubicBezTo>
                  <a:cubicBezTo>
                    <a:pt x="1635" y="588"/>
                    <a:pt x="1769" y="421"/>
                    <a:pt x="1802" y="188"/>
                  </a:cubicBezTo>
                  <a:cubicBezTo>
                    <a:pt x="1802" y="154"/>
                    <a:pt x="1802" y="154"/>
                    <a:pt x="1769" y="121"/>
                  </a:cubicBezTo>
                  <a:cubicBezTo>
                    <a:pt x="1735" y="104"/>
                    <a:pt x="1710" y="96"/>
                    <a:pt x="1690" y="96"/>
                  </a:cubicBezTo>
                  <a:cubicBezTo>
                    <a:pt x="1669" y="96"/>
                    <a:pt x="1652" y="104"/>
                    <a:pt x="1635" y="121"/>
                  </a:cubicBezTo>
                  <a:cubicBezTo>
                    <a:pt x="1535" y="254"/>
                    <a:pt x="1435" y="321"/>
                    <a:pt x="1302" y="388"/>
                  </a:cubicBezTo>
                  <a:cubicBezTo>
                    <a:pt x="1168" y="421"/>
                    <a:pt x="1035" y="421"/>
                    <a:pt x="935" y="421"/>
                  </a:cubicBezTo>
                  <a:cubicBezTo>
                    <a:pt x="801" y="421"/>
                    <a:pt x="668" y="388"/>
                    <a:pt x="535" y="321"/>
                  </a:cubicBezTo>
                  <a:cubicBezTo>
                    <a:pt x="434" y="288"/>
                    <a:pt x="334" y="221"/>
                    <a:pt x="268" y="87"/>
                  </a:cubicBezTo>
                  <a:cubicBezTo>
                    <a:pt x="225" y="24"/>
                    <a:pt x="210" y="1"/>
                    <a:pt x="1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07" name="Google Shape;107;p4"/>
          <p:cNvSpPr/>
          <p:nvPr/>
        </p:nvSpPr>
        <p:spPr>
          <a:xfrm>
            <a:off x="11506000" y="2786600"/>
            <a:ext cx="389200" cy="376067"/>
          </a:xfrm>
          <a:custGeom>
            <a:avLst/>
            <a:gdLst/>
            <a:ahLst/>
            <a:cxnLst/>
            <a:rect l="l" t="t" r="r" b="b"/>
            <a:pathLst>
              <a:path w="11676" h="11282" extrusionOk="0">
                <a:moveTo>
                  <a:pt x="6805" y="2948"/>
                </a:moveTo>
                <a:cubicBezTo>
                  <a:pt x="6738" y="3081"/>
                  <a:pt x="6571" y="3148"/>
                  <a:pt x="6438" y="3248"/>
                </a:cubicBezTo>
                <a:cubicBezTo>
                  <a:pt x="6038" y="3548"/>
                  <a:pt x="5637" y="3715"/>
                  <a:pt x="5204" y="3882"/>
                </a:cubicBezTo>
                <a:cubicBezTo>
                  <a:pt x="4770" y="4048"/>
                  <a:pt x="4270" y="4149"/>
                  <a:pt x="3803" y="4249"/>
                </a:cubicBezTo>
                <a:cubicBezTo>
                  <a:pt x="4103" y="4082"/>
                  <a:pt x="4370" y="3882"/>
                  <a:pt x="4670" y="3748"/>
                </a:cubicBezTo>
                <a:cubicBezTo>
                  <a:pt x="5271" y="3415"/>
                  <a:pt x="5904" y="3081"/>
                  <a:pt x="6538" y="2948"/>
                </a:cubicBezTo>
                <a:close/>
                <a:moveTo>
                  <a:pt x="10737" y="4369"/>
                </a:moveTo>
                <a:cubicBezTo>
                  <a:pt x="10768" y="4369"/>
                  <a:pt x="10760" y="4389"/>
                  <a:pt x="10741" y="4482"/>
                </a:cubicBezTo>
                <a:cubicBezTo>
                  <a:pt x="10641" y="4782"/>
                  <a:pt x="10141" y="5149"/>
                  <a:pt x="9907" y="5383"/>
                </a:cubicBezTo>
                <a:cubicBezTo>
                  <a:pt x="9273" y="5916"/>
                  <a:pt x="8606" y="6383"/>
                  <a:pt x="7839" y="6784"/>
                </a:cubicBezTo>
                <a:cubicBezTo>
                  <a:pt x="7139" y="7151"/>
                  <a:pt x="6405" y="7484"/>
                  <a:pt x="5637" y="7751"/>
                </a:cubicBezTo>
                <a:cubicBezTo>
                  <a:pt x="5838" y="7451"/>
                  <a:pt x="6138" y="7217"/>
                  <a:pt x="6305" y="7051"/>
                </a:cubicBezTo>
                <a:cubicBezTo>
                  <a:pt x="7339" y="5950"/>
                  <a:pt x="8606" y="5083"/>
                  <a:pt x="9974" y="4582"/>
                </a:cubicBezTo>
                <a:cubicBezTo>
                  <a:pt x="10141" y="4549"/>
                  <a:pt x="10408" y="4415"/>
                  <a:pt x="10574" y="4382"/>
                </a:cubicBezTo>
                <a:cubicBezTo>
                  <a:pt x="10663" y="4382"/>
                  <a:pt x="10713" y="4369"/>
                  <a:pt x="10737" y="4369"/>
                </a:cubicBezTo>
                <a:close/>
                <a:moveTo>
                  <a:pt x="5436" y="1"/>
                </a:moveTo>
                <a:cubicBezTo>
                  <a:pt x="5405" y="1"/>
                  <a:pt x="5372" y="4"/>
                  <a:pt x="5337" y="12"/>
                </a:cubicBezTo>
                <a:cubicBezTo>
                  <a:pt x="3469" y="513"/>
                  <a:pt x="1168" y="1780"/>
                  <a:pt x="367" y="3648"/>
                </a:cubicBezTo>
                <a:cubicBezTo>
                  <a:pt x="33" y="4415"/>
                  <a:pt x="334" y="5149"/>
                  <a:pt x="1101" y="5416"/>
                </a:cubicBezTo>
                <a:cubicBezTo>
                  <a:pt x="601" y="5983"/>
                  <a:pt x="167" y="6650"/>
                  <a:pt x="100" y="7418"/>
                </a:cubicBezTo>
                <a:cubicBezTo>
                  <a:pt x="0" y="8285"/>
                  <a:pt x="467" y="8985"/>
                  <a:pt x="1301" y="9319"/>
                </a:cubicBezTo>
                <a:cubicBezTo>
                  <a:pt x="1659" y="9457"/>
                  <a:pt x="2040" y="9509"/>
                  <a:pt x="2425" y="9509"/>
                </a:cubicBezTo>
                <a:cubicBezTo>
                  <a:pt x="2972" y="9509"/>
                  <a:pt x="3527" y="9403"/>
                  <a:pt x="4036" y="9286"/>
                </a:cubicBezTo>
                <a:cubicBezTo>
                  <a:pt x="4103" y="9286"/>
                  <a:pt x="4136" y="9252"/>
                  <a:pt x="4203" y="9252"/>
                </a:cubicBezTo>
                <a:cubicBezTo>
                  <a:pt x="4303" y="9652"/>
                  <a:pt x="4537" y="10086"/>
                  <a:pt x="5070" y="10453"/>
                </a:cubicBezTo>
                <a:cubicBezTo>
                  <a:pt x="5857" y="11019"/>
                  <a:pt x="6836" y="11281"/>
                  <a:pt x="7823" y="11281"/>
                </a:cubicBezTo>
                <a:cubicBezTo>
                  <a:pt x="8929" y="11281"/>
                  <a:pt x="10044" y="10952"/>
                  <a:pt x="10908" y="10353"/>
                </a:cubicBezTo>
                <a:cubicBezTo>
                  <a:pt x="11288" y="10002"/>
                  <a:pt x="10950" y="9522"/>
                  <a:pt x="10614" y="9522"/>
                </a:cubicBezTo>
                <a:cubicBezTo>
                  <a:pt x="10566" y="9522"/>
                  <a:pt x="10519" y="9532"/>
                  <a:pt x="10474" y="9552"/>
                </a:cubicBezTo>
                <a:cubicBezTo>
                  <a:pt x="9697" y="9876"/>
                  <a:pt x="8864" y="10074"/>
                  <a:pt x="8020" y="10074"/>
                </a:cubicBezTo>
                <a:cubicBezTo>
                  <a:pt x="7560" y="10074"/>
                  <a:pt x="7097" y="10015"/>
                  <a:pt x="6638" y="9886"/>
                </a:cubicBezTo>
                <a:cubicBezTo>
                  <a:pt x="6138" y="9719"/>
                  <a:pt x="5337" y="9452"/>
                  <a:pt x="5204" y="8885"/>
                </a:cubicBezTo>
                <a:lnTo>
                  <a:pt x="5204" y="8819"/>
                </a:lnTo>
                <a:cubicBezTo>
                  <a:pt x="5871" y="8618"/>
                  <a:pt x="6505" y="8385"/>
                  <a:pt x="7172" y="8118"/>
                </a:cubicBezTo>
                <a:cubicBezTo>
                  <a:pt x="8173" y="7718"/>
                  <a:pt x="9173" y="7151"/>
                  <a:pt x="10007" y="6450"/>
                </a:cubicBezTo>
                <a:cubicBezTo>
                  <a:pt x="10408" y="6117"/>
                  <a:pt x="10708" y="5783"/>
                  <a:pt x="11041" y="5383"/>
                </a:cubicBezTo>
                <a:cubicBezTo>
                  <a:pt x="11308" y="5049"/>
                  <a:pt x="11675" y="4616"/>
                  <a:pt x="11608" y="4215"/>
                </a:cubicBezTo>
                <a:cubicBezTo>
                  <a:pt x="11531" y="3765"/>
                  <a:pt x="11215" y="3594"/>
                  <a:pt x="10779" y="3594"/>
                </a:cubicBezTo>
                <a:cubicBezTo>
                  <a:pt x="9534" y="3594"/>
                  <a:pt x="7308" y="4995"/>
                  <a:pt x="6838" y="5316"/>
                </a:cubicBezTo>
                <a:cubicBezTo>
                  <a:pt x="5971" y="5950"/>
                  <a:pt x="4770" y="7084"/>
                  <a:pt x="4370" y="8218"/>
                </a:cubicBezTo>
                <a:cubicBezTo>
                  <a:pt x="4170" y="8251"/>
                  <a:pt x="3970" y="8318"/>
                  <a:pt x="3703" y="8352"/>
                </a:cubicBezTo>
                <a:cubicBezTo>
                  <a:pt x="3339" y="8453"/>
                  <a:pt x="2925" y="8529"/>
                  <a:pt x="2508" y="8529"/>
                </a:cubicBezTo>
                <a:cubicBezTo>
                  <a:pt x="2237" y="8529"/>
                  <a:pt x="1964" y="8497"/>
                  <a:pt x="1701" y="8418"/>
                </a:cubicBezTo>
                <a:cubicBezTo>
                  <a:pt x="934" y="8118"/>
                  <a:pt x="934" y="7418"/>
                  <a:pt x="1268" y="6750"/>
                </a:cubicBezTo>
                <a:cubicBezTo>
                  <a:pt x="1501" y="6250"/>
                  <a:pt x="1835" y="5816"/>
                  <a:pt x="2268" y="5449"/>
                </a:cubicBezTo>
                <a:cubicBezTo>
                  <a:pt x="2969" y="5449"/>
                  <a:pt x="3703" y="5283"/>
                  <a:pt x="4370" y="5149"/>
                </a:cubicBezTo>
                <a:cubicBezTo>
                  <a:pt x="5437" y="4916"/>
                  <a:pt x="6505" y="4515"/>
                  <a:pt x="7305" y="3748"/>
                </a:cubicBezTo>
                <a:cubicBezTo>
                  <a:pt x="7539" y="3481"/>
                  <a:pt x="7872" y="3148"/>
                  <a:pt x="7839" y="2748"/>
                </a:cubicBezTo>
                <a:cubicBezTo>
                  <a:pt x="7806" y="2281"/>
                  <a:pt x="7339" y="2114"/>
                  <a:pt x="6938" y="2114"/>
                </a:cubicBezTo>
                <a:cubicBezTo>
                  <a:pt x="5971" y="2114"/>
                  <a:pt x="5037" y="2581"/>
                  <a:pt x="4203" y="3048"/>
                </a:cubicBezTo>
                <a:cubicBezTo>
                  <a:pt x="3469" y="3448"/>
                  <a:pt x="2702" y="3948"/>
                  <a:pt x="2002" y="4482"/>
                </a:cubicBezTo>
                <a:lnTo>
                  <a:pt x="1668" y="4482"/>
                </a:lnTo>
                <a:cubicBezTo>
                  <a:pt x="1168" y="4449"/>
                  <a:pt x="1201" y="4215"/>
                  <a:pt x="1434" y="3815"/>
                </a:cubicBezTo>
                <a:cubicBezTo>
                  <a:pt x="2335" y="2281"/>
                  <a:pt x="4103" y="1480"/>
                  <a:pt x="5604" y="713"/>
                </a:cubicBezTo>
                <a:cubicBezTo>
                  <a:pt x="5942" y="498"/>
                  <a:pt x="5799" y="1"/>
                  <a:pt x="5436" y="1"/>
                </a:cubicBezTo>
                <a:close/>
              </a:path>
            </a:pathLst>
          </a:cu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08" name="Google Shape;108;p4"/>
          <p:cNvSpPr/>
          <p:nvPr/>
        </p:nvSpPr>
        <p:spPr>
          <a:xfrm>
            <a:off x="8516401" y="269434"/>
            <a:ext cx="815300" cy="450567"/>
          </a:xfrm>
          <a:custGeom>
            <a:avLst/>
            <a:gdLst/>
            <a:ahLst/>
            <a:cxnLst/>
            <a:rect l="l" t="t" r="r" b="b"/>
            <a:pathLst>
              <a:path w="24459" h="13517" extrusionOk="0">
                <a:moveTo>
                  <a:pt x="16769" y="5044"/>
                </a:moveTo>
                <a:lnTo>
                  <a:pt x="16769" y="5044"/>
                </a:lnTo>
                <a:cubicBezTo>
                  <a:pt x="16803" y="5077"/>
                  <a:pt x="16836" y="5077"/>
                  <a:pt x="16903" y="5144"/>
                </a:cubicBezTo>
                <a:cubicBezTo>
                  <a:pt x="17770" y="5678"/>
                  <a:pt x="18470" y="6412"/>
                  <a:pt x="19104" y="7212"/>
                </a:cubicBezTo>
                <a:cubicBezTo>
                  <a:pt x="19738" y="8013"/>
                  <a:pt x="20405" y="8847"/>
                  <a:pt x="20739" y="9814"/>
                </a:cubicBezTo>
                <a:cubicBezTo>
                  <a:pt x="20916" y="10316"/>
                  <a:pt x="21067" y="11444"/>
                  <a:pt x="20337" y="11444"/>
                </a:cubicBezTo>
                <a:cubicBezTo>
                  <a:pt x="20242" y="11444"/>
                  <a:pt x="20132" y="11424"/>
                  <a:pt x="20005" y="11382"/>
                </a:cubicBezTo>
                <a:cubicBezTo>
                  <a:pt x="19571" y="11215"/>
                  <a:pt x="19271" y="10848"/>
                  <a:pt x="18971" y="10481"/>
                </a:cubicBezTo>
                <a:cubicBezTo>
                  <a:pt x="18637" y="10048"/>
                  <a:pt x="18304" y="9581"/>
                  <a:pt x="18070" y="9080"/>
                </a:cubicBezTo>
                <a:cubicBezTo>
                  <a:pt x="17403" y="7879"/>
                  <a:pt x="16903" y="6478"/>
                  <a:pt x="16769" y="5044"/>
                </a:cubicBezTo>
                <a:close/>
                <a:moveTo>
                  <a:pt x="12766" y="8647"/>
                </a:moveTo>
                <a:cubicBezTo>
                  <a:pt x="13500" y="9180"/>
                  <a:pt x="14301" y="9881"/>
                  <a:pt x="14834" y="10715"/>
                </a:cubicBezTo>
                <a:cubicBezTo>
                  <a:pt x="15101" y="11082"/>
                  <a:pt x="15301" y="11549"/>
                  <a:pt x="15268" y="12049"/>
                </a:cubicBezTo>
                <a:cubicBezTo>
                  <a:pt x="15223" y="12307"/>
                  <a:pt x="15122" y="12406"/>
                  <a:pt x="14997" y="12406"/>
                </a:cubicBezTo>
                <a:cubicBezTo>
                  <a:pt x="14848" y="12406"/>
                  <a:pt x="14664" y="12264"/>
                  <a:pt x="14501" y="12082"/>
                </a:cubicBezTo>
                <a:cubicBezTo>
                  <a:pt x="14167" y="11716"/>
                  <a:pt x="13967" y="11249"/>
                  <a:pt x="13734" y="10848"/>
                </a:cubicBezTo>
                <a:cubicBezTo>
                  <a:pt x="13467" y="10381"/>
                  <a:pt x="13233" y="9881"/>
                  <a:pt x="13000" y="9381"/>
                </a:cubicBezTo>
                <a:lnTo>
                  <a:pt x="12766" y="8647"/>
                </a:lnTo>
                <a:close/>
                <a:moveTo>
                  <a:pt x="6962" y="8580"/>
                </a:moveTo>
                <a:lnTo>
                  <a:pt x="6962" y="8580"/>
                </a:lnTo>
                <a:cubicBezTo>
                  <a:pt x="7262" y="8980"/>
                  <a:pt x="7463" y="9347"/>
                  <a:pt x="7629" y="9681"/>
                </a:cubicBezTo>
                <a:cubicBezTo>
                  <a:pt x="7996" y="10415"/>
                  <a:pt x="8497" y="11649"/>
                  <a:pt x="7996" y="12416"/>
                </a:cubicBezTo>
                <a:cubicBezTo>
                  <a:pt x="6895" y="11515"/>
                  <a:pt x="6328" y="9914"/>
                  <a:pt x="6962" y="8580"/>
                </a:cubicBezTo>
                <a:close/>
                <a:moveTo>
                  <a:pt x="18762" y="1"/>
                </a:moveTo>
                <a:cubicBezTo>
                  <a:pt x="18542" y="1"/>
                  <a:pt x="18322" y="24"/>
                  <a:pt x="18103" y="74"/>
                </a:cubicBezTo>
                <a:cubicBezTo>
                  <a:pt x="16969" y="374"/>
                  <a:pt x="16302" y="1341"/>
                  <a:pt x="16002" y="2376"/>
                </a:cubicBezTo>
                <a:cubicBezTo>
                  <a:pt x="15902" y="2809"/>
                  <a:pt x="15835" y="3243"/>
                  <a:pt x="15802" y="3710"/>
                </a:cubicBezTo>
                <a:cubicBezTo>
                  <a:pt x="15552" y="3643"/>
                  <a:pt x="15310" y="3610"/>
                  <a:pt x="15068" y="3610"/>
                </a:cubicBezTo>
                <a:cubicBezTo>
                  <a:pt x="14826" y="3610"/>
                  <a:pt x="14584" y="3643"/>
                  <a:pt x="14334" y="3710"/>
                </a:cubicBezTo>
                <a:cubicBezTo>
                  <a:pt x="13267" y="3977"/>
                  <a:pt x="12466" y="4744"/>
                  <a:pt x="12066" y="5745"/>
                </a:cubicBezTo>
                <a:cubicBezTo>
                  <a:pt x="11899" y="6078"/>
                  <a:pt x="11799" y="6478"/>
                  <a:pt x="11766" y="6845"/>
                </a:cubicBezTo>
                <a:cubicBezTo>
                  <a:pt x="11033" y="6448"/>
                  <a:pt x="10248" y="6208"/>
                  <a:pt x="9435" y="6208"/>
                </a:cubicBezTo>
                <a:cubicBezTo>
                  <a:pt x="8952" y="6208"/>
                  <a:pt x="8460" y="6292"/>
                  <a:pt x="7963" y="6478"/>
                </a:cubicBezTo>
                <a:cubicBezTo>
                  <a:pt x="7563" y="6645"/>
                  <a:pt x="7162" y="6879"/>
                  <a:pt x="6829" y="7179"/>
                </a:cubicBezTo>
                <a:cubicBezTo>
                  <a:pt x="6192" y="6670"/>
                  <a:pt x="5465" y="6343"/>
                  <a:pt x="4588" y="6343"/>
                </a:cubicBezTo>
                <a:cubicBezTo>
                  <a:pt x="4546" y="6343"/>
                  <a:pt x="4503" y="6344"/>
                  <a:pt x="4460" y="6345"/>
                </a:cubicBezTo>
                <a:cubicBezTo>
                  <a:pt x="3460" y="6378"/>
                  <a:pt x="2626" y="6912"/>
                  <a:pt x="1959" y="7646"/>
                </a:cubicBezTo>
                <a:cubicBezTo>
                  <a:pt x="1125" y="8480"/>
                  <a:pt x="558" y="9547"/>
                  <a:pt x="124" y="10648"/>
                </a:cubicBezTo>
                <a:cubicBezTo>
                  <a:pt x="1" y="10977"/>
                  <a:pt x="231" y="11191"/>
                  <a:pt x="489" y="11191"/>
                </a:cubicBezTo>
                <a:cubicBezTo>
                  <a:pt x="650" y="11191"/>
                  <a:pt x="822" y="11107"/>
                  <a:pt x="925" y="10915"/>
                </a:cubicBezTo>
                <a:cubicBezTo>
                  <a:pt x="1672" y="9540"/>
                  <a:pt x="2793" y="7283"/>
                  <a:pt x="4602" y="7283"/>
                </a:cubicBezTo>
                <a:cubicBezTo>
                  <a:pt x="4812" y="7283"/>
                  <a:pt x="5032" y="7313"/>
                  <a:pt x="5261" y="7379"/>
                </a:cubicBezTo>
                <a:cubicBezTo>
                  <a:pt x="5628" y="7479"/>
                  <a:pt x="5961" y="7679"/>
                  <a:pt x="6262" y="7913"/>
                </a:cubicBezTo>
                <a:cubicBezTo>
                  <a:pt x="6062" y="8246"/>
                  <a:pt x="5895" y="8580"/>
                  <a:pt x="5795" y="8980"/>
                </a:cubicBezTo>
                <a:cubicBezTo>
                  <a:pt x="5494" y="10148"/>
                  <a:pt x="5795" y="11315"/>
                  <a:pt x="6462" y="12249"/>
                </a:cubicBezTo>
                <a:cubicBezTo>
                  <a:pt x="6795" y="12716"/>
                  <a:pt x="7262" y="13150"/>
                  <a:pt x="7729" y="13417"/>
                </a:cubicBezTo>
                <a:cubicBezTo>
                  <a:pt x="7796" y="13483"/>
                  <a:pt x="7896" y="13517"/>
                  <a:pt x="8000" y="13517"/>
                </a:cubicBezTo>
                <a:cubicBezTo>
                  <a:pt x="8105" y="13517"/>
                  <a:pt x="8213" y="13483"/>
                  <a:pt x="8296" y="13417"/>
                </a:cubicBezTo>
                <a:cubicBezTo>
                  <a:pt x="9898" y="11982"/>
                  <a:pt x="8663" y="9214"/>
                  <a:pt x="7463" y="7813"/>
                </a:cubicBezTo>
                <a:cubicBezTo>
                  <a:pt x="7991" y="7299"/>
                  <a:pt x="8630" y="7093"/>
                  <a:pt x="9294" y="7093"/>
                </a:cubicBezTo>
                <a:cubicBezTo>
                  <a:pt x="10096" y="7093"/>
                  <a:pt x="10936" y="7393"/>
                  <a:pt x="11666" y="7813"/>
                </a:cubicBezTo>
                <a:cubicBezTo>
                  <a:pt x="11732" y="8213"/>
                  <a:pt x="11799" y="8680"/>
                  <a:pt x="11932" y="9080"/>
                </a:cubicBezTo>
                <a:cubicBezTo>
                  <a:pt x="12133" y="9714"/>
                  <a:pt x="12399" y="10348"/>
                  <a:pt x="12733" y="10915"/>
                </a:cubicBezTo>
                <a:cubicBezTo>
                  <a:pt x="13000" y="11482"/>
                  <a:pt x="13300" y="12082"/>
                  <a:pt x="13734" y="12583"/>
                </a:cubicBezTo>
                <a:cubicBezTo>
                  <a:pt x="14038" y="12949"/>
                  <a:pt x="14427" y="13259"/>
                  <a:pt x="14873" y="13259"/>
                </a:cubicBezTo>
                <a:cubicBezTo>
                  <a:pt x="14915" y="13259"/>
                  <a:pt x="14958" y="13256"/>
                  <a:pt x="15001" y="13250"/>
                </a:cubicBezTo>
                <a:cubicBezTo>
                  <a:pt x="15568" y="13217"/>
                  <a:pt x="15902" y="12750"/>
                  <a:pt x="15969" y="12249"/>
                </a:cubicBezTo>
                <a:cubicBezTo>
                  <a:pt x="16169" y="11048"/>
                  <a:pt x="15402" y="9981"/>
                  <a:pt x="14601" y="9147"/>
                </a:cubicBezTo>
                <a:cubicBezTo>
                  <a:pt x="14001" y="8513"/>
                  <a:pt x="13300" y="7846"/>
                  <a:pt x="12566" y="7346"/>
                </a:cubicBezTo>
                <a:cubicBezTo>
                  <a:pt x="12566" y="7046"/>
                  <a:pt x="12600" y="6812"/>
                  <a:pt x="12666" y="6512"/>
                </a:cubicBezTo>
                <a:cubicBezTo>
                  <a:pt x="12900" y="5745"/>
                  <a:pt x="13333" y="5011"/>
                  <a:pt x="14101" y="4677"/>
                </a:cubicBezTo>
                <a:cubicBezTo>
                  <a:pt x="14380" y="4573"/>
                  <a:pt x="14659" y="4523"/>
                  <a:pt x="14942" y="4523"/>
                </a:cubicBezTo>
                <a:cubicBezTo>
                  <a:pt x="15201" y="4523"/>
                  <a:pt x="15465" y="4564"/>
                  <a:pt x="15735" y="4644"/>
                </a:cubicBezTo>
                <a:cubicBezTo>
                  <a:pt x="15802" y="6378"/>
                  <a:pt x="16402" y="8146"/>
                  <a:pt x="17236" y="9547"/>
                </a:cubicBezTo>
                <a:cubicBezTo>
                  <a:pt x="17803" y="10515"/>
                  <a:pt x="18604" y="11849"/>
                  <a:pt x="19738" y="12183"/>
                </a:cubicBezTo>
                <a:cubicBezTo>
                  <a:pt x="19901" y="12233"/>
                  <a:pt x="20058" y="12257"/>
                  <a:pt x="20208" y="12257"/>
                </a:cubicBezTo>
                <a:cubicBezTo>
                  <a:pt x="21040" y="12257"/>
                  <a:pt x="21639" y="11524"/>
                  <a:pt x="21639" y="10648"/>
                </a:cubicBezTo>
                <a:cubicBezTo>
                  <a:pt x="21639" y="9481"/>
                  <a:pt x="20905" y="8413"/>
                  <a:pt x="20272" y="7479"/>
                </a:cubicBezTo>
                <a:cubicBezTo>
                  <a:pt x="19504" y="6378"/>
                  <a:pt x="18637" y="5344"/>
                  <a:pt x="17570" y="4544"/>
                </a:cubicBezTo>
                <a:cubicBezTo>
                  <a:pt x="17270" y="4344"/>
                  <a:pt x="16936" y="4143"/>
                  <a:pt x="16569" y="3977"/>
                </a:cubicBezTo>
                <a:cubicBezTo>
                  <a:pt x="16569" y="3743"/>
                  <a:pt x="16569" y="3543"/>
                  <a:pt x="16602" y="3343"/>
                </a:cubicBezTo>
                <a:cubicBezTo>
                  <a:pt x="16669" y="2409"/>
                  <a:pt x="17003" y="1341"/>
                  <a:pt x="17937" y="908"/>
                </a:cubicBezTo>
                <a:cubicBezTo>
                  <a:pt x="18205" y="795"/>
                  <a:pt x="18483" y="745"/>
                  <a:pt x="18762" y="745"/>
                </a:cubicBezTo>
                <a:cubicBezTo>
                  <a:pt x="19555" y="745"/>
                  <a:pt x="20355" y="1148"/>
                  <a:pt x="20972" y="1642"/>
                </a:cubicBezTo>
                <a:cubicBezTo>
                  <a:pt x="22607" y="2909"/>
                  <a:pt x="23341" y="5077"/>
                  <a:pt x="23808" y="7012"/>
                </a:cubicBezTo>
                <a:cubicBezTo>
                  <a:pt x="23903" y="7203"/>
                  <a:pt x="24059" y="7288"/>
                  <a:pt x="24193" y="7288"/>
                </a:cubicBezTo>
                <a:cubicBezTo>
                  <a:pt x="24340" y="7288"/>
                  <a:pt x="24459" y="7186"/>
                  <a:pt x="24441" y="7012"/>
                </a:cubicBezTo>
                <a:cubicBezTo>
                  <a:pt x="24008" y="4811"/>
                  <a:pt x="23307" y="2476"/>
                  <a:pt x="21439" y="1008"/>
                </a:cubicBezTo>
                <a:cubicBezTo>
                  <a:pt x="20680" y="438"/>
                  <a:pt x="19722" y="1"/>
                  <a:pt x="18762" y="1"/>
                </a:cubicBezTo>
                <a:close/>
              </a:path>
            </a:pathLst>
          </a:custGeom>
          <a:solidFill>
            <a:schemeClr val="accent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09" name="Google Shape;109;p4"/>
          <p:cNvSpPr/>
          <p:nvPr/>
        </p:nvSpPr>
        <p:spPr>
          <a:xfrm>
            <a:off x="468130" y="6379459"/>
            <a:ext cx="286855" cy="252924"/>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10" name="Google Shape;110;p4"/>
          <p:cNvSpPr/>
          <p:nvPr/>
        </p:nvSpPr>
        <p:spPr>
          <a:xfrm>
            <a:off x="279267" y="6176262"/>
            <a:ext cx="132647" cy="116940"/>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176701519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bg>
      <p:bgPr>
        <a:blipFill>
          <a:blip r:embed="rId2">
            <a:alphaModFix/>
          </a:blip>
          <a:stretch>
            <a:fillRect/>
          </a:stretch>
        </a:blipFill>
        <a:effectLst/>
      </p:bgPr>
    </p:bg>
    <p:spTree>
      <p:nvGrpSpPr>
        <p:cNvPr id="1" name="Shape 111"/>
        <p:cNvGrpSpPr/>
        <p:nvPr/>
      </p:nvGrpSpPr>
      <p:grpSpPr>
        <a:xfrm>
          <a:off x="0" y="0"/>
          <a:ext cx="0" cy="0"/>
          <a:chOff x="0" y="0"/>
          <a:chExt cx="0" cy="0"/>
        </a:xfrm>
      </p:grpSpPr>
      <p:sp>
        <p:nvSpPr>
          <p:cNvPr id="112" name="Google Shape;112;p5"/>
          <p:cNvSpPr/>
          <p:nvPr/>
        </p:nvSpPr>
        <p:spPr>
          <a:xfrm rot="-5400000">
            <a:off x="9466334" y="4132310"/>
            <a:ext cx="2658983" cy="2792369"/>
          </a:xfrm>
          <a:custGeom>
            <a:avLst/>
            <a:gdLst/>
            <a:ahLst/>
            <a:cxnLst/>
            <a:rect l="l" t="t" r="r" b="b"/>
            <a:pathLst>
              <a:path w="76827" h="80681" extrusionOk="0">
                <a:moveTo>
                  <a:pt x="7096" y="0"/>
                </a:moveTo>
                <a:cubicBezTo>
                  <a:pt x="4774" y="0"/>
                  <a:pt x="2454" y="476"/>
                  <a:pt x="339" y="1448"/>
                </a:cubicBezTo>
                <a:lnTo>
                  <a:pt x="1" y="80681"/>
                </a:lnTo>
                <a:lnTo>
                  <a:pt x="73405" y="80681"/>
                </a:lnTo>
                <a:cubicBezTo>
                  <a:pt x="76826" y="73559"/>
                  <a:pt x="76130" y="64627"/>
                  <a:pt x="71654" y="58142"/>
                </a:cubicBezTo>
                <a:cubicBezTo>
                  <a:pt x="67521" y="52180"/>
                  <a:pt x="60344" y="48488"/>
                  <a:pt x="53107" y="48488"/>
                </a:cubicBezTo>
                <a:cubicBezTo>
                  <a:pt x="52473" y="48488"/>
                  <a:pt x="51838" y="48516"/>
                  <a:pt x="51204" y="48574"/>
                </a:cubicBezTo>
                <a:cubicBezTo>
                  <a:pt x="45157" y="49111"/>
                  <a:pt x="39587" y="52075"/>
                  <a:pt x="33659" y="53487"/>
                </a:cubicBezTo>
                <a:cubicBezTo>
                  <a:pt x="31911" y="53911"/>
                  <a:pt x="30047" y="54152"/>
                  <a:pt x="28198" y="54152"/>
                </a:cubicBezTo>
                <a:cubicBezTo>
                  <a:pt x="23796" y="54152"/>
                  <a:pt x="19480" y="52786"/>
                  <a:pt x="17029" y="49270"/>
                </a:cubicBezTo>
                <a:cubicBezTo>
                  <a:pt x="13826" y="44635"/>
                  <a:pt x="15119" y="38289"/>
                  <a:pt x="17427" y="33177"/>
                </a:cubicBezTo>
                <a:cubicBezTo>
                  <a:pt x="19734" y="28084"/>
                  <a:pt x="22977" y="23151"/>
                  <a:pt x="23414" y="17561"/>
                </a:cubicBezTo>
                <a:cubicBezTo>
                  <a:pt x="23872" y="11912"/>
                  <a:pt x="21166" y="6123"/>
                  <a:pt x="16511" y="2880"/>
                </a:cubicBezTo>
                <a:cubicBezTo>
                  <a:pt x="13768" y="981"/>
                  <a:pt x="10430" y="0"/>
                  <a:pt x="7096" y="0"/>
                </a:cubicBez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13" name="Google Shape;113;p5"/>
          <p:cNvSpPr txBox="1">
            <a:spLocks noGrp="1"/>
          </p:cNvSpPr>
          <p:nvPr>
            <p:ph type="title"/>
          </p:nvPr>
        </p:nvSpPr>
        <p:spPr>
          <a:xfrm>
            <a:off x="2512733" y="3677667"/>
            <a:ext cx="3376800" cy="625200"/>
          </a:xfrm>
          <a:prstGeom prst="rect">
            <a:avLst/>
          </a:prstGeom>
        </p:spPr>
        <p:txBody>
          <a:bodyPr spcFirstLastPara="1" wrap="square" lIns="91425" tIns="91425" rIns="91425" bIns="91425" anchor="t" anchorCtr="0">
            <a:normAutofit/>
          </a:bodyPr>
          <a:lstStyle>
            <a:lvl1pPr lvl="0" algn="ctr" rtl="0">
              <a:spcBef>
                <a:spcPts val="0"/>
              </a:spcBef>
              <a:spcAft>
                <a:spcPts val="0"/>
              </a:spcAft>
              <a:buSzPts val="2000"/>
              <a:buNone/>
              <a:defRPr sz="2933" b="1">
                <a:solidFill>
                  <a:schemeClr val="accent1"/>
                </a:solidFill>
              </a:defRPr>
            </a:lvl1pPr>
            <a:lvl2pPr lvl="1" algn="ctr" rtl="0">
              <a:spcBef>
                <a:spcPts val="0"/>
              </a:spcBef>
              <a:spcAft>
                <a:spcPts val="0"/>
              </a:spcAft>
              <a:buClr>
                <a:schemeClr val="accent3"/>
              </a:buClr>
              <a:buSzPts val="1800"/>
              <a:buNone/>
              <a:defRPr sz="2400">
                <a:solidFill>
                  <a:schemeClr val="accent3"/>
                </a:solidFill>
              </a:defRPr>
            </a:lvl2pPr>
            <a:lvl3pPr lvl="2" algn="ctr" rtl="0">
              <a:spcBef>
                <a:spcPts val="0"/>
              </a:spcBef>
              <a:spcAft>
                <a:spcPts val="0"/>
              </a:spcAft>
              <a:buClr>
                <a:schemeClr val="accent3"/>
              </a:buClr>
              <a:buSzPts val="1800"/>
              <a:buNone/>
              <a:defRPr sz="2400">
                <a:solidFill>
                  <a:schemeClr val="accent3"/>
                </a:solidFill>
              </a:defRPr>
            </a:lvl3pPr>
            <a:lvl4pPr lvl="3" algn="ctr" rtl="0">
              <a:spcBef>
                <a:spcPts val="0"/>
              </a:spcBef>
              <a:spcAft>
                <a:spcPts val="0"/>
              </a:spcAft>
              <a:buClr>
                <a:schemeClr val="accent3"/>
              </a:buClr>
              <a:buSzPts val="1800"/>
              <a:buNone/>
              <a:defRPr sz="2400">
                <a:solidFill>
                  <a:schemeClr val="accent3"/>
                </a:solidFill>
              </a:defRPr>
            </a:lvl4pPr>
            <a:lvl5pPr lvl="4" algn="ctr" rtl="0">
              <a:spcBef>
                <a:spcPts val="0"/>
              </a:spcBef>
              <a:spcAft>
                <a:spcPts val="0"/>
              </a:spcAft>
              <a:buClr>
                <a:schemeClr val="accent3"/>
              </a:buClr>
              <a:buSzPts val="1800"/>
              <a:buNone/>
              <a:defRPr sz="2400">
                <a:solidFill>
                  <a:schemeClr val="accent3"/>
                </a:solidFill>
              </a:defRPr>
            </a:lvl5pPr>
            <a:lvl6pPr lvl="5" algn="ctr" rtl="0">
              <a:spcBef>
                <a:spcPts val="0"/>
              </a:spcBef>
              <a:spcAft>
                <a:spcPts val="0"/>
              </a:spcAft>
              <a:buClr>
                <a:schemeClr val="accent3"/>
              </a:buClr>
              <a:buSzPts val="1800"/>
              <a:buNone/>
              <a:defRPr sz="2400">
                <a:solidFill>
                  <a:schemeClr val="accent3"/>
                </a:solidFill>
              </a:defRPr>
            </a:lvl6pPr>
            <a:lvl7pPr lvl="6" algn="ctr" rtl="0">
              <a:spcBef>
                <a:spcPts val="0"/>
              </a:spcBef>
              <a:spcAft>
                <a:spcPts val="0"/>
              </a:spcAft>
              <a:buClr>
                <a:schemeClr val="accent3"/>
              </a:buClr>
              <a:buSzPts val="1800"/>
              <a:buNone/>
              <a:defRPr sz="2400">
                <a:solidFill>
                  <a:schemeClr val="accent3"/>
                </a:solidFill>
              </a:defRPr>
            </a:lvl7pPr>
            <a:lvl8pPr lvl="7" algn="ctr" rtl="0">
              <a:spcBef>
                <a:spcPts val="0"/>
              </a:spcBef>
              <a:spcAft>
                <a:spcPts val="0"/>
              </a:spcAft>
              <a:buClr>
                <a:schemeClr val="accent3"/>
              </a:buClr>
              <a:buSzPts val="1800"/>
              <a:buNone/>
              <a:defRPr sz="2400">
                <a:solidFill>
                  <a:schemeClr val="accent3"/>
                </a:solidFill>
              </a:defRPr>
            </a:lvl8pPr>
            <a:lvl9pPr lvl="8" algn="ctr" rtl="0">
              <a:spcBef>
                <a:spcPts val="0"/>
              </a:spcBef>
              <a:spcAft>
                <a:spcPts val="0"/>
              </a:spcAft>
              <a:buClr>
                <a:schemeClr val="accent3"/>
              </a:buClr>
              <a:buSzPts val="1800"/>
              <a:buNone/>
              <a:defRPr sz="2400">
                <a:solidFill>
                  <a:schemeClr val="accent3"/>
                </a:solidFill>
              </a:defRPr>
            </a:lvl9pPr>
          </a:lstStyle>
          <a:p>
            <a:endParaRPr/>
          </a:p>
        </p:txBody>
      </p:sp>
      <p:sp>
        <p:nvSpPr>
          <p:cNvPr id="114" name="Google Shape;114;p5"/>
          <p:cNvSpPr txBox="1">
            <a:spLocks noGrp="1"/>
          </p:cNvSpPr>
          <p:nvPr>
            <p:ph type="subTitle" idx="1"/>
          </p:nvPr>
        </p:nvSpPr>
        <p:spPr>
          <a:xfrm>
            <a:off x="2512735" y="3939800"/>
            <a:ext cx="3440000" cy="1437600"/>
          </a:xfrm>
          <a:prstGeom prst="rect">
            <a:avLst/>
          </a:prstGeom>
        </p:spPr>
        <p:txBody>
          <a:bodyPr spcFirstLastPara="1" wrap="square" lIns="91425" tIns="91425" rIns="91425" bIns="91425" anchor="b" anchorCtr="0">
            <a:normAutofit/>
          </a:bodyPr>
          <a:lstStyle>
            <a:lvl1pPr lvl="0" algn="ctr" rtl="0">
              <a:lnSpc>
                <a:spcPct val="100000"/>
              </a:lnSpc>
              <a:spcBef>
                <a:spcPts val="0"/>
              </a:spcBef>
              <a:spcAft>
                <a:spcPts val="0"/>
              </a:spcAft>
              <a:buClr>
                <a:schemeClr val="dk1"/>
              </a:buClr>
              <a:buSzPts val="1400"/>
              <a:buNone/>
              <a:defRPr sz="1867"/>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115" name="Google Shape;115;p5"/>
          <p:cNvSpPr txBox="1">
            <a:spLocks noGrp="1"/>
          </p:cNvSpPr>
          <p:nvPr>
            <p:ph type="title" idx="2"/>
          </p:nvPr>
        </p:nvSpPr>
        <p:spPr>
          <a:xfrm>
            <a:off x="6239267" y="3677667"/>
            <a:ext cx="3440000" cy="625200"/>
          </a:xfrm>
          <a:prstGeom prst="rect">
            <a:avLst/>
          </a:prstGeom>
        </p:spPr>
        <p:txBody>
          <a:bodyPr spcFirstLastPara="1" wrap="square" lIns="91425" tIns="91425" rIns="91425" bIns="91425" anchor="t" anchorCtr="0">
            <a:normAutofit/>
          </a:bodyPr>
          <a:lstStyle>
            <a:lvl1pPr lvl="0" algn="ctr" rtl="0">
              <a:spcBef>
                <a:spcPts val="0"/>
              </a:spcBef>
              <a:spcAft>
                <a:spcPts val="0"/>
              </a:spcAft>
              <a:buSzPts val="2000"/>
              <a:buNone/>
              <a:defRPr sz="2933" b="1">
                <a:solidFill>
                  <a:schemeClr val="accent4"/>
                </a:solidFill>
              </a:defRPr>
            </a:lvl1pPr>
            <a:lvl2pPr lvl="1" algn="ctr" rtl="0">
              <a:spcBef>
                <a:spcPts val="0"/>
              </a:spcBef>
              <a:spcAft>
                <a:spcPts val="0"/>
              </a:spcAft>
              <a:buClr>
                <a:schemeClr val="accent3"/>
              </a:buClr>
              <a:buSzPts val="1800"/>
              <a:buNone/>
              <a:defRPr sz="2400">
                <a:solidFill>
                  <a:schemeClr val="accent3"/>
                </a:solidFill>
              </a:defRPr>
            </a:lvl2pPr>
            <a:lvl3pPr lvl="2" algn="ctr" rtl="0">
              <a:spcBef>
                <a:spcPts val="0"/>
              </a:spcBef>
              <a:spcAft>
                <a:spcPts val="0"/>
              </a:spcAft>
              <a:buClr>
                <a:schemeClr val="accent3"/>
              </a:buClr>
              <a:buSzPts val="1800"/>
              <a:buNone/>
              <a:defRPr sz="2400">
                <a:solidFill>
                  <a:schemeClr val="accent3"/>
                </a:solidFill>
              </a:defRPr>
            </a:lvl3pPr>
            <a:lvl4pPr lvl="3" algn="ctr" rtl="0">
              <a:spcBef>
                <a:spcPts val="0"/>
              </a:spcBef>
              <a:spcAft>
                <a:spcPts val="0"/>
              </a:spcAft>
              <a:buClr>
                <a:schemeClr val="accent3"/>
              </a:buClr>
              <a:buSzPts val="1800"/>
              <a:buNone/>
              <a:defRPr sz="2400">
                <a:solidFill>
                  <a:schemeClr val="accent3"/>
                </a:solidFill>
              </a:defRPr>
            </a:lvl4pPr>
            <a:lvl5pPr lvl="4" algn="ctr" rtl="0">
              <a:spcBef>
                <a:spcPts val="0"/>
              </a:spcBef>
              <a:spcAft>
                <a:spcPts val="0"/>
              </a:spcAft>
              <a:buClr>
                <a:schemeClr val="accent3"/>
              </a:buClr>
              <a:buSzPts val="1800"/>
              <a:buNone/>
              <a:defRPr sz="2400">
                <a:solidFill>
                  <a:schemeClr val="accent3"/>
                </a:solidFill>
              </a:defRPr>
            </a:lvl5pPr>
            <a:lvl6pPr lvl="5" algn="ctr" rtl="0">
              <a:spcBef>
                <a:spcPts val="0"/>
              </a:spcBef>
              <a:spcAft>
                <a:spcPts val="0"/>
              </a:spcAft>
              <a:buClr>
                <a:schemeClr val="accent3"/>
              </a:buClr>
              <a:buSzPts val="1800"/>
              <a:buNone/>
              <a:defRPr sz="2400">
                <a:solidFill>
                  <a:schemeClr val="accent3"/>
                </a:solidFill>
              </a:defRPr>
            </a:lvl6pPr>
            <a:lvl7pPr lvl="6" algn="ctr" rtl="0">
              <a:spcBef>
                <a:spcPts val="0"/>
              </a:spcBef>
              <a:spcAft>
                <a:spcPts val="0"/>
              </a:spcAft>
              <a:buClr>
                <a:schemeClr val="accent3"/>
              </a:buClr>
              <a:buSzPts val="1800"/>
              <a:buNone/>
              <a:defRPr sz="2400">
                <a:solidFill>
                  <a:schemeClr val="accent3"/>
                </a:solidFill>
              </a:defRPr>
            </a:lvl7pPr>
            <a:lvl8pPr lvl="7" algn="ctr" rtl="0">
              <a:spcBef>
                <a:spcPts val="0"/>
              </a:spcBef>
              <a:spcAft>
                <a:spcPts val="0"/>
              </a:spcAft>
              <a:buClr>
                <a:schemeClr val="accent3"/>
              </a:buClr>
              <a:buSzPts val="1800"/>
              <a:buNone/>
              <a:defRPr sz="2400">
                <a:solidFill>
                  <a:schemeClr val="accent3"/>
                </a:solidFill>
              </a:defRPr>
            </a:lvl8pPr>
            <a:lvl9pPr lvl="8" algn="ctr" rtl="0">
              <a:spcBef>
                <a:spcPts val="0"/>
              </a:spcBef>
              <a:spcAft>
                <a:spcPts val="0"/>
              </a:spcAft>
              <a:buClr>
                <a:schemeClr val="accent3"/>
              </a:buClr>
              <a:buSzPts val="1800"/>
              <a:buNone/>
              <a:defRPr sz="2400">
                <a:solidFill>
                  <a:schemeClr val="accent3"/>
                </a:solidFill>
              </a:defRPr>
            </a:lvl9pPr>
          </a:lstStyle>
          <a:p>
            <a:endParaRPr/>
          </a:p>
        </p:txBody>
      </p:sp>
      <p:sp>
        <p:nvSpPr>
          <p:cNvPr id="116" name="Google Shape;116;p5"/>
          <p:cNvSpPr txBox="1">
            <a:spLocks noGrp="1"/>
          </p:cNvSpPr>
          <p:nvPr>
            <p:ph type="subTitle" idx="3"/>
          </p:nvPr>
        </p:nvSpPr>
        <p:spPr>
          <a:xfrm>
            <a:off x="6239252" y="3939800"/>
            <a:ext cx="3440000" cy="1437600"/>
          </a:xfrm>
          <a:prstGeom prst="rect">
            <a:avLst/>
          </a:prstGeom>
        </p:spPr>
        <p:txBody>
          <a:bodyPr spcFirstLastPara="1" wrap="square" lIns="91425" tIns="91425" rIns="91425" bIns="91425" anchor="b" anchorCtr="0">
            <a:normAutofit/>
          </a:bodyPr>
          <a:lstStyle>
            <a:lvl1pPr lvl="0" algn="ctr" rtl="0">
              <a:lnSpc>
                <a:spcPct val="100000"/>
              </a:lnSpc>
              <a:spcBef>
                <a:spcPts val="0"/>
              </a:spcBef>
              <a:spcAft>
                <a:spcPts val="0"/>
              </a:spcAft>
              <a:buClr>
                <a:schemeClr val="dk1"/>
              </a:buClr>
              <a:buSzPts val="1400"/>
              <a:buNone/>
              <a:defRPr sz="1867"/>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117" name="Google Shape;117;p5"/>
          <p:cNvSpPr txBox="1">
            <a:spLocks noGrp="1"/>
          </p:cNvSpPr>
          <p:nvPr>
            <p:ph type="title" idx="4"/>
          </p:nvPr>
        </p:nvSpPr>
        <p:spPr>
          <a:xfrm>
            <a:off x="831200" y="593367"/>
            <a:ext cx="10400800" cy="763600"/>
          </a:xfrm>
          <a:prstGeom prst="rect">
            <a:avLst/>
          </a:prstGeom>
        </p:spPr>
        <p:txBody>
          <a:bodyPr spcFirstLastPara="1" wrap="square" lIns="91425" tIns="91425" rIns="91425" bIns="91425" anchor="t" anchorCtr="0">
            <a:normAutofit/>
          </a:bodyPr>
          <a:lstStyle>
            <a:lvl1pPr lvl="0" rtl="0">
              <a:spcBef>
                <a:spcPts val="0"/>
              </a:spcBef>
              <a:spcAft>
                <a:spcPts val="0"/>
              </a:spcAft>
              <a:buSzPts val="2800"/>
              <a:buNone/>
              <a:defRPr sz="4267"/>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118" name="Google Shape;118;p5"/>
          <p:cNvSpPr/>
          <p:nvPr/>
        </p:nvSpPr>
        <p:spPr>
          <a:xfrm>
            <a:off x="1971534" y="193067"/>
            <a:ext cx="10870533" cy="2218500"/>
          </a:xfrm>
          <a:custGeom>
            <a:avLst/>
            <a:gdLst/>
            <a:ahLst/>
            <a:cxnLst/>
            <a:rect l="l" t="t" r="r" b="b"/>
            <a:pathLst>
              <a:path w="326116" h="66555" extrusionOk="0">
                <a:moveTo>
                  <a:pt x="0" y="49362"/>
                </a:moveTo>
                <a:cubicBezTo>
                  <a:pt x="7271" y="49172"/>
                  <a:pt x="17134" y="46268"/>
                  <a:pt x="43626" y="48221"/>
                </a:cubicBezTo>
                <a:cubicBezTo>
                  <a:pt x="70118" y="50174"/>
                  <a:pt x="122520" y="66906"/>
                  <a:pt x="158953" y="61079"/>
                </a:cubicBezTo>
                <a:cubicBezTo>
                  <a:pt x="195386" y="55252"/>
                  <a:pt x="254456" y="22905"/>
                  <a:pt x="262225" y="13261"/>
                </a:cubicBezTo>
                <a:cubicBezTo>
                  <a:pt x="269994" y="3617"/>
                  <a:pt x="214942" y="-2076"/>
                  <a:pt x="205566" y="3215"/>
                </a:cubicBezTo>
                <a:cubicBezTo>
                  <a:pt x="196190" y="8506"/>
                  <a:pt x="196993" y="34759"/>
                  <a:pt x="205967" y="45006"/>
                </a:cubicBezTo>
                <a:cubicBezTo>
                  <a:pt x="214941" y="55253"/>
                  <a:pt x="239387" y="72197"/>
                  <a:pt x="259412" y="64696"/>
                </a:cubicBezTo>
                <a:cubicBezTo>
                  <a:pt x="279437" y="57195"/>
                  <a:pt x="314999" y="10783"/>
                  <a:pt x="326116" y="0"/>
                </a:cubicBezTo>
              </a:path>
            </a:pathLst>
          </a:custGeom>
          <a:noFill/>
          <a:ln w="19050" cap="flat" cmpd="sng">
            <a:solidFill>
              <a:schemeClr val="dk2"/>
            </a:solidFill>
            <a:prstDash val="dash"/>
            <a:round/>
            <a:headEnd type="none" w="med" len="med"/>
            <a:tailEnd type="none" w="med" len="med"/>
          </a:ln>
        </p:spPr>
      </p:sp>
      <p:sp>
        <p:nvSpPr>
          <p:cNvPr id="119" name="Google Shape;119;p5"/>
          <p:cNvSpPr/>
          <p:nvPr/>
        </p:nvSpPr>
        <p:spPr>
          <a:xfrm rot="5400000">
            <a:off x="2348701" y="3317035"/>
            <a:ext cx="989272" cy="6092661"/>
          </a:xfrm>
          <a:custGeom>
            <a:avLst/>
            <a:gdLst/>
            <a:ahLst/>
            <a:cxnLst/>
            <a:rect l="l" t="t" r="r" b="b"/>
            <a:pathLst>
              <a:path w="18600" h="104829" extrusionOk="0">
                <a:moveTo>
                  <a:pt x="16360" y="1"/>
                </a:moveTo>
                <a:cubicBezTo>
                  <a:pt x="9962" y="1"/>
                  <a:pt x="4427" y="11283"/>
                  <a:pt x="3561" y="15670"/>
                </a:cubicBezTo>
                <a:cubicBezTo>
                  <a:pt x="1512" y="25875"/>
                  <a:pt x="9370" y="33772"/>
                  <a:pt x="10762" y="43341"/>
                </a:cubicBezTo>
                <a:cubicBezTo>
                  <a:pt x="11936" y="51337"/>
                  <a:pt x="10921" y="59692"/>
                  <a:pt x="7719" y="67132"/>
                </a:cubicBezTo>
                <a:cubicBezTo>
                  <a:pt x="5172" y="73120"/>
                  <a:pt x="1214" y="78750"/>
                  <a:pt x="657" y="85254"/>
                </a:cubicBezTo>
                <a:cubicBezTo>
                  <a:pt x="0" y="93609"/>
                  <a:pt x="9111" y="104590"/>
                  <a:pt x="18560" y="104829"/>
                </a:cubicBezTo>
                <a:lnTo>
                  <a:pt x="18560" y="104829"/>
                </a:lnTo>
                <a:cubicBezTo>
                  <a:pt x="18600" y="104809"/>
                  <a:pt x="18341" y="372"/>
                  <a:pt x="18341" y="372"/>
                </a:cubicBezTo>
                <a:cubicBezTo>
                  <a:pt x="17675" y="118"/>
                  <a:pt x="17013" y="1"/>
                  <a:pt x="16360" y="1"/>
                </a:cubicBezTo>
                <a:close/>
              </a:path>
            </a:pathLst>
          </a:cu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20" name="Google Shape;120;p5"/>
          <p:cNvSpPr/>
          <p:nvPr/>
        </p:nvSpPr>
        <p:spPr>
          <a:xfrm>
            <a:off x="10409868" y="1716834"/>
            <a:ext cx="418633" cy="484500"/>
          </a:xfrm>
          <a:custGeom>
            <a:avLst/>
            <a:gdLst/>
            <a:ahLst/>
            <a:cxnLst/>
            <a:rect l="l" t="t" r="r" b="b"/>
            <a:pathLst>
              <a:path w="12559" h="14535" extrusionOk="0">
                <a:moveTo>
                  <a:pt x="11221" y="0"/>
                </a:moveTo>
                <a:cubicBezTo>
                  <a:pt x="10880" y="0"/>
                  <a:pt x="10563" y="317"/>
                  <a:pt x="10791" y="727"/>
                </a:cubicBezTo>
                <a:cubicBezTo>
                  <a:pt x="10991" y="1061"/>
                  <a:pt x="11124" y="1394"/>
                  <a:pt x="11158" y="1761"/>
                </a:cubicBezTo>
                <a:cubicBezTo>
                  <a:pt x="11191" y="1895"/>
                  <a:pt x="11191" y="1995"/>
                  <a:pt x="11191" y="2161"/>
                </a:cubicBezTo>
                <a:cubicBezTo>
                  <a:pt x="11024" y="2095"/>
                  <a:pt x="10824" y="1995"/>
                  <a:pt x="10657" y="1928"/>
                </a:cubicBezTo>
                <a:lnTo>
                  <a:pt x="9490" y="1328"/>
                </a:lnTo>
                <a:cubicBezTo>
                  <a:pt x="9385" y="1281"/>
                  <a:pt x="9282" y="1260"/>
                  <a:pt x="9185" y="1260"/>
                </a:cubicBezTo>
                <a:cubicBezTo>
                  <a:pt x="8728" y="1260"/>
                  <a:pt x="8402" y="1733"/>
                  <a:pt x="8623" y="2228"/>
                </a:cubicBezTo>
                <a:cubicBezTo>
                  <a:pt x="8856" y="2729"/>
                  <a:pt x="9123" y="3229"/>
                  <a:pt x="9323" y="3729"/>
                </a:cubicBezTo>
                <a:lnTo>
                  <a:pt x="7822" y="2595"/>
                </a:lnTo>
                <a:cubicBezTo>
                  <a:pt x="7678" y="2490"/>
                  <a:pt x="7523" y="2442"/>
                  <a:pt x="7379" y="2442"/>
                </a:cubicBezTo>
                <a:cubicBezTo>
                  <a:pt x="7021" y="2442"/>
                  <a:pt x="6726" y="2734"/>
                  <a:pt x="6821" y="3162"/>
                </a:cubicBezTo>
                <a:cubicBezTo>
                  <a:pt x="6955" y="3963"/>
                  <a:pt x="7322" y="4663"/>
                  <a:pt x="7789" y="5397"/>
                </a:cubicBezTo>
                <a:cubicBezTo>
                  <a:pt x="7722" y="5330"/>
                  <a:pt x="7689" y="5297"/>
                  <a:pt x="7655" y="5230"/>
                </a:cubicBezTo>
                <a:cubicBezTo>
                  <a:pt x="6855" y="4330"/>
                  <a:pt x="6121" y="3429"/>
                  <a:pt x="5354" y="2495"/>
                </a:cubicBezTo>
                <a:cubicBezTo>
                  <a:pt x="5244" y="2359"/>
                  <a:pt x="5108" y="2301"/>
                  <a:pt x="4970" y="2301"/>
                </a:cubicBezTo>
                <a:cubicBezTo>
                  <a:pt x="4602" y="2301"/>
                  <a:pt x="4223" y="2707"/>
                  <a:pt x="4320" y="3095"/>
                </a:cubicBezTo>
                <a:cubicBezTo>
                  <a:pt x="4720" y="4630"/>
                  <a:pt x="5220" y="6131"/>
                  <a:pt x="5887" y="7599"/>
                </a:cubicBezTo>
                <a:cubicBezTo>
                  <a:pt x="6021" y="7832"/>
                  <a:pt x="6154" y="8132"/>
                  <a:pt x="6288" y="8399"/>
                </a:cubicBezTo>
                <a:cubicBezTo>
                  <a:pt x="6121" y="8166"/>
                  <a:pt x="5887" y="7932"/>
                  <a:pt x="5721" y="7732"/>
                </a:cubicBezTo>
                <a:cubicBezTo>
                  <a:pt x="5220" y="7132"/>
                  <a:pt x="4720" y="6498"/>
                  <a:pt x="4186" y="5931"/>
                </a:cubicBezTo>
                <a:cubicBezTo>
                  <a:pt x="3719" y="5364"/>
                  <a:pt x="3319" y="4797"/>
                  <a:pt x="2618" y="4530"/>
                </a:cubicBezTo>
                <a:cubicBezTo>
                  <a:pt x="2566" y="4515"/>
                  <a:pt x="2514" y="4508"/>
                  <a:pt x="2463" y="4508"/>
                </a:cubicBezTo>
                <a:cubicBezTo>
                  <a:pt x="2061" y="4508"/>
                  <a:pt x="1733" y="4942"/>
                  <a:pt x="1851" y="5297"/>
                </a:cubicBezTo>
                <a:cubicBezTo>
                  <a:pt x="2218" y="6831"/>
                  <a:pt x="2819" y="8333"/>
                  <a:pt x="3486" y="9800"/>
                </a:cubicBezTo>
                <a:cubicBezTo>
                  <a:pt x="3719" y="10334"/>
                  <a:pt x="3986" y="10834"/>
                  <a:pt x="4286" y="11401"/>
                </a:cubicBezTo>
                <a:cubicBezTo>
                  <a:pt x="4153" y="11235"/>
                  <a:pt x="3986" y="11101"/>
                  <a:pt x="3853" y="10934"/>
                </a:cubicBezTo>
                <a:cubicBezTo>
                  <a:pt x="3119" y="10034"/>
                  <a:pt x="2552" y="9066"/>
                  <a:pt x="1651" y="8333"/>
                </a:cubicBezTo>
                <a:cubicBezTo>
                  <a:pt x="1553" y="8262"/>
                  <a:pt x="1454" y="8232"/>
                  <a:pt x="1361" y="8232"/>
                </a:cubicBezTo>
                <a:cubicBezTo>
                  <a:pt x="1011" y="8232"/>
                  <a:pt x="731" y="8657"/>
                  <a:pt x="784" y="9000"/>
                </a:cubicBezTo>
                <a:cubicBezTo>
                  <a:pt x="1017" y="10334"/>
                  <a:pt x="1351" y="11635"/>
                  <a:pt x="1885" y="12902"/>
                </a:cubicBezTo>
                <a:cubicBezTo>
                  <a:pt x="1951" y="13003"/>
                  <a:pt x="2018" y="13269"/>
                  <a:pt x="2051" y="13436"/>
                </a:cubicBezTo>
                <a:cubicBezTo>
                  <a:pt x="1985" y="13403"/>
                  <a:pt x="1885" y="13303"/>
                  <a:pt x="1851" y="13269"/>
                </a:cubicBezTo>
                <a:cubicBezTo>
                  <a:pt x="1351" y="12836"/>
                  <a:pt x="984" y="12335"/>
                  <a:pt x="650" y="11768"/>
                </a:cubicBezTo>
                <a:cubicBezTo>
                  <a:pt x="589" y="11656"/>
                  <a:pt x="499" y="11609"/>
                  <a:pt x="409" y="11609"/>
                </a:cubicBezTo>
                <a:cubicBezTo>
                  <a:pt x="206" y="11609"/>
                  <a:pt x="1" y="11847"/>
                  <a:pt x="117" y="12102"/>
                </a:cubicBezTo>
                <a:cubicBezTo>
                  <a:pt x="484" y="12836"/>
                  <a:pt x="951" y="13603"/>
                  <a:pt x="1618" y="14137"/>
                </a:cubicBezTo>
                <a:cubicBezTo>
                  <a:pt x="1859" y="14341"/>
                  <a:pt x="2223" y="14534"/>
                  <a:pt x="2546" y="14534"/>
                </a:cubicBezTo>
                <a:cubicBezTo>
                  <a:pt x="2803" y="14534"/>
                  <a:pt x="3034" y="14411"/>
                  <a:pt x="3152" y="14070"/>
                </a:cubicBezTo>
                <a:cubicBezTo>
                  <a:pt x="3219" y="13736"/>
                  <a:pt x="3119" y="13436"/>
                  <a:pt x="3019" y="13103"/>
                </a:cubicBezTo>
                <a:cubicBezTo>
                  <a:pt x="2852" y="12602"/>
                  <a:pt x="2718" y="12102"/>
                  <a:pt x="2552" y="11602"/>
                </a:cubicBezTo>
                <a:cubicBezTo>
                  <a:pt x="2485" y="11335"/>
                  <a:pt x="2452" y="11135"/>
                  <a:pt x="2352" y="10901"/>
                </a:cubicBezTo>
                <a:lnTo>
                  <a:pt x="2352" y="10901"/>
                </a:lnTo>
                <a:cubicBezTo>
                  <a:pt x="2652" y="11268"/>
                  <a:pt x="2885" y="11635"/>
                  <a:pt x="3185" y="11968"/>
                </a:cubicBezTo>
                <a:cubicBezTo>
                  <a:pt x="3986" y="12902"/>
                  <a:pt x="4953" y="13603"/>
                  <a:pt x="5887" y="14303"/>
                </a:cubicBezTo>
                <a:cubicBezTo>
                  <a:pt x="5959" y="14361"/>
                  <a:pt x="6043" y="14386"/>
                  <a:pt x="6129" y="14386"/>
                </a:cubicBezTo>
                <a:cubicBezTo>
                  <a:pt x="6443" y="14386"/>
                  <a:pt x="6786" y="14051"/>
                  <a:pt x="6655" y="13736"/>
                </a:cubicBezTo>
                <a:cubicBezTo>
                  <a:pt x="6121" y="12302"/>
                  <a:pt x="5187" y="11001"/>
                  <a:pt x="4553" y="9600"/>
                </a:cubicBezTo>
                <a:cubicBezTo>
                  <a:pt x="4220" y="8833"/>
                  <a:pt x="3953" y="8066"/>
                  <a:pt x="3686" y="7265"/>
                </a:cubicBezTo>
                <a:lnTo>
                  <a:pt x="3686" y="7265"/>
                </a:lnTo>
                <a:lnTo>
                  <a:pt x="5053" y="8900"/>
                </a:lnTo>
                <a:cubicBezTo>
                  <a:pt x="6021" y="10000"/>
                  <a:pt x="6988" y="11135"/>
                  <a:pt x="7889" y="12235"/>
                </a:cubicBezTo>
                <a:cubicBezTo>
                  <a:pt x="8008" y="12354"/>
                  <a:pt x="8150" y="12406"/>
                  <a:pt x="8292" y="12406"/>
                </a:cubicBezTo>
                <a:cubicBezTo>
                  <a:pt x="8627" y="12406"/>
                  <a:pt x="8956" y="12120"/>
                  <a:pt x="8956" y="11768"/>
                </a:cubicBezTo>
                <a:cubicBezTo>
                  <a:pt x="8990" y="10968"/>
                  <a:pt x="8656" y="10301"/>
                  <a:pt x="8289" y="9633"/>
                </a:cubicBezTo>
                <a:cubicBezTo>
                  <a:pt x="7855" y="8933"/>
                  <a:pt x="7489" y="8166"/>
                  <a:pt x="7155" y="7432"/>
                </a:cubicBezTo>
                <a:cubicBezTo>
                  <a:pt x="6855" y="6831"/>
                  <a:pt x="6655" y="6231"/>
                  <a:pt x="6388" y="5631"/>
                </a:cubicBezTo>
                <a:lnTo>
                  <a:pt x="6388" y="5631"/>
                </a:lnTo>
                <a:cubicBezTo>
                  <a:pt x="6555" y="5797"/>
                  <a:pt x="6721" y="5998"/>
                  <a:pt x="6855" y="6164"/>
                </a:cubicBezTo>
                <a:cubicBezTo>
                  <a:pt x="7622" y="6998"/>
                  <a:pt x="8322" y="7966"/>
                  <a:pt x="9357" y="8466"/>
                </a:cubicBezTo>
                <a:cubicBezTo>
                  <a:pt x="9442" y="8505"/>
                  <a:pt x="9541" y="8524"/>
                  <a:pt x="9643" y="8524"/>
                </a:cubicBezTo>
                <a:cubicBezTo>
                  <a:pt x="9980" y="8524"/>
                  <a:pt x="10342" y="8316"/>
                  <a:pt x="10291" y="7932"/>
                </a:cubicBezTo>
                <a:cubicBezTo>
                  <a:pt x="10157" y="6965"/>
                  <a:pt x="9723" y="6131"/>
                  <a:pt x="9190" y="5297"/>
                </a:cubicBezTo>
                <a:lnTo>
                  <a:pt x="8956" y="4930"/>
                </a:lnTo>
                <a:lnTo>
                  <a:pt x="8956" y="4930"/>
                </a:lnTo>
                <a:cubicBezTo>
                  <a:pt x="9290" y="5164"/>
                  <a:pt x="9657" y="5464"/>
                  <a:pt x="9990" y="5731"/>
                </a:cubicBezTo>
                <a:cubicBezTo>
                  <a:pt x="10127" y="5822"/>
                  <a:pt x="10291" y="5878"/>
                  <a:pt x="10452" y="5878"/>
                </a:cubicBezTo>
                <a:cubicBezTo>
                  <a:pt x="10644" y="5878"/>
                  <a:pt x="10830" y="5797"/>
                  <a:pt x="10958" y="5597"/>
                </a:cubicBezTo>
                <a:cubicBezTo>
                  <a:pt x="11291" y="4897"/>
                  <a:pt x="10991" y="4330"/>
                  <a:pt x="10691" y="3663"/>
                </a:cubicBezTo>
                <a:cubicBezTo>
                  <a:pt x="10624" y="3496"/>
                  <a:pt x="10524" y="3362"/>
                  <a:pt x="10491" y="3196"/>
                </a:cubicBezTo>
                <a:lnTo>
                  <a:pt x="10491" y="3196"/>
                </a:lnTo>
                <a:cubicBezTo>
                  <a:pt x="10557" y="3262"/>
                  <a:pt x="10624" y="3296"/>
                  <a:pt x="10691" y="3329"/>
                </a:cubicBezTo>
                <a:cubicBezTo>
                  <a:pt x="10982" y="3495"/>
                  <a:pt x="11338" y="3688"/>
                  <a:pt x="11662" y="3688"/>
                </a:cubicBezTo>
                <a:cubicBezTo>
                  <a:pt x="11857" y="3688"/>
                  <a:pt x="12041" y="3617"/>
                  <a:pt x="12192" y="3429"/>
                </a:cubicBezTo>
                <a:cubicBezTo>
                  <a:pt x="12559" y="2995"/>
                  <a:pt x="12492" y="2328"/>
                  <a:pt x="12392" y="1828"/>
                </a:cubicBezTo>
                <a:cubicBezTo>
                  <a:pt x="12325" y="1261"/>
                  <a:pt x="12025" y="660"/>
                  <a:pt x="11658" y="227"/>
                </a:cubicBezTo>
                <a:cubicBezTo>
                  <a:pt x="11542" y="68"/>
                  <a:pt x="11379" y="0"/>
                  <a:pt x="11221" y="0"/>
                </a:cubicBezTo>
                <a:close/>
              </a:path>
            </a:pathLst>
          </a:cu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21" name="Google Shape;121;p5"/>
          <p:cNvSpPr/>
          <p:nvPr/>
        </p:nvSpPr>
        <p:spPr>
          <a:xfrm rot="-5400000">
            <a:off x="235794" y="5662149"/>
            <a:ext cx="219581" cy="193616"/>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22" name="Google Shape;122;p5"/>
          <p:cNvSpPr/>
          <p:nvPr/>
        </p:nvSpPr>
        <p:spPr>
          <a:xfrm rot="-5400000">
            <a:off x="434536" y="5304255"/>
            <a:ext cx="132647" cy="116940"/>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23" name="Google Shape;123;p5"/>
          <p:cNvSpPr/>
          <p:nvPr/>
        </p:nvSpPr>
        <p:spPr>
          <a:xfrm rot="-5400000">
            <a:off x="11034096" y="4227548"/>
            <a:ext cx="483296" cy="426177"/>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124" name="Google Shape;124;p5"/>
          <p:cNvGrpSpPr/>
          <p:nvPr/>
        </p:nvGrpSpPr>
        <p:grpSpPr>
          <a:xfrm>
            <a:off x="510934" y="1687865"/>
            <a:ext cx="2001793" cy="1658921"/>
            <a:chOff x="342375" y="1514048"/>
            <a:chExt cx="1501345" cy="1244191"/>
          </a:xfrm>
        </p:grpSpPr>
        <p:grpSp>
          <p:nvGrpSpPr>
            <p:cNvPr id="125" name="Google Shape;125;p5"/>
            <p:cNvGrpSpPr/>
            <p:nvPr/>
          </p:nvGrpSpPr>
          <p:grpSpPr>
            <a:xfrm rot="-5400000">
              <a:off x="553936" y="1302487"/>
              <a:ext cx="1078222" cy="1501345"/>
              <a:chOff x="2436900" y="700925"/>
              <a:chExt cx="667175" cy="929050"/>
            </a:xfrm>
          </p:grpSpPr>
          <p:sp>
            <p:nvSpPr>
              <p:cNvPr id="126" name="Google Shape;126;p5"/>
              <p:cNvSpPr/>
              <p:nvPr/>
            </p:nvSpPr>
            <p:spPr>
              <a:xfrm>
                <a:off x="2476950" y="791850"/>
                <a:ext cx="581275" cy="701350"/>
              </a:xfrm>
              <a:custGeom>
                <a:avLst/>
                <a:gdLst/>
                <a:ahLst/>
                <a:cxnLst/>
                <a:rect l="l" t="t" r="r" b="b"/>
                <a:pathLst>
                  <a:path w="23251" h="28054" extrusionOk="0">
                    <a:moveTo>
                      <a:pt x="11041" y="0"/>
                    </a:moveTo>
                    <a:lnTo>
                      <a:pt x="10875" y="134"/>
                    </a:lnTo>
                    <a:cubicBezTo>
                      <a:pt x="5838" y="3836"/>
                      <a:pt x="0" y="5904"/>
                      <a:pt x="0" y="5904"/>
                    </a:cubicBezTo>
                    <a:cubicBezTo>
                      <a:pt x="3036" y="12242"/>
                      <a:pt x="9907" y="24484"/>
                      <a:pt x="12409" y="28054"/>
                    </a:cubicBezTo>
                    <a:cubicBezTo>
                      <a:pt x="12409" y="28054"/>
                      <a:pt x="17379" y="26252"/>
                      <a:pt x="23250" y="20315"/>
                    </a:cubicBezTo>
                    <a:cubicBezTo>
                      <a:pt x="21716" y="17846"/>
                      <a:pt x="14944" y="6004"/>
                      <a:pt x="11041" y="0"/>
                    </a:cubicBezTo>
                    <a:close/>
                  </a:path>
                </a:pathLst>
              </a:custGeom>
              <a:solidFill>
                <a:schemeClr val="accent5"/>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7" name="Google Shape;127;p5"/>
              <p:cNvSpPr/>
              <p:nvPr/>
            </p:nvSpPr>
            <p:spPr>
              <a:xfrm>
                <a:off x="2436900" y="700925"/>
                <a:ext cx="316100" cy="238550"/>
              </a:xfrm>
              <a:custGeom>
                <a:avLst/>
                <a:gdLst/>
                <a:ahLst/>
                <a:cxnLst/>
                <a:rect l="l" t="t" r="r" b="b"/>
                <a:pathLst>
                  <a:path w="12644" h="9542" extrusionOk="0">
                    <a:moveTo>
                      <a:pt x="8791" y="0"/>
                    </a:moveTo>
                    <a:cubicBezTo>
                      <a:pt x="5994" y="0"/>
                      <a:pt x="470" y="2115"/>
                      <a:pt x="101" y="5772"/>
                    </a:cubicBezTo>
                    <a:cubicBezTo>
                      <a:pt x="1" y="6172"/>
                      <a:pt x="601" y="7540"/>
                      <a:pt x="1535" y="9541"/>
                    </a:cubicBezTo>
                    <a:cubicBezTo>
                      <a:pt x="1535" y="9541"/>
                      <a:pt x="7373" y="7473"/>
                      <a:pt x="12443" y="3771"/>
                    </a:cubicBezTo>
                    <a:lnTo>
                      <a:pt x="12643" y="3637"/>
                    </a:lnTo>
                    <a:cubicBezTo>
                      <a:pt x="11342" y="1702"/>
                      <a:pt x="10342" y="368"/>
                      <a:pt x="9975" y="201"/>
                    </a:cubicBezTo>
                    <a:cubicBezTo>
                      <a:pt x="9694" y="66"/>
                      <a:pt x="9285" y="0"/>
                      <a:pt x="8791" y="0"/>
                    </a:cubicBezTo>
                    <a:close/>
                  </a:path>
                </a:pathLst>
              </a:custGeom>
              <a:solidFill>
                <a:schemeClr val="accent1"/>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8" name="Google Shape;128;p5"/>
              <p:cNvSpPr/>
              <p:nvPr/>
            </p:nvSpPr>
            <p:spPr>
              <a:xfrm>
                <a:off x="2786325" y="1298875"/>
                <a:ext cx="317750" cy="331100"/>
              </a:xfrm>
              <a:custGeom>
                <a:avLst/>
                <a:gdLst/>
                <a:ahLst/>
                <a:cxnLst/>
                <a:rect l="l" t="t" r="r" b="b"/>
                <a:pathLst>
                  <a:path w="12710" h="13244" extrusionOk="0">
                    <a:moveTo>
                      <a:pt x="10842" y="0"/>
                    </a:moveTo>
                    <a:cubicBezTo>
                      <a:pt x="4971" y="5938"/>
                      <a:pt x="1" y="7773"/>
                      <a:pt x="1" y="7773"/>
                    </a:cubicBezTo>
                    <a:cubicBezTo>
                      <a:pt x="368" y="8306"/>
                      <a:pt x="634" y="8707"/>
                      <a:pt x="801" y="8773"/>
                    </a:cubicBezTo>
                    <a:cubicBezTo>
                      <a:pt x="2196" y="9703"/>
                      <a:pt x="8481" y="13243"/>
                      <a:pt x="9954" y="13243"/>
                    </a:cubicBezTo>
                    <a:cubicBezTo>
                      <a:pt x="9961" y="13243"/>
                      <a:pt x="9968" y="13243"/>
                      <a:pt x="9974" y="13243"/>
                    </a:cubicBezTo>
                    <a:cubicBezTo>
                      <a:pt x="11342" y="13243"/>
                      <a:pt x="12376" y="11842"/>
                      <a:pt x="12510" y="11242"/>
                    </a:cubicBezTo>
                    <a:cubicBezTo>
                      <a:pt x="12710" y="10174"/>
                      <a:pt x="12009" y="1602"/>
                      <a:pt x="11075" y="434"/>
                    </a:cubicBezTo>
                    <a:cubicBezTo>
                      <a:pt x="11042" y="367"/>
                      <a:pt x="10975" y="234"/>
                      <a:pt x="10842" y="0"/>
                    </a:cubicBezTo>
                    <a:close/>
                  </a:path>
                </a:pathLst>
              </a:custGeom>
              <a:solidFill>
                <a:schemeClr val="accent1"/>
              </a:solid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9" name="Google Shape;129;p5"/>
              <p:cNvSpPr/>
              <p:nvPr/>
            </p:nvSpPr>
            <p:spPr>
              <a:xfrm>
                <a:off x="2496950" y="811700"/>
                <a:ext cx="283625" cy="192975"/>
              </a:xfrm>
              <a:custGeom>
                <a:avLst/>
                <a:gdLst/>
                <a:ahLst/>
                <a:cxnLst/>
                <a:rect l="l" t="t" r="r" b="b"/>
                <a:pathLst>
                  <a:path w="11345" h="7719" extrusionOk="0">
                    <a:moveTo>
                      <a:pt x="10808" y="741"/>
                    </a:moveTo>
                    <a:cubicBezTo>
                      <a:pt x="10808" y="907"/>
                      <a:pt x="10775" y="1041"/>
                      <a:pt x="10642" y="1208"/>
                    </a:cubicBezTo>
                    <a:cubicBezTo>
                      <a:pt x="10608" y="1274"/>
                      <a:pt x="10542" y="1341"/>
                      <a:pt x="10441" y="1408"/>
                    </a:cubicBezTo>
                    <a:cubicBezTo>
                      <a:pt x="9908" y="1541"/>
                      <a:pt x="9441" y="1841"/>
                      <a:pt x="8940" y="2108"/>
                    </a:cubicBezTo>
                    <a:cubicBezTo>
                      <a:pt x="9608" y="1708"/>
                      <a:pt x="10241" y="1241"/>
                      <a:pt x="10808" y="741"/>
                    </a:cubicBezTo>
                    <a:close/>
                    <a:moveTo>
                      <a:pt x="2479" y="6502"/>
                    </a:moveTo>
                    <a:cubicBezTo>
                      <a:pt x="2381" y="6550"/>
                      <a:pt x="2282" y="6597"/>
                      <a:pt x="2182" y="6643"/>
                    </a:cubicBezTo>
                    <a:lnTo>
                      <a:pt x="2182" y="6643"/>
                    </a:lnTo>
                    <a:cubicBezTo>
                      <a:pt x="2221" y="6623"/>
                      <a:pt x="2261" y="6602"/>
                      <a:pt x="2302" y="6578"/>
                    </a:cubicBezTo>
                    <a:cubicBezTo>
                      <a:pt x="2361" y="6553"/>
                      <a:pt x="2420" y="6527"/>
                      <a:pt x="2479" y="6502"/>
                    </a:cubicBezTo>
                    <a:close/>
                    <a:moveTo>
                      <a:pt x="1912" y="6762"/>
                    </a:moveTo>
                    <a:lnTo>
                      <a:pt x="1912" y="6762"/>
                    </a:lnTo>
                    <a:cubicBezTo>
                      <a:pt x="1611" y="6890"/>
                      <a:pt x="1296" y="7007"/>
                      <a:pt x="968" y="7112"/>
                    </a:cubicBezTo>
                    <a:lnTo>
                      <a:pt x="1235" y="7012"/>
                    </a:lnTo>
                    <a:lnTo>
                      <a:pt x="1602" y="6878"/>
                    </a:lnTo>
                    <a:cubicBezTo>
                      <a:pt x="1715" y="6836"/>
                      <a:pt x="1815" y="6800"/>
                      <a:pt x="1912" y="6762"/>
                    </a:cubicBezTo>
                    <a:close/>
                    <a:moveTo>
                      <a:pt x="10911" y="0"/>
                    </a:moveTo>
                    <a:cubicBezTo>
                      <a:pt x="10867" y="0"/>
                      <a:pt x="10821" y="13"/>
                      <a:pt x="10775" y="40"/>
                    </a:cubicBezTo>
                    <a:cubicBezTo>
                      <a:pt x="9074" y="1174"/>
                      <a:pt x="7439" y="2375"/>
                      <a:pt x="5638" y="3409"/>
                    </a:cubicBezTo>
                    <a:cubicBezTo>
                      <a:pt x="3903" y="4443"/>
                      <a:pt x="2069" y="5511"/>
                      <a:pt x="134" y="6245"/>
                    </a:cubicBezTo>
                    <a:cubicBezTo>
                      <a:pt x="67" y="6278"/>
                      <a:pt x="1" y="6445"/>
                      <a:pt x="134" y="6445"/>
                    </a:cubicBezTo>
                    <a:cubicBezTo>
                      <a:pt x="229" y="6458"/>
                      <a:pt x="323" y="6465"/>
                      <a:pt x="417" y="6465"/>
                    </a:cubicBezTo>
                    <a:cubicBezTo>
                      <a:pt x="1250" y="6465"/>
                      <a:pt x="2050" y="5967"/>
                      <a:pt x="2769" y="5577"/>
                    </a:cubicBezTo>
                    <a:cubicBezTo>
                      <a:pt x="3737" y="5110"/>
                      <a:pt x="4671" y="4577"/>
                      <a:pt x="5638" y="4043"/>
                    </a:cubicBezTo>
                    <a:cubicBezTo>
                      <a:pt x="6505" y="3543"/>
                      <a:pt x="7339" y="3042"/>
                      <a:pt x="8240" y="2509"/>
                    </a:cubicBezTo>
                    <a:lnTo>
                      <a:pt x="8240" y="2509"/>
                    </a:lnTo>
                    <a:cubicBezTo>
                      <a:pt x="7306" y="3076"/>
                      <a:pt x="6405" y="3709"/>
                      <a:pt x="5471" y="4276"/>
                    </a:cubicBezTo>
                    <a:cubicBezTo>
                      <a:pt x="4437" y="4910"/>
                      <a:pt x="3403" y="5544"/>
                      <a:pt x="2269" y="5978"/>
                    </a:cubicBezTo>
                    <a:cubicBezTo>
                      <a:pt x="1602" y="6278"/>
                      <a:pt x="101" y="6545"/>
                      <a:pt x="301" y="7545"/>
                    </a:cubicBezTo>
                    <a:cubicBezTo>
                      <a:pt x="330" y="7632"/>
                      <a:pt x="434" y="7719"/>
                      <a:pt x="548" y="7719"/>
                    </a:cubicBezTo>
                    <a:cubicBezTo>
                      <a:pt x="565" y="7719"/>
                      <a:pt x="583" y="7717"/>
                      <a:pt x="601" y="7712"/>
                    </a:cubicBezTo>
                    <a:cubicBezTo>
                      <a:pt x="2836" y="6878"/>
                      <a:pt x="4904" y="5544"/>
                      <a:pt x="6906" y="4243"/>
                    </a:cubicBezTo>
                    <a:cubicBezTo>
                      <a:pt x="7940" y="3576"/>
                      <a:pt x="8974" y="2942"/>
                      <a:pt x="9941" y="2175"/>
                    </a:cubicBezTo>
                    <a:cubicBezTo>
                      <a:pt x="10141" y="2008"/>
                      <a:pt x="10341" y="1841"/>
                      <a:pt x="10542" y="1608"/>
                    </a:cubicBezTo>
                    <a:cubicBezTo>
                      <a:pt x="10742" y="1541"/>
                      <a:pt x="10942" y="1508"/>
                      <a:pt x="11142" y="1441"/>
                    </a:cubicBezTo>
                    <a:cubicBezTo>
                      <a:pt x="11180" y="1464"/>
                      <a:pt x="11214" y="1473"/>
                      <a:pt x="11240" y="1473"/>
                    </a:cubicBezTo>
                    <a:cubicBezTo>
                      <a:pt x="11329" y="1473"/>
                      <a:pt x="11345" y="1374"/>
                      <a:pt x="11242" y="1374"/>
                    </a:cubicBezTo>
                    <a:lnTo>
                      <a:pt x="10875" y="1374"/>
                    </a:lnTo>
                    <a:cubicBezTo>
                      <a:pt x="10908" y="1341"/>
                      <a:pt x="10942" y="1274"/>
                      <a:pt x="10942" y="1208"/>
                    </a:cubicBezTo>
                    <a:cubicBezTo>
                      <a:pt x="11109" y="907"/>
                      <a:pt x="11309" y="540"/>
                      <a:pt x="11175" y="207"/>
                    </a:cubicBezTo>
                    <a:cubicBezTo>
                      <a:pt x="11127" y="86"/>
                      <a:pt x="11026" y="0"/>
                      <a:pt x="10911"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0" name="Google Shape;130;p5"/>
              <p:cNvSpPr/>
              <p:nvPr/>
            </p:nvSpPr>
            <p:spPr>
              <a:xfrm>
                <a:off x="2512800" y="831200"/>
                <a:ext cx="295225" cy="186650"/>
              </a:xfrm>
              <a:custGeom>
                <a:avLst/>
                <a:gdLst/>
                <a:ahLst/>
                <a:cxnLst/>
                <a:rect l="l" t="t" r="r" b="b"/>
                <a:pathLst>
                  <a:path w="11809" h="7466" extrusionOk="0">
                    <a:moveTo>
                      <a:pt x="10248" y="0"/>
                    </a:moveTo>
                    <a:cubicBezTo>
                      <a:pt x="10209" y="0"/>
                      <a:pt x="10169" y="19"/>
                      <a:pt x="10141" y="61"/>
                    </a:cubicBezTo>
                    <a:cubicBezTo>
                      <a:pt x="9807" y="261"/>
                      <a:pt x="9474" y="494"/>
                      <a:pt x="9240" y="828"/>
                    </a:cubicBezTo>
                    <a:cubicBezTo>
                      <a:pt x="9156" y="940"/>
                      <a:pt x="9238" y="1077"/>
                      <a:pt x="9365" y="1077"/>
                    </a:cubicBezTo>
                    <a:cubicBezTo>
                      <a:pt x="9389" y="1077"/>
                      <a:pt x="9414" y="1072"/>
                      <a:pt x="9441" y="1061"/>
                    </a:cubicBezTo>
                    <a:cubicBezTo>
                      <a:pt x="9641" y="961"/>
                      <a:pt x="9908" y="795"/>
                      <a:pt x="10141" y="761"/>
                    </a:cubicBezTo>
                    <a:cubicBezTo>
                      <a:pt x="10208" y="694"/>
                      <a:pt x="10341" y="694"/>
                      <a:pt x="10475" y="694"/>
                    </a:cubicBezTo>
                    <a:cubicBezTo>
                      <a:pt x="10341" y="1462"/>
                      <a:pt x="6138" y="4230"/>
                      <a:pt x="5638" y="4497"/>
                    </a:cubicBezTo>
                    <a:cubicBezTo>
                      <a:pt x="4804" y="4998"/>
                      <a:pt x="3903" y="5498"/>
                      <a:pt x="3003" y="5965"/>
                    </a:cubicBezTo>
                    <a:cubicBezTo>
                      <a:pt x="2569" y="6198"/>
                      <a:pt x="2035" y="6465"/>
                      <a:pt x="1568" y="6632"/>
                    </a:cubicBezTo>
                    <a:cubicBezTo>
                      <a:pt x="1101" y="6799"/>
                      <a:pt x="601" y="6932"/>
                      <a:pt x="167" y="7132"/>
                    </a:cubicBezTo>
                    <a:cubicBezTo>
                      <a:pt x="0" y="7199"/>
                      <a:pt x="134" y="7466"/>
                      <a:pt x="301" y="7466"/>
                    </a:cubicBezTo>
                    <a:cubicBezTo>
                      <a:pt x="901" y="7466"/>
                      <a:pt x="1502" y="7166"/>
                      <a:pt x="2002" y="6966"/>
                    </a:cubicBezTo>
                    <a:cubicBezTo>
                      <a:pt x="2502" y="6699"/>
                      <a:pt x="3003" y="6465"/>
                      <a:pt x="3470" y="6198"/>
                    </a:cubicBezTo>
                    <a:cubicBezTo>
                      <a:pt x="4604" y="5598"/>
                      <a:pt x="5671" y="4964"/>
                      <a:pt x="6772" y="4330"/>
                    </a:cubicBezTo>
                    <a:cubicBezTo>
                      <a:pt x="7806" y="3663"/>
                      <a:pt x="8840" y="2996"/>
                      <a:pt x="9807" y="2262"/>
                    </a:cubicBezTo>
                    <a:cubicBezTo>
                      <a:pt x="10274" y="1829"/>
                      <a:pt x="11809" y="795"/>
                      <a:pt x="10775" y="61"/>
                    </a:cubicBezTo>
                    <a:cubicBezTo>
                      <a:pt x="10719" y="19"/>
                      <a:pt x="10657" y="0"/>
                      <a:pt x="10597" y="0"/>
                    </a:cubicBezTo>
                    <a:cubicBezTo>
                      <a:pt x="10513" y="0"/>
                      <a:pt x="10433" y="36"/>
                      <a:pt x="10375" y="94"/>
                    </a:cubicBezTo>
                    <a:cubicBezTo>
                      <a:pt x="10355" y="36"/>
                      <a:pt x="10302" y="0"/>
                      <a:pt x="1024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1" name="Google Shape;131;p5"/>
              <p:cNvSpPr/>
              <p:nvPr/>
            </p:nvSpPr>
            <p:spPr>
              <a:xfrm>
                <a:off x="2736475" y="1231275"/>
                <a:ext cx="289075" cy="190350"/>
              </a:xfrm>
              <a:custGeom>
                <a:avLst/>
                <a:gdLst/>
                <a:ahLst/>
                <a:cxnLst/>
                <a:rect l="l" t="t" r="r" b="b"/>
                <a:pathLst>
                  <a:path w="11563" h="7614" extrusionOk="0">
                    <a:moveTo>
                      <a:pt x="11116" y="0"/>
                    </a:moveTo>
                    <a:cubicBezTo>
                      <a:pt x="11042" y="0"/>
                      <a:pt x="10965" y="30"/>
                      <a:pt x="10901" y="103"/>
                    </a:cubicBezTo>
                    <a:cubicBezTo>
                      <a:pt x="9300" y="1637"/>
                      <a:pt x="7565" y="3071"/>
                      <a:pt x="5697" y="4272"/>
                    </a:cubicBezTo>
                    <a:cubicBezTo>
                      <a:pt x="4797" y="4839"/>
                      <a:pt x="3863" y="5440"/>
                      <a:pt x="2895" y="5940"/>
                    </a:cubicBezTo>
                    <a:cubicBezTo>
                      <a:pt x="2462" y="6174"/>
                      <a:pt x="1961" y="6440"/>
                      <a:pt x="1461" y="6674"/>
                    </a:cubicBezTo>
                    <a:cubicBezTo>
                      <a:pt x="994" y="6941"/>
                      <a:pt x="460" y="7108"/>
                      <a:pt x="60" y="7441"/>
                    </a:cubicBezTo>
                    <a:cubicBezTo>
                      <a:pt x="0" y="7501"/>
                      <a:pt x="47" y="7613"/>
                      <a:pt x="129" y="7613"/>
                    </a:cubicBezTo>
                    <a:cubicBezTo>
                      <a:pt x="139" y="7613"/>
                      <a:pt x="149" y="7611"/>
                      <a:pt x="160" y="7608"/>
                    </a:cubicBezTo>
                    <a:cubicBezTo>
                      <a:pt x="660" y="7575"/>
                      <a:pt x="1161" y="7274"/>
                      <a:pt x="1594" y="7074"/>
                    </a:cubicBezTo>
                    <a:cubicBezTo>
                      <a:pt x="2095" y="6841"/>
                      <a:pt x="2562" y="6607"/>
                      <a:pt x="3029" y="6340"/>
                    </a:cubicBezTo>
                    <a:cubicBezTo>
                      <a:pt x="4029" y="5807"/>
                      <a:pt x="5030" y="5240"/>
                      <a:pt x="5997" y="4606"/>
                    </a:cubicBezTo>
                    <a:cubicBezTo>
                      <a:pt x="7865" y="3405"/>
                      <a:pt x="9667" y="2004"/>
                      <a:pt x="11335" y="469"/>
                    </a:cubicBezTo>
                    <a:cubicBezTo>
                      <a:pt x="11562" y="292"/>
                      <a:pt x="11349" y="0"/>
                      <a:pt x="1111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2" name="Google Shape;132;p5"/>
              <p:cNvSpPr/>
              <p:nvPr/>
            </p:nvSpPr>
            <p:spPr>
              <a:xfrm>
                <a:off x="2754650" y="1261075"/>
                <a:ext cx="284450" cy="190100"/>
              </a:xfrm>
              <a:custGeom>
                <a:avLst/>
                <a:gdLst/>
                <a:ahLst/>
                <a:cxnLst/>
                <a:rect l="l" t="t" r="r" b="b"/>
                <a:pathLst>
                  <a:path w="11378" h="7604" extrusionOk="0">
                    <a:moveTo>
                      <a:pt x="11160" y="1"/>
                    </a:moveTo>
                    <a:cubicBezTo>
                      <a:pt x="11128" y="1"/>
                      <a:pt x="11098" y="14"/>
                      <a:pt x="11075" y="45"/>
                    </a:cubicBezTo>
                    <a:cubicBezTo>
                      <a:pt x="9473" y="1579"/>
                      <a:pt x="7806" y="3047"/>
                      <a:pt x="5971" y="4281"/>
                    </a:cubicBezTo>
                    <a:cubicBezTo>
                      <a:pt x="5104" y="4915"/>
                      <a:pt x="4170" y="5482"/>
                      <a:pt x="3269" y="6049"/>
                    </a:cubicBezTo>
                    <a:cubicBezTo>
                      <a:pt x="2302" y="6583"/>
                      <a:pt x="1301" y="7216"/>
                      <a:pt x="167" y="7383"/>
                    </a:cubicBezTo>
                    <a:cubicBezTo>
                      <a:pt x="33" y="7383"/>
                      <a:pt x="0" y="7583"/>
                      <a:pt x="167" y="7583"/>
                    </a:cubicBezTo>
                    <a:cubicBezTo>
                      <a:pt x="275" y="7597"/>
                      <a:pt x="381" y="7603"/>
                      <a:pt x="486" y="7603"/>
                    </a:cubicBezTo>
                    <a:cubicBezTo>
                      <a:pt x="1416" y="7603"/>
                      <a:pt x="2223" y="7106"/>
                      <a:pt x="3002" y="6716"/>
                    </a:cubicBezTo>
                    <a:cubicBezTo>
                      <a:pt x="4070" y="6116"/>
                      <a:pt x="5070" y="5482"/>
                      <a:pt x="6004" y="4815"/>
                    </a:cubicBezTo>
                    <a:cubicBezTo>
                      <a:pt x="7939" y="3480"/>
                      <a:pt x="9740" y="1979"/>
                      <a:pt x="11275" y="245"/>
                    </a:cubicBezTo>
                    <a:cubicBezTo>
                      <a:pt x="11377" y="142"/>
                      <a:pt x="11263" y="1"/>
                      <a:pt x="1116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3" name="Google Shape;133;p5"/>
              <p:cNvSpPr/>
              <p:nvPr/>
            </p:nvSpPr>
            <p:spPr>
              <a:xfrm>
                <a:off x="2744850" y="1240600"/>
                <a:ext cx="289350" cy="188500"/>
              </a:xfrm>
              <a:custGeom>
                <a:avLst/>
                <a:gdLst/>
                <a:ahLst/>
                <a:cxnLst/>
                <a:rect l="l" t="t" r="r" b="b"/>
                <a:pathLst>
                  <a:path w="11574" h="7540" extrusionOk="0">
                    <a:moveTo>
                      <a:pt x="11230" y="0"/>
                    </a:moveTo>
                    <a:cubicBezTo>
                      <a:pt x="11176" y="0"/>
                      <a:pt x="11118" y="18"/>
                      <a:pt x="11066" y="63"/>
                    </a:cubicBezTo>
                    <a:cubicBezTo>
                      <a:pt x="7897" y="3199"/>
                      <a:pt x="4128" y="5467"/>
                      <a:pt x="92" y="7368"/>
                    </a:cubicBezTo>
                    <a:cubicBezTo>
                      <a:pt x="1" y="7399"/>
                      <a:pt x="48" y="7539"/>
                      <a:pt x="158" y="7539"/>
                    </a:cubicBezTo>
                    <a:cubicBezTo>
                      <a:pt x="168" y="7539"/>
                      <a:pt x="180" y="7538"/>
                      <a:pt x="192" y="7535"/>
                    </a:cubicBezTo>
                    <a:cubicBezTo>
                      <a:pt x="4362" y="5934"/>
                      <a:pt x="8098" y="3299"/>
                      <a:pt x="11367" y="297"/>
                    </a:cubicBezTo>
                    <a:cubicBezTo>
                      <a:pt x="11574" y="219"/>
                      <a:pt x="11419" y="0"/>
                      <a:pt x="1123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4" name="Google Shape;134;p5"/>
              <p:cNvSpPr/>
              <p:nvPr/>
            </p:nvSpPr>
            <p:spPr>
              <a:xfrm>
                <a:off x="2755825" y="1251825"/>
                <a:ext cx="284075" cy="186675"/>
              </a:xfrm>
              <a:custGeom>
                <a:avLst/>
                <a:gdLst/>
                <a:ahLst/>
                <a:cxnLst/>
                <a:rect l="l" t="t" r="r" b="b"/>
                <a:pathLst>
                  <a:path w="11363" h="7467" extrusionOk="0">
                    <a:moveTo>
                      <a:pt x="11040" y="1"/>
                    </a:moveTo>
                    <a:cubicBezTo>
                      <a:pt x="10981" y="1"/>
                      <a:pt x="10918" y="24"/>
                      <a:pt x="10861" y="81"/>
                    </a:cubicBezTo>
                    <a:cubicBezTo>
                      <a:pt x="7592" y="2916"/>
                      <a:pt x="3923" y="5285"/>
                      <a:pt x="86" y="7286"/>
                    </a:cubicBezTo>
                    <a:cubicBezTo>
                      <a:pt x="1" y="7315"/>
                      <a:pt x="62" y="7467"/>
                      <a:pt x="124" y="7467"/>
                    </a:cubicBezTo>
                    <a:cubicBezTo>
                      <a:pt x="134" y="7467"/>
                      <a:pt x="144" y="7462"/>
                      <a:pt x="153" y="7453"/>
                    </a:cubicBezTo>
                    <a:cubicBezTo>
                      <a:pt x="4223" y="5685"/>
                      <a:pt x="7892" y="3250"/>
                      <a:pt x="11161" y="348"/>
                    </a:cubicBezTo>
                    <a:cubicBezTo>
                      <a:pt x="11363" y="222"/>
                      <a:pt x="11222" y="1"/>
                      <a:pt x="110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5" name="Google Shape;135;p5"/>
              <p:cNvSpPr/>
              <p:nvPr/>
            </p:nvSpPr>
            <p:spPr>
              <a:xfrm>
                <a:off x="2749625" y="1330025"/>
                <a:ext cx="182125" cy="122325"/>
              </a:xfrm>
              <a:custGeom>
                <a:avLst/>
                <a:gdLst/>
                <a:ahLst/>
                <a:cxnLst/>
                <a:rect l="l" t="t" r="r" b="b"/>
                <a:pathLst>
                  <a:path w="7285" h="4893" extrusionOk="0">
                    <a:moveTo>
                      <a:pt x="7125" y="1"/>
                    </a:moveTo>
                    <a:cubicBezTo>
                      <a:pt x="7098" y="1"/>
                      <a:pt x="7068" y="7"/>
                      <a:pt x="7039" y="22"/>
                    </a:cubicBezTo>
                    <a:cubicBezTo>
                      <a:pt x="6005" y="956"/>
                      <a:pt x="5004" y="1890"/>
                      <a:pt x="3837" y="2691"/>
                    </a:cubicBezTo>
                    <a:cubicBezTo>
                      <a:pt x="3270" y="3124"/>
                      <a:pt x="2669" y="3491"/>
                      <a:pt x="2002" y="3691"/>
                    </a:cubicBezTo>
                    <a:cubicBezTo>
                      <a:pt x="1702" y="3791"/>
                      <a:pt x="1369" y="3891"/>
                      <a:pt x="1102" y="4025"/>
                    </a:cubicBezTo>
                    <a:cubicBezTo>
                      <a:pt x="801" y="4158"/>
                      <a:pt x="368" y="4192"/>
                      <a:pt x="168" y="4458"/>
                    </a:cubicBezTo>
                    <a:cubicBezTo>
                      <a:pt x="1" y="4625"/>
                      <a:pt x="168" y="4859"/>
                      <a:pt x="368" y="4892"/>
                    </a:cubicBezTo>
                    <a:cubicBezTo>
                      <a:pt x="668" y="4892"/>
                      <a:pt x="1035" y="4659"/>
                      <a:pt x="1335" y="4525"/>
                    </a:cubicBezTo>
                    <a:cubicBezTo>
                      <a:pt x="1635" y="4358"/>
                      <a:pt x="1936" y="4192"/>
                      <a:pt x="2202" y="3991"/>
                    </a:cubicBezTo>
                    <a:cubicBezTo>
                      <a:pt x="2770" y="3558"/>
                      <a:pt x="3437" y="3224"/>
                      <a:pt x="4004" y="2857"/>
                    </a:cubicBezTo>
                    <a:cubicBezTo>
                      <a:pt x="5171" y="2123"/>
                      <a:pt x="6305" y="1290"/>
                      <a:pt x="7206" y="189"/>
                    </a:cubicBezTo>
                    <a:cubicBezTo>
                      <a:pt x="7284" y="85"/>
                      <a:pt x="7220" y="1"/>
                      <a:pt x="712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6" name="Google Shape;136;p5"/>
              <p:cNvSpPr/>
              <p:nvPr/>
            </p:nvSpPr>
            <p:spPr>
              <a:xfrm>
                <a:off x="2667900" y="969950"/>
                <a:ext cx="218525" cy="328550"/>
              </a:xfrm>
              <a:custGeom>
                <a:avLst/>
                <a:gdLst/>
                <a:ahLst/>
                <a:cxnLst/>
                <a:rect l="l" t="t" r="r" b="b"/>
                <a:pathLst>
                  <a:path w="8741" h="13142" extrusionOk="0">
                    <a:moveTo>
                      <a:pt x="1802" y="1416"/>
                    </a:moveTo>
                    <a:cubicBezTo>
                      <a:pt x="1936" y="1416"/>
                      <a:pt x="2069" y="1449"/>
                      <a:pt x="2202" y="1516"/>
                    </a:cubicBezTo>
                    <a:cubicBezTo>
                      <a:pt x="2303" y="1549"/>
                      <a:pt x="2436" y="1616"/>
                      <a:pt x="2569" y="1716"/>
                    </a:cubicBezTo>
                    <a:cubicBezTo>
                      <a:pt x="2269" y="1749"/>
                      <a:pt x="2036" y="1916"/>
                      <a:pt x="1802" y="2149"/>
                    </a:cubicBezTo>
                    <a:lnTo>
                      <a:pt x="1802" y="1582"/>
                    </a:lnTo>
                    <a:lnTo>
                      <a:pt x="1802" y="1416"/>
                    </a:lnTo>
                    <a:close/>
                    <a:moveTo>
                      <a:pt x="3149" y="3292"/>
                    </a:moveTo>
                    <a:cubicBezTo>
                      <a:pt x="3186" y="3292"/>
                      <a:pt x="3220" y="3317"/>
                      <a:pt x="3237" y="3350"/>
                    </a:cubicBezTo>
                    <a:cubicBezTo>
                      <a:pt x="3203" y="3384"/>
                      <a:pt x="3136" y="3450"/>
                      <a:pt x="3203" y="3517"/>
                    </a:cubicBezTo>
                    <a:cubicBezTo>
                      <a:pt x="3237" y="4118"/>
                      <a:pt x="3470" y="4718"/>
                      <a:pt x="3737" y="5285"/>
                    </a:cubicBezTo>
                    <a:lnTo>
                      <a:pt x="4604" y="7287"/>
                    </a:lnTo>
                    <a:cubicBezTo>
                      <a:pt x="4704" y="7553"/>
                      <a:pt x="4804" y="7754"/>
                      <a:pt x="4904" y="8020"/>
                    </a:cubicBezTo>
                    <a:cubicBezTo>
                      <a:pt x="4104" y="6719"/>
                      <a:pt x="3470" y="5252"/>
                      <a:pt x="3103" y="3784"/>
                    </a:cubicBezTo>
                    <a:cubicBezTo>
                      <a:pt x="3103" y="3717"/>
                      <a:pt x="2970" y="3417"/>
                      <a:pt x="3036" y="3384"/>
                    </a:cubicBezTo>
                    <a:cubicBezTo>
                      <a:pt x="3070" y="3317"/>
                      <a:pt x="3111" y="3292"/>
                      <a:pt x="3149" y="3292"/>
                    </a:cubicBezTo>
                    <a:close/>
                    <a:moveTo>
                      <a:pt x="2724" y="2524"/>
                    </a:moveTo>
                    <a:cubicBezTo>
                      <a:pt x="2767" y="2524"/>
                      <a:pt x="2816" y="2532"/>
                      <a:pt x="2870" y="2550"/>
                    </a:cubicBezTo>
                    <a:cubicBezTo>
                      <a:pt x="2903" y="2550"/>
                      <a:pt x="2936" y="2583"/>
                      <a:pt x="2970" y="2616"/>
                    </a:cubicBezTo>
                    <a:cubicBezTo>
                      <a:pt x="2903" y="2616"/>
                      <a:pt x="2770" y="2650"/>
                      <a:pt x="2703" y="2750"/>
                    </a:cubicBezTo>
                    <a:cubicBezTo>
                      <a:pt x="2202" y="3184"/>
                      <a:pt x="2536" y="4051"/>
                      <a:pt x="2703" y="4551"/>
                    </a:cubicBezTo>
                    <a:cubicBezTo>
                      <a:pt x="3136" y="6119"/>
                      <a:pt x="3870" y="7687"/>
                      <a:pt x="4804" y="9054"/>
                    </a:cubicBezTo>
                    <a:cubicBezTo>
                      <a:pt x="5205" y="9588"/>
                      <a:pt x="5605" y="10055"/>
                      <a:pt x="6039" y="10556"/>
                    </a:cubicBezTo>
                    <a:cubicBezTo>
                      <a:pt x="6039" y="10589"/>
                      <a:pt x="6039" y="10589"/>
                      <a:pt x="6072" y="10622"/>
                    </a:cubicBezTo>
                    <a:cubicBezTo>
                      <a:pt x="5038" y="9922"/>
                      <a:pt x="4304" y="8521"/>
                      <a:pt x="3737" y="7487"/>
                    </a:cubicBezTo>
                    <a:cubicBezTo>
                      <a:pt x="3203" y="6553"/>
                      <a:pt x="2636" y="5519"/>
                      <a:pt x="2269" y="4418"/>
                    </a:cubicBezTo>
                    <a:cubicBezTo>
                      <a:pt x="2136" y="3917"/>
                      <a:pt x="2102" y="3384"/>
                      <a:pt x="2369" y="2917"/>
                    </a:cubicBezTo>
                    <a:cubicBezTo>
                      <a:pt x="2424" y="2698"/>
                      <a:pt x="2524" y="2524"/>
                      <a:pt x="2724" y="2524"/>
                    </a:cubicBezTo>
                    <a:close/>
                    <a:moveTo>
                      <a:pt x="5094" y="5138"/>
                    </a:moveTo>
                    <a:cubicBezTo>
                      <a:pt x="5708" y="6089"/>
                      <a:pt x="6228" y="7125"/>
                      <a:pt x="6572" y="8221"/>
                    </a:cubicBezTo>
                    <a:cubicBezTo>
                      <a:pt x="6772" y="8788"/>
                      <a:pt x="6906" y="9388"/>
                      <a:pt x="7039" y="9988"/>
                    </a:cubicBezTo>
                    <a:cubicBezTo>
                      <a:pt x="7073" y="10189"/>
                      <a:pt x="7106" y="10389"/>
                      <a:pt x="7139" y="10622"/>
                    </a:cubicBezTo>
                    <a:cubicBezTo>
                      <a:pt x="6973" y="9755"/>
                      <a:pt x="6706" y="8921"/>
                      <a:pt x="6405" y="8087"/>
                    </a:cubicBezTo>
                    <a:cubicBezTo>
                      <a:pt x="6021" y="7081"/>
                      <a:pt x="5584" y="6075"/>
                      <a:pt x="5094" y="5138"/>
                    </a:cubicBezTo>
                    <a:close/>
                    <a:moveTo>
                      <a:pt x="1135" y="2149"/>
                    </a:moveTo>
                    <a:cubicBezTo>
                      <a:pt x="1135" y="2650"/>
                      <a:pt x="1235" y="3217"/>
                      <a:pt x="1369" y="3751"/>
                    </a:cubicBezTo>
                    <a:cubicBezTo>
                      <a:pt x="1369" y="4118"/>
                      <a:pt x="1435" y="4518"/>
                      <a:pt x="1535" y="4885"/>
                    </a:cubicBezTo>
                    <a:cubicBezTo>
                      <a:pt x="1936" y="6453"/>
                      <a:pt x="2703" y="8054"/>
                      <a:pt x="3603" y="9421"/>
                    </a:cubicBezTo>
                    <a:cubicBezTo>
                      <a:pt x="4070" y="10089"/>
                      <a:pt x="4604" y="10756"/>
                      <a:pt x="5138" y="11356"/>
                    </a:cubicBezTo>
                    <a:lnTo>
                      <a:pt x="5171" y="11389"/>
                    </a:lnTo>
                    <a:cubicBezTo>
                      <a:pt x="5071" y="11289"/>
                      <a:pt x="4971" y="11223"/>
                      <a:pt x="4904" y="11189"/>
                    </a:cubicBezTo>
                    <a:lnTo>
                      <a:pt x="4871" y="11123"/>
                    </a:lnTo>
                    <a:cubicBezTo>
                      <a:pt x="4771" y="11056"/>
                      <a:pt x="4704" y="10956"/>
                      <a:pt x="4604" y="10856"/>
                    </a:cubicBezTo>
                    <a:cubicBezTo>
                      <a:pt x="4304" y="10522"/>
                      <a:pt x="4037" y="10222"/>
                      <a:pt x="3770" y="9888"/>
                    </a:cubicBezTo>
                    <a:cubicBezTo>
                      <a:pt x="3603" y="9622"/>
                      <a:pt x="3437" y="9355"/>
                      <a:pt x="3270" y="9088"/>
                    </a:cubicBezTo>
                    <a:cubicBezTo>
                      <a:pt x="2569" y="7854"/>
                      <a:pt x="1969" y="6519"/>
                      <a:pt x="1469" y="5185"/>
                    </a:cubicBezTo>
                    <a:cubicBezTo>
                      <a:pt x="1268" y="4284"/>
                      <a:pt x="1102" y="3384"/>
                      <a:pt x="1102" y="2483"/>
                    </a:cubicBezTo>
                    <a:cubicBezTo>
                      <a:pt x="1102" y="2383"/>
                      <a:pt x="1102" y="2283"/>
                      <a:pt x="1135" y="2149"/>
                    </a:cubicBezTo>
                    <a:close/>
                    <a:moveTo>
                      <a:pt x="1580" y="1"/>
                    </a:moveTo>
                    <a:cubicBezTo>
                      <a:pt x="1340" y="1"/>
                      <a:pt x="1087" y="117"/>
                      <a:pt x="935" y="248"/>
                    </a:cubicBezTo>
                    <a:cubicBezTo>
                      <a:pt x="668" y="448"/>
                      <a:pt x="468" y="715"/>
                      <a:pt x="334" y="1015"/>
                    </a:cubicBezTo>
                    <a:cubicBezTo>
                      <a:pt x="1" y="1416"/>
                      <a:pt x="1" y="2183"/>
                      <a:pt x="1" y="2616"/>
                    </a:cubicBezTo>
                    <a:cubicBezTo>
                      <a:pt x="1" y="3384"/>
                      <a:pt x="134" y="4118"/>
                      <a:pt x="301" y="4851"/>
                    </a:cubicBezTo>
                    <a:cubicBezTo>
                      <a:pt x="501" y="5619"/>
                      <a:pt x="801" y="6419"/>
                      <a:pt x="1135" y="7186"/>
                    </a:cubicBezTo>
                    <a:cubicBezTo>
                      <a:pt x="1435" y="7887"/>
                      <a:pt x="1735" y="8587"/>
                      <a:pt x="2102" y="9255"/>
                    </a:cubicBezTo>
                    <a:cubicBezTo>
                      <a:pt x="2503" y="9955"/>
                      <a:pt x="3103" y="10556"/>
                      <a:pt x="3603" y="11189"/>
                    </a:cubicBezTo>
                    <a:cubicBezTo>
                      <a:pt x="4104" y="11756"/>
                      <a:pt x="4604" y="12424"/>
                      <a:pt x="5271" y="12790"/>
                    </a:cubicBezTo>
                    <a:cubicBezTo>
                      <a:pt x="5575" y="13012"/>
                      <a:pt x="5971" y="13141"/>
                      <a:pt x="6363" y="13141"/>
                    </a:cubicBezTo>
                    <a:cubicBezTo>
                      <a:pt x="6444" y="13141"/>
                      <a:pt x="6525" y="13135"/>
                      <a:pt x="6606" y="13124"/>
                    </a:cubicBezTo>
                    <a:lnTo>
                      <a:pt x="6973" y="13124"/>
                    </a:lnTo>
                    <a:cubicBezTo>
                      <a:pt x="7606" y="13024"/>
                      <a:pt x="8073" y="12524"/>
                      <a:pt x="8273" y="11923"/>
                    </a:cubicBezTo>
                    <a:cubicBezTo>
                      <a:pt x="8407" y="11556"/>
                      <a:pt x="8440" y="11256"/>
                      <a:pt x="8474" y="10922"/>
                    </a:cubicBezTo>
                    <a:cubicBezTo>
                      <a:pt x="8740" y="9455"/>
                      <a:pt x="8273" y="7920"/>
                      <a:pt x="7740" y="6519"/>
                    </a:cubicBezTo>
                    <a:cubicBezTo>
                      <a:pt x="7039" y="4751"/>
                      <a:pt x="6239" y="2950"/>
                      <a:pt x="4804" y="1616"/>
                    </a:cubicBezTo>
                    <a:cubicBezTo>
                      <a:pt x="4137" y="1015"/>
                      <a:pt x="3337" y="548"/>
                      <a:pt x="2469" y="248"/>
                    </a:cubicBezTo>
                    <a:cubicBezTo>
                      <a:pt x="2303" y="215"/>
                      <a:pt x="2136" y="115"/>
                      <a:pt x="1936" y="115"/>
                    </a:cubicBezTo>
                    <a:cubicBezTo>
                      <a:pt x="1831" y="34"/>
                      <a:pt x="1707" y="1"/>
                      <a:pt x="15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37" name="Google Shape;137;p5"/>
            <p:cNvGrpSpPr/>
            <p:nvPr/>
          </p:nvGrpSpPr>
          <p:grpSpPr>
            <a:xfrm rot="3498430">
              <a:off x="811223" y="2435989"/>
              <a:ext cx="132379" cy="348680"/>
              <a:chOff x="4670175" y="1180125"/>
              <a:chExt cx="66725" cy="175750"/>
            </a:xfrm>
          </p:grpSpPr>
          <p:sp>
            <p:nvSpPr>
              <p:cNvPr id="138" name="Google Shape;138;p5"/>
              <p:cNvSpPr/>
              <p:nvPr/>
            </p:nvSpPr>
            <p:spPr>
              <a:xfrm>
                <a:off x="4670175" y="1180125"/>
                <a:ext cx="23375" cy="175750"/>
              </a:xfrm>
              <a:custGeom>
                <a:avLst/>
                <a:gdLst/>
                <a:ahLst/>
                <a:cxnLst/>
                <a:rect l="l" t="t" r="r" b="b"/>
                <a:pathLst>
                  <a:path w="935" h="7030" extrusionOk="0">
                    <a:moveTo>
                      <a:pt x="561" y="1"/>
                    </a:moveTo>
                    <a:cubicBezTo>
                      <a:pt x="466" y="1"/>
                      <a:pt x="367" y="59"/>
                      <a:pt x="367" y="180"/>
                    </a:cubicBezTo>
                    <a:cubicBezTo>
                      <a:pt x="267" y="1281"/>
                      <a:pt x="234" y="2382"/>
                      <a:pt x="201" y="3483"/>
                    </a:cubicBezTo>
                    <a:cubicBezTo>
                      <a:pt x="167" y="4017"/>
                      <a:pt x="167" y="4550"/>
                      <a:pt x="100" y="5117"/>
                    </a:cubicBezTo>
                    <a:cubicBezTo>
                      <a:pt x="67" y="5651"/>
                      <a:pt x="0" y="6218"/>
                      <a:pt x="100" y="6785"/>
                    </a:cubicBezTo>
                    <a:cubicBezTo>
                      <a:pt x="156" y="6933"/>
                      <a:pt x="304" y="7030"/>
                      <a:pt x="447" y="7030"/>
                    </a:cubicBezTo>
                    <a:cubicBezTo>
                      <a:pt x="562" y="7030"/>
                      <a:pt x="675" y="6967"/>
                      <a:pt x="734" y="6819"/>
                    </a:cubicBezTo>
                    <a:cubicBezTo>
                      <a:pt x="901" y="6285"/>
                      <a:pt x="868" y="5718"/>
                      <a:pt x="901" y="5151"/>
                    </a:cubicBezTo>
                    <a:cubicBezTo>
                      <a:pt x="901" y="4617"/>
                      <a:pt x="934" y="4017"/>
                      <a:pt x="901" y="3483"/>
                    </a:cubicBezTo>
                    <a:cubicBezTo>
                      <a:pt x="901" y="2349"/>
                      <a:pt x="868" y="1281"/>
                      <a:pt x="734" y="147"/>
                    </a:cubicBezTo>
                    <a:cubicBezTo>
                      <a:pt x="734" y="51"/>
                      <a:pt x="649" y="1"/>
                      <a:pt x="56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9" name="Google Shape;139;p5"/>
              <p:cNvSpPr/>
              <p:nvPr/>
            </p:nvSpPr>
            <p:spPr>
              <a:xfrm>
                <a:off x="4714375" y="1203700"/>
                <a:ext cx="22525" cy="150675"/>
              </a:xfrm>
              <a:custGeom>
                <a:avLst/>
                <a:gdLst/>
                <a:ahLst/>
                <a:cxnLst/>
                <a:rect l="l" t="t" r="r" b="b"/>
                <a:pathLst>
                  <a:path w="901" h="6027" extrusionOk="0">
                    <a:moveTo>
                      <a:pt x="268" y="0"/>
                    </a:moveTo>
                    <a:cubicBezTo>
                      <a:pt x="173" y="0"/>
                      <a:pt x="83" y="67"/>
                      <a:pt x="100" y="205"/>
                    </a:cubicBezTo>
                    <a:cubicBezTo>
                      <a:pt x="134" y="1172"/>
                      <a:pt x="134" y="2073"/>
                      <a:pt x="134" y="3040"/>
                    </a:cubicBezTo>
                    <a:cubicBezTo>
                      <a:pt x="134" y="3941"/>
                      <a:pt x="0" y="4942"/>
                      <a:pt x="167" y="5876"/>
                    </a:cubicBezTo>
                    <a:cubicBezTo>
                      <a:pt x="221" y="5966"/>
                      <a:pt x="353" y="6027"/>
                      <a:pt x="469" y="6027"/>
                    </a:cubicBezTo>
                    <a:cubicBezTo>
                      <a:pt x="567" y="6027"/>
                      <a:pt x="652" y="5983"/>
                      <a:pt x="667" y="5876"/>
                    </a:cubicBezTo>
                    <a:cubicBezTo>
                      <a:pt x="901" y="4942"/>
                      <a:pt x="801" y="3941"/>
                      <a:pt x="734" y="3040"/>
                    </a:cubicBezTo>
                    <a:cubicBezTo>
                      <a:pt x="667" y="2073"/>
                      <a:pt x="601" y="1105"/>
                      <a:pt x="467" y="171"/>
                    </a:cubicBezTo>
                    <a:cubicBezTo>
                      <a:pt x="451" y="59"/>
                      <a:pt x="357" y="0"/>
                      <a:pt x="26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40" name="Google Shape;140;p5"/>
            <p:cNvGrpSpPr/>
            <p:nvPr/>
          </p:nvGrpSpPr>
          <p:grpSpPr>
            <a:xfrm rot="2555100">
              <a:off x="1411293" y="1604956"/>
              <a:ext cx="363360" cy="242976"/>
              <a:chOff x="5153850" y="1150039"/>
              <a:chExt cx="326100" cy="218061"/>
            </a:xfrm>
          </p:grpSpPr>
          <p:sp>
            <p:nvSpPr>
              <p:cNvPr id="141" name="Google Shape;141;p5"/>
              <p:cNvSpPr/>
              <p:nvPr/>
            </p:nvSpPr>
            <p:spPr>
              <a:xfrm>
                <a:off x="5252272" y="1150039"/>
                <a:ext cx="40945" cy="53387"/>
              </a:xfrm>
              <a:custGeom>
                <a:avLst/>
                <a:gdLst/>
                <a:ahLst/>
                <a:cxnLst/>
                <a:rect l="l" t="t" r="r" b="b"/>
                <a:pathLst>
                  <a:path w="1402" h="1828" extrusionOk="0">
                    <a:moveTo>
                      <a:pt x="501" y="0"/>
                    </a:moveTo>
                    <a:cubicBezTo>
                      <a:pt x="401" y="0"/>
                      <a:pt x="334" y="0"/>
                      <a:pt x="267" y="34"/>
                    </a:cubicBezTo>
                    <a:cubicBezTo>
                      <a:pt x="234" y="34"/>
                      <a:pt x="201" y="67"/>
                      <a:pt x="201" y="67"/>
                    </a:cubicBezTo>
                    <a:cubicBezTo>
                      <a:pt x="167" y="67"/>
                      <a:pt x="100" y="100"/>
                      <a:pt x="100" y="134"/>
                    </a:cubicBezTo>
                    <a:cubicBezTo>
                      <a:pt x="100" y="200"/>
                      <a:pt x="167" y="234"/>
                      <a:pt x="201" y="234"/>
                    </a:cubicBezTo>
                    <a:lnTo>
                      <a:pt x="267" y="234"/>
                    </a:lnTo>
                    <a:cubicBezTo>
                      <a:pt x="334" y="234"/>
                      <a:pt x="367" y="234"/>
                      <a:pt x="434" y="267"/>
                    </a:cubicBezTo>
                    <a:cubicBezTo>
                      <a:pt x="501" y="267"/>
                      <a:pt x="534" y="267"/>
                      <a:pt x="567" y="301"/>
                    </a:cubicBezTo>
                    <a:cubicBezTo>
                      <a:pt x="601" y="301"/>
                      <a:pt x="668" y="367"/>
                      <a:pt x="701" y="367"/>
                    </a:cubicBezTo>
                    <a:cubicBezTo>
                      <a:pt x="734" y="401"/>
                      <a:pt x="768" y="401"/>
                      <a:pt x="768" y="434"/>
                    </a:cubicBezTo>
                    <a:cubicBezTo>
                      <a:pt x="768" y="434"/>
                      <a:pt x="834" y="434"/>
                      <a:pt x="834" y="467"/>
                    </a:cubicBezTo>
                    <a:cubicBezTo>
                      <a:pt x="800" y="460"/>
                      <a:pt x="765" y="456"/>
                      <a:pt x="729" y="456"/>
                    </a:cubicBezTo>
                    <a:cubicBezTo>
                      <a:pt x="460" y="456"/>
                      <a:pt x="189" y="673"/>
                      <a:pt x="100" y="968"/>
                    </a:cubicBezTo>
                    <a:cubicBezTo>
                      <a:pt x="0" y="1368"/>
                      <a:pt x="167" y="1735"/>
                      <a:pt x="501" y="1802"/>
                    </a:cubicBezTo>
                    <a:cubicBezTo>
                      <a:pt x="547" y="1819"/>
                      <a:pt x="594" y="1827"/>
                      <a:pt x="643" y="1827"/>
                    </a:cubicBezTo>
                    <a:cubicBezTo>
                      <a:pt x="876" y="1827"/>
                      <a:pt x="1124" y="1633"/>
                      <a:pt x="1235" y="1301"/>
                    </a:cubicBezTo>
                    <a:cubicBezTo>
                      <a:pt x="1401" y="1001"/>
                      <a:pt x="1368" y="834"/>
                      <a:pt x="1368" y="734"/>
                    </a:cubicBezTo>
                    <a:cubicBezTo>
                      <a:pt x="1368" y="701"/>
                      <a:pt x="1368" y="601"/>
                      <a:pt x="1335" y="567"/>
                    </a:cubicBezTo>
                    <a:cubicBezTo>
                      <a:pt x="1335" y="534"/>
                      <a:pt x="1268" y="434"/>
                      <a:pt x="1268" y="401"/>
                    </a:cubicBezTo>
                    <a:cubicBezTo>
                      <a:pt x="1235" y="367"/>
                      <a:pt x="1201" y="267"/>
                      <a:pt x="1168" y="234"/>
                    </a:cubicBezTo>
                    <a:cubicBezTo>
                      <a:pt x="1101" y="200"/>
                      <a:pt x="1068" y="134"/>
                      <a:pt x="1001" y="100"/>
                    </a:cubicBezTo>
                    <a:cubicBezTo>
                      <a:pt x="934" y="67"/>
                      <a:pt x="868" y="67"/>
                      <a:pt x="834" y="34"/>
                    </a:cubicBezTo>
                    <a:cubicBezTo>
                      <a:pt x="768" y="34"/>
                      <a:pt x="701" y="0"/>
                      <a:pt x="66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2" name="Google Shape;142;p5"/>
              <p:cNvSpPr/>
              <p:nvPr/>
            </p:nvSpPr>
            <p:spPr>
              <a:xfrm>
                <a:off x="5403262" y="1191919"/>
                <a:ext cx="39982" cy="54292"/>
              </a:xfrm>
              <a:custGeom>
                <a:avLst/>
                <a:gdLst/>
                <a:ahLst/>
                <a:cxnLst/>
                <a:rect l="l" t="t" r="r" b="b"/>
                <a:pathLst>
                  <a:path w="1369" h="1859" extrusionOk="0">
                    <a:moveTo>
                      <a:pt x="501" y="1"/>
                    </a:moveTo>
                    <a:cubicBezTo>
                      <a:pt x="401" y="1"/>
                      <a:pt x="334" y="1"/>
                      <a:pt x="268" y="34"/>
                    </a:cubicBezTo>
                    <a:cubicBezTo>
                      <a:pt x="234" y="34"/>
                      <a:pt x="201" y="101"/>
                      <a:pt x="201" y="101"/>
                    </a:cubicBezTo>
                    <a:cubicBezTo>
                      <a:pt x="168" y="101"/>
                      <a:pt x="101" y="134"/>
                      <a:pt x="101" y="167"/>
                    </a:cubicBezTo>
                    <a:cubicBezTo>
                      <a:pt x="101" y="201"/>
                      <a:pt x="168" y="268"/>
                      <a:pt x="201" y="268"/>
                    </a:cubicBezTo>
                    <a:lnTo>
                      <a:pt x="268" y="268"/>
                    </a:lnTo>
                    <a:cubicBezTo>
                      <a:pt x="334" y="268"/>
                      <a:pt x="368" y="268"/>
                      <a:pt x="434" y="301"/>
                    </a:cubicBezTo>
                    <a:cubicBezTo>
                      <a:pt x="501" y="301"/>
                      <a:pt x="534" y="301"/>
                      <a:pt x="568" y="334"/>
                    </a:cubicBezTo>
                    <a:cubicBezTo>
                      <a:pt x="601" y="334"/>
                      <a:pt x="668" y="368"/>
                      <a:pt x="701" y="368"/>
                    </a:cubicBezTo>
                    <a:cubicBezTo>
                      <a:pt x="735" y="434"/>
                      <a:pt x="768" y="434"/>
                      <a:pt x="768" y="468"/>
                    </a:cubicBezTo>
                    <a:cubicBezTo>
                      <a:pt x="768" y="468"/>
                      <a:pt x="835" y="468"/>
                      <a:pt x="835" y="501"/>
                    </a:cubicBezTo>
                    <a:cubicBezTo>
                      <a:pt x="800" y="493"/>
                      <a:pt x="765" y="490"/>
                      <a:pt x="730" y="490"/>
                    </a:cubicBezTo>
                    <a:cubicBezTo>
                      <a:pt x="461" y="490"/>
                      <a:pt x="189" y="706"/>
                      <a:pt x="101" y="1001"/>
                    </a:cubicBezTo>
                    <a:cubicBezTo>
                      <a:pt x="1" y="1368"/>
                      <a:pt x="168" y="1769"/>
                      <a:pt x="501" y="1835"/>
                    </a:cubicBezTo>
                    <a:cubicBezTo>
                      <a:pt x="543" y="1851"/>
                      <a:pt x="587" y="1859"/>
                      <a:pt x="631" y="1859"/>
                    </a:cubicBezTo>
                    <a:cubicBezTo>
                      <a:pt x="868" y="1859"/>
                      <a:pt x="1123" y="1644"/>
                      <a:pt x="1235" y="1335"/>
                    </a:cubicBezTo>
                    <a:cubicBezTo>
                      <a:pt x="1368" y="968"/>
                      <a:pt x="1368" y="801"/>
                      <a:pt x="1368" y="768"/>
                    </a:cubicBezTo>
                    <a:cubicBezTo>
                      <a:pt x="1368" y="735"/>
                      <a:pt x="1368" y="634"/>
                      <a:pt x="1335" y="601"/>
                    </a:cubicBezTo>
                    <a:cubicBezTo>
                      <a:pt x="1335" y="568"/>
                      <a:pt x="1268" y="468"/>
                      <a:pt x="1268" y="434"/>
                    </a:cubicBezTo>
                    <a:cubicBezTo>
                      <a:pt x="1235" y="401"/>
                      <a:pt x="1202" y="301"/>
                      <a:pt x="1135" y="268"/>
                    </a:cubicBezTo>
                    <a:cubicBezTo>
                      <a:pt x="1102" y="234"/>
                      <a:pt x="1068" y="167"/>
                      <a:pt x="1001" y="134"/>
                    </a:cubicBezTo>
                    <a:cubicBezTo>
                      <a:pt x="935" y="101"/>
                      <a:pt x="868" y="101"/>
                      <a:pt x="835" y="34"/>
                    </a:cubicBezTo>
                    <a:cubicBezTo>
                      <a:pt x="768" y="34"/>
                      <a:pt x="701" y="1"/>
                      <a:pt x="6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3" name="Google Shape;143;p5"/>
              <p:cNvSpPr/>
              <p:nvPr/>
            </p:nvSpPr>
            <p:spPr>
              <a:xfrm>
                <a:off x="5375675" y="1274425"/>
                <a:ext cx="104275" cy="93675"/>
              </a:xfrm>
              <a:custGeom>
                <a:avLst/>
                <a:gdLst/>
                <a:ahLst/>
                <a:cxnLst/>
                <a:rect l="l" t="t" r="r" b="b"/>
                <a:pathLst>
                  <a:path w="4171" h="3747" extrusionOk="0">
                    <a:moveTo>
                      <a:pt x="2047" y="0"/>
                    </a:moveTo>
                    <a:cubicBezTo>
                      <a:pt x="1240" y="0"/>
                      <a:pt x="521" y="553"/>
                      <a:pt x="301" y="1379"/>
                    </a:cubicBezTo>
                    <a:cubicBezTo>
                      <a:pt x="1" y="2379"/>
                      <a:pt x="568" y="3380"/>
                      <a:pt x="1568" y="3680"/>
                    </a:cubicBezTo>
                    <a:cubicBezTo>
                      <a:pt x="1735" y="3725"/>
                      <a:pt x="1902" y="3746"/>
                      <a:pt x="2065" y="3746"/>
                    </a:cubicBezTo>
                    <a:cubicBezTo>
                      <a:pt x="2883" y="3746"/>
                      <a:pt x="3620" y="3213"/>
                      <a:pt x="3870" y="2379"/>
                    </a:cubicBezTo>
                    <a:cubicBezTo>
                      <a:pt x="4170" y="1379"/>
                      <a:pt x="3570" y="378"/>
                      <a:pt x="2569" y="78"/>
                    </a:cubicBezTo>
                    <a:cubicBezTo>
                      <a:pt x="2394" y="25"/>
                      <a:pt x="2218" y="0"/>
                      <a:pt x="2047"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4" name="Google Shape;144;p5"/>
              <p:cNvSpPr/>
              <p:nvPr/>
            </p:nvSpPr>
            <p:spPr>
              <a:xfrm>
                <a:off x="5153850" y="1213000"/>
                <a:ext cx="104275" cy="93675"/>
              </a:xfrm>
              <a:custGeom>
                <a:avLst/>
                <a:gdLst/>
                <a:ahLst/>
                <a:cxnLst/>
                <a:rect l="l" t="t" r="r" b="b"/>
                <a:pathLst>
                  <a:path w="4171" h="3747" extrusionOk="0">
                    <a:moveTo>
                      <a:pt x="2072" y="1"/>
                    </a:moveTo>
                    <a:cubicBezTo>
                      <a:pt x="1254" y="1"/>
                      <a:pt x="518" y="533"/>
                      <a:pt x="267" y="1367"/>
                    </a:cubicBezTo>
                    <a:cubicBezTo>
                      <a:pt x="1" y="2368"/>
                      <a:pt x="568" y="3369"/>
                      <a:pt x="1568" y="3669"/>
                    </a:cubicBezTo>
                    <a:cubicBezTo>
                      <a:pt x="1744" y="3721"/>
                      <a:pt x="1919" y="3746"/>
                      <a:pt x="2091" y="3746"/>
                    </a:cubicBezTo>
                    <a:cubicBezTo>
                      <a:pt x="2898" y="3746"/>
                      <a:pt x="3622" y="3193"/>
                      <a:pt x="3870" y="2368"/>
                    </a:cubicBezTo>
                    <a:cubicBezTo>
                      <a:pt x="4170" y="1367"/>
                      <a:pt x="3570" y="367"/>
                      <a:pt x="2569" y="66"/>
                    </a:cubicBezTo>
                    <a:cubicBezTo>
                      <a:pt x="2402" y="22"/>
                      <a:pt x="2235" y="1"/>
                      <a:pt x="207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5" name="Google Shape;145;p5"/>
              <p:cNvSpPr/>
              <p:nvPr/>
            </p:nvSpPr>
            <p:spPr>
              <a:xfrm>
                <a:off x="5298065" y="1210405"/>
                <a:ext cx="73071" cy="64017"/>
              </a:xfrm>
              <a:custGeom>
                <a:avLst/>
                <a:gdLst/>
                <a:ahLst/>
                <a:cxnLst/>
                <a:rect l="l" t="t" r="r" b="b"/>
                <a:pathLst>
                  <a:path w="2502" h="2192" extrusionOk="0">
                    <a:moveTo>
                      <a:pt x="474" y="0"/>
                    </a:moveTo>
                    <a:cubicBezTo>
                      <a:pt x="449" y="0"/>
                      <a:pt x="414" y="11"/>
                      <a:pt x="367" y="35"/>
                    </a:cubicBezTo>
                    <a:cubicBezTo>
                      <a:pt x="350" y="26"/>
                      <a:pt x="332" y="22"/>
                      <a:pt x="312" y="22"/>
                    </a:cubicBezTo>
                    <a:cubicBezTo>
                      <a:pt x="255" y="22"/>
                      <a:pt x="192" y="60"/>
                      <a:pt x="167" y="135"/>
                    </a:cubicBezTo>
                    <a:cubicBezTo>
                      <a:pt x="34" y="468"/>
                      <a:pt x="0" y="835"/>
                      <a:pt x="34" y="1202"/>
                    </a:cubicBezTo>
                    <a:cubicBezTo>
                      <a:pt x="67" y="1402"/>
                      <a:pt x="167" y="1636"/>
                      <a:pt x="300" y="1803"/>
                    </a:cubicBezTo>
                    <a:cubicBezTo>
                      <a:pt x="400" y="2003"/>
                      <a:pt x="667" y="2136"/>
                      <a:pt x="867" y="2170"/>
                    </a:cubicBezTo>
                    <a:cubicBezTo>
                      <a:pt x="950" y="2183"/>
                      <a:pt x="1045" y="2192"/>
                      <a:pt x="1141" y="2192"/>
                    </a:cubicBezTo>
                    <a:cubicBezTo>
                      <a:pt x="1277" y="2192"/>
                      <a:pt x="1417" y="2175"/>
                      <a:pt x="1535" y="2136"/>
                    </a:cubicBezTo>
                    <a:cubicBezTo>
                      <a:pt x="1801" y="2036"/>
                      <a:pt x="1968" y="1936"/>
                      <a:pt x="2102" y="1769"/>
                    </a:cubicBezTo>
                    <a:cubicBezTo>
                      <a:pt x="2335" y="1436"/>
                      <a:pt x="2469" y="1102"/>
                      <a:pt x="2502" y="702"/>
                    </a:cubicBezTo>
                    <a:cubicBezTo>
                      <a:pt x="2502" y="635"/>
                      <a:pt x="2469" y="569"/>
                      <a:pt x="2435" y="535"/>
                    </a:cubicBezTo>
                    <a:cubicBezTo>
                      <a:pt x="2394" y="521"/>
                      <a:pt x="2358" y="513"/>
                      <a:pt x="2326" y="513"/>
                    </a:cubicBezTo>
                    <a:cubicBezTo>
                      <a:pt x="2280" y="513"/>
                      <a:pt x="2241" y="529"/>
                      <a:pt x="2202" y="569"/>
                    </a:cubicBezTo>
                    <a:cubicBezTo>
                      <a:pt x="2035" y="835"/>
                      <a:pt x="1868" y="1136"/>
                      <a:pt x="1668" y="1302"/>
                    </a:cubicBezTo>
                    <a:cubicBezTo>
                      <a:pt x="1513" y="1432"/>
                      <a:pt x="1378" y="1481"/>
                      <a:pt x="1201" y="1481"/>
                    </a:cubicBezTo>
                    <a:cubicBezTo>
                      <a:pt x="1149" y="1481"/>
                      <a:pt x="1094" y="1477"/>
                      <a:pt x="1034" y="1469"/>
                    </a:cubicBezTo>
                    <a:cubicBezTo>
                      <a:pt x="834" y="1436"/>
                      <a:pt x="701" y="1302"/>
                      <a:pt x="634" y="1002"/>
                    </a:cubicBezTo>
                    <a:cubicBezTo>
                      <a:pt x="601" y="702"/>
                      <a:pt x="534" y="435"/>
                      <a:pt x="534" y="102"/>
                    </a:cubicBezTo>
                    <a:cubicBezTo>
                      <a:pt x="534" y="37"/>
                      <a:pt x="520" y="0"/>
                      <a:pt x="47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spTree>
    <p:extLst>
      <p:ext uri="{BB962C8B-B14F-4D97-AF65-F5344CB8AC3E}">
        <p14:creationId xmlns:p14="http://schemas.microsoft.com/office/powerpoint/2010/main" val="336763691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itle only" type="titleOnly">
  <p:cSld name="Title only">
    <p:bg>
      <p:bgPr>
        <a:blipFill>
          <a:blip r:embed="rId2">
            <a:alphaModFix/>
          </a:blip>
          <a:stretch>
            <a:fillRect/>
          </a:stretch>
        </a:blipFill>
        <a:effectLst/>
      </p:bgPr>
    </p:bg>
    <p:spTree>
      <p:nvGrpSpPr>
        <p:cNvPr id="1" name="Shape 146"/>
        <p:cNvGrpSpPr/>
        <p:nvPr/>
      </p:nvGrpSpPr>
      <p:grpSpPr>
        <a:xfrm>
          <a:off x="0" y="0"/>
          <a:ext cx="0" cy="0"/>
          <a:chOff x="0" y="0"/>
          <a:chExt cx="0" cy="0"/>
        </a:xfrm>
      </p:grpSpPr>
      <p:sp>
        <p:nvSpPr>
          <p:cNvPr id="147" name="Google Shape;147;p6"/>
          <p:cNvSpPr txBox="1">
            <a:spLocks noGrp="1"/>
          </p:cNvSpPr>
          <p:nvPr>
            <p:ph type="title"/>
          </p:nvPr>
        </p:nvSpPr>
        <p:spPr>
          <a:xfrm>
            <a:off x="831200" y="593367"/>
            <a:ext cx="10400800" cy="763600"/>
          </a:xfrm>
          <a:prstGeom prst="rect">
            <a:avLst/>
          </a:prstGeom>
        </p:spPr>
        <p:txBody>
          <a:bodyPr spcFirstLastPara="1" wrap="square" lIns="91425" tIns="91425" rIns="91425" bIns="91425" anchor="t" anchorCtr="0">
            <a:normAutofit/>
          </a:bodyPr>
          <a:lstStyle>
            <a:lvl1pPr lvl="0" rtl="0">
              <a:spcBef>
                <a:spcPts val="0"/>
              </a:spcBef>
              <a:spcAft>
                <a:spcPts val="0"/>
              </a:spcAft>
              <a:buSzPts val="2800"/>
              <a:buNone/>
              <a:defRPr sz="4267"/>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148" name="Google Shape;148;p6"/>
          <p:cNvSpPr/>
          <p:nvPr/>
        </p:nvSpPr>
        <p:spPr>
          <a:xfrm rot="10800000">
            <a:off x="10827047" y="3128233"/>
            <a:ext cx="1685787" cy="4699368"/>
          </a:xfrm>
          <a:custGeom>
            <a:avLst/>
            <a:gdLst/>
            <a:ahLst/>
            <a:cxnLst/>
            <a:rect l="l" t="t" r="r" b="b"/>
            <a:pathLst>
              <a:path w="32605" h="90891" extrusionOk="0">
                <a:moveTo>
                  <a:pt x="0" y="1"/>
                </a:moveTo>
                <a:lnTo>
                  <a:pt x="0" y="90890"/>
                </a:lnTo>
                <a:cubicBezTo>
                  <a:pt x="7361" y="89757"/>
                  <a:pt x="16312" y="85062"/>
                  <a:pt x="19893" y="78557"/>
                </a:cubicBezTo>
                <a:cubicBezTo>
                  <a:pt x="23454" y="72032"/>
                  <a:pt x="23792" y="63836"/>
                  <a:pt x="20788" y="57033"/>
                </a:cubicBezTo>
                <a:cubicBezTo>
                  <a:pt x="18640" y="52239"/>
                  <a:pt x="15039" y="48260"/>
                  <a:pt x="12453" y="43705"/>
                </a:cubicBezTo>
                <a:cubicBezTo>
                  <a:pt x="9887" y="39130"/>
                  <a:pt x="8415" y="33341"/>
                  <a:pt x="10941" y="28746"/>
                </a:cubicBezTo>
                <a:cubicBezTo>
                  <a:pt x="12871" y="25205"/>
                  <a:pt x="16690" y="23176"/>
                  <a:pt x="20311" y="21445"/>
                </a:cubicBezTo>
                <a:cubicBezTo>
                  <a:pt x="23971" y="19734"/>
                  <a:pt x="27830" y="18023"/>
                  <a:pt x="30217" y="14761"/>
                </a:cubicBezTo>
                <a:cubicBezTo>
                  <a:pt x="32604" y="11538"/>
                  <a:pt x="29780" y="2189"/>
                  <a:pt x="26398" y="20"/>
                </a:cubicBezTo>
                <a:lnTo>
                  <a:pt x="0" y="1"/>
                </a:ln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49" name="Google Shape;149;p6"/>
          <p:cNvSpPr/>
          <p:nvPr/>
        </p:nvSpPr>
        <p:spPr>
          <a:xfrm>
            <a:off x="11401751" y="3128224"/>
            <a:ext cx="616468" cy="543473"/>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50" name="Google Shape;150;p6"/>
          <p:cNvSpPr/>
          <p:nvPr/>
        </p:nvSpPr>
        <p:spPr>
          <a:xfrm>
            <a:off x="444497" y="6123659"/>
            <a:ext cx="286855" cy="252924"/>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51" name="Google Shape;151;p6"/>
          <p:cNvSpPr/>
          <p:nvPr/>
        </p:nvSpPr>
        <p:spPr>
          <a:xfrm>
            <a:off x="598718" y="5928429"/>
            <a:ext cx="132647" cy="116940"/>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52" name="Google Shape;152;p6"/>
          <p:cNvSpPr/>
          <p:nvPr/>
        </p:nvSpPr>
        <p:spPr>
          <a:xfrm rot="232572">
            <a:off x="-234035" y="33213"/>
            <a:ext cx="1224385" cy="7152044"/>
          </a:xfrm>
          <a:custGeom>
            <a:avLst/>
            <a:gdLst/>
            <a:ahLst/>
            <a:cxnLst/>
            <a:rect l="l" t="t" r="r" b="b"/>
            <a:pathLst>
              <a:path w="36732" h="214564" extrusionOk="0">
                <a:moveTo>
                  <a:pt x="14454" y="0"/>
                </a:moveTo>
                <a:cubicBezTo>
                  <a:pt x="12984" y="10561"/>
                  <a:pt x="4361" y="47392"/>
                  <a:pt x="5631" y="63367"/>
                </a:cubicBezTo>
                <a:cubicBezTo>
                  <a:pt x="6901" y="79342"/>
                  <a:pt x="16927" y="83687"/>
                  <a:pt x="22074" y="95852"/>
                </a:cubicBezTo>
                <a:cubicBezTo>
                  <a:pt x="27221" y="108017"/>
                  <a:pt x="38183" y="125463"/>
                  <a:pt x="36512" y="136358"/>
                </a:cubicBezTo>
                <a:cubicBezTo>
                  <a:pt x="34841" y="147253"/>
                  <a:pt x="18131" y="159687"/>
                  <a:pt x="12048" y="161224"/>
                </a:cubicBezTo>
                <a:cubicBezTo>
                  <a:pt x="5966" y="162762"/>
                  <a:pt x="84" y="149995"/>
                  <a:pt x="17" y="145583"/>
                </a:cubicBezTo>
                <a:cubicBezTo>
                  <a:pt x="-50" y="141171"/>
                  <a:pt x="5899" y="133752"/>
                  <a:pt x="11647" y="134754"/>
                </a:cubicBezTo>
                <a:cubicBezTo>
                  <a:pt x="17395" y="135757"/>
                  <a:pt x="34708" y="138296"/>
                  <a:pt x="34507" y="151598"/>
                </a:cubicBezTo>
                <a:cubicBezTo>
                  <a:pt x="34307" y="164900"/>
                  <a:pt x="14455" y="204070"/>
                  <a:pt x="10444" y="214564"/>
                </a:cubicBezTo>
              </a:path>
            </a:pathLst>
          </a:custGeom>
          <a:noFill/>
          <a:ln w="19050" cap="flat" cmpd="sng">
            <a:solidFill>
              <a:schemeClr val="dk2"/>
            </a:solidFill>
            <a:prstDash val="dash"/>
            <a:round/>
            <a:headEnd type="none" w="med" len="med"/>
            <a:tailEnd type="none" w="med" len="med"/>
          </a:ln>
        </p:spPr>
      </p:sp>
    </p:spTree>
    <p:extLst>
      <p:ext uri="{BB962C8B-B14F-4D97-AF65-F5344CB8AC3E}">
        <p14:creationId xmlns:p14="http://schemas.microsoft.com/office/powerpoint/2010/main" val="2265816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One column text">
  <p:cSld name="One column text">
    <p:bg>
      <p:bgPr>
        <a:blipFill>
          <a:blip r:embed="rId2">
            <a:alphaModFix/>
          </a:blip>
          <a:stretch>
            <a:fillRect/>
          </a:stretch>
        </a:blipFill>
        <a:effectLst/>
      </p:bgPr>
    </p:bg>
    <p:spTree>
      <p:nvGrpSpPr>
        <p:cNvPr id="1" name="Shape 153"/>
        <p:cNvGrpSpPr/>
        <p:nvPr/>
      </p:nvGrpSpPr>
      <p:grpSpPr>
        <a:xfrm>
          <a:off x="0" y="0"/>
          <a:ext cx="0" cy="0"/>
          <a:chOff x="0" y="0"/>
          <a:chExt cx="0" cy="0"/>
        </a:xfrm>
      </p:grpSpPr>
      <p:sp>
        <p:nvSpPr>
          <p:cNvPr id="154" name="Google Shape;154;p7"/>
          <p:cNvSpPr/>
          <p:nvPr/>
        </p:nvSpPr>
        <p:spPr>
          <a:xfrm rot="-5400000">
            <a:off x="10059841" y="4394539"/>
            <a:ext cx="1492199" cy="3936600"/>
          </a:xfrm>
          <a:custGeom>
            <a:avLst/>
            <a:gdLst/>
            <a:ahLst/>
            <a:cxnLst/>
            <a:rect l="l" t="t" r="r" b="b"/>
            <a:pathLst>
              <a:path w="34097" h="89952" extrusionOk="0">
                <a:moveTo>
                  <a:pt x="6827" y="1"/>
                </a:moveTo>
                <a:cubicBezTo>
                  <a:pt x="4501" y="1"/>
                  <a:pt x="2262" y="226"/>
                  <a:pt x="338" y="633"/>
                </a:cubicBezTo>
                <a:lnTo>
                  <a:pt x="0" y="89951"/>
                </a:lnTo>
                <a:lnTo>
                  <a:pt x="8097" y="89812"/>
                </a:lnTo>
                <a:cubicBezTo>
                  <a:pt x="17327" y="89235"/>
                  <a:pt x="25980" y="83347"/>
                  <a:pt x="30058" y="75032"/>
                </a:cubicBezTo>
                <a:cubicBezTo>
                  <a:pt x="34096" y="66757"/>
                  <a:pt x="32763" y="55935"/>
                  <a:pt x="26338" y="49291"/>
                </a:cubicBezTo>
                <a:cubicBezTo>
                  <a:pt x="23653" y="46546"/>
                  <a:pt x="20271" y="44556"/>
                  <a:pt x="17645" y="41771"/>
                </a:cubicBezTo>
                <a:cubicBezTo>
                  <a:pt x="14999" y="38947"/>
                  <a:pt x="13129" y="34869"/>
                  <a:pt x="14502" y="31288"/>
                </a:cubicBezTo>
                <a:cubicBezTo>
                  <a:pt x="16093" y="27150"/>
                  <a:pt x="21086" y="25519"/>
                  <a:pt x="24011" y="22177"/>
                </a:cubicBezTo>
                <a:cubicBezTo>
                  <a:pt x="28327" y="17144"/>
                  <a:pt x="26796" y="8769"/>
                  <a:pt x="21842" y="4373"/>
                </a:cubicBezTo>
                <a:cubicBezTo>
                  <a:pt x="18358" y="1267"/>
                  <a:pt x="12345" y="1"/>
                  <a:pt x="6827" y="1"/>
                </a:cubicBezTo>
                <a:close/>
              </a:path>
            </a:pathLst>
          </a:custGeom>
          <a:solidFill>
            <a:schemeClr val="accent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55" name="Google Shape;155;p7"/>
          <p:cNvSpPr txBox="1">
            <a:spLocks noGrp="1"/>
          </p:cNvSpPr>
          <p:nvPr>
            <p:ph type="title"/>
          </p:nvPr>
        </p:nvSpPr>
        <p:spPr>
          <a:xfrm>
            <a:off x="5732867" y="1452200"/>
            <a:ext cx="3798800" cy="1773600"/>
          </a:xfrm>
          <a:prstGeom prst="rect">
            <a:avLst/>
          </a:prstGeom>
        </p:spPr>
        <p:txBody>
          <a:bodyPr spcFirstLastPara="1" wrap="square" lIns="91425" tIns="91425" rIns="91425" bIns="91425" anchor="b" anchorCtr="0">
            <a:normAutofit/>
          </a:bodyPr>
          <a:lstStyle>
            <a:lvl1pPr lvl="0" rtl="0">
              <a:spcBef>
                <a:spcPts val="0"/>
              </a:spcBef>
              <a:spcAft>
                <a:spcPts val="0"/>
              </a:spcAft>
              <a:buSzPts val="1700"/>
              <a:buNone/>
              <a:defRPr sz="4267"/>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
        <p:nvSpPr>
          <p:cNvPr id="156" name="Google Shape;156;p7"/>
          <p:cNvSpPr txBox="1">
            <a:spLocks noGrp="1"/>
          </p:cNvSpPr>
          <p:nvPr>
            <p:ph type="body" idx="1"/>
          </p:nvPr>
        </p:nvSpPr>
        <p:spPr>
          <a:xfrm>
            <a:off x="5732867" y="3220733"/>
            <a:ext cx="5092800" cy="2514400"/>
          </a:xfrm>
          <a:prstGeom prst="rect">
            <a:avLst/>
          </a:prstGeom>
        </p:spPr>
        <p:txBody>
          <a:bodyPr spcFirstLastPara="1" wrap="square" lIns="91425" tIns="91425" rIns="91425" bIns="91425" anchor="t" anchorCtr="0">
            <a:normAutofit/>
          </a:bodyPr>
          <a:lstStyle>
            <a:lvl1pPr marL="609585" lvl="0" indent="-423323" rtl="0">
              <a:lnSpc>
                <a:spcPct val="100000"/>
              </a:lnSpc>
              <a:spcBef>
                <a:spcPts val="0"/>
              </a:spcBef>
              <a:spcAft>
                <a:spcPts val="0"/>
              </a:spcAft>
              <a:buSzPts val="1400"/>
              <a:buFont typeface="Nunito Light"/>
              <a:buChar char="●"/>
              <a:defRPr sz="1867" b="0"/>
            </a:lvl1pPr>
            <a:lvl2pPr marL="1219170" lvl="1" indent="-440256" rtl="0">
              <a:spcBef>
                <a:spcPts val="0"/>
              </a:spcBef>
              <a:spcAft>
                <a:spcPts val="0"/>
              </a:spcAft>
              <a:buSzPts val="1600"/>
              <a:buFont typeface="Nunito Light"/>
              <a:buChar char="○"/>
              <a:defRPr/>
            </a:lvl2pPr>
            <a:lvl3pPr marL="1828754" lvl="2" indent="-440256" rtl="0">
              <a:spcBef>
                <a:spcPts val="0"/>
              </a:spcBef>
              <a:spcAft>
                <a:spcPts val="0"/>
              </a:spcAft>
              <a:buSzPts val="1600"/>
              <a:buFont typeface="Nunito Light"/>
              <a:buChar char="■"/>
              <a:defRPr/>
            </a:lvl3pPr>
            <a:lvl4pPr marL="2438339" lvl="3" indent="-440256" rtl="0">
              <a:spcBef>
                <a:spcPts val="0"/>
              </a:spcBef>
              <a:spcAft>
                <a:spcPts val="0"/>
              </a:spcAft>
              <a:buSzPts val="1600"/>
              <a:buFont typeface="Nunito Light"/>
              <a:buChar char="●"/>
              <a:defRPr/>
            </a:lvl4pPr>
            <a:lvl5pPr marL="3047924" lvl="4" indent="-440256" rtl="0">
              <a:spcBef>
                <a:spcPts val="0"/>
              </a:spcBef>
              <a:spcAft>
                <a:spcPts val="0"/>
              </a:spcAft>
              <a:buSzPts val="1600"/>
              <a:buFont typeface="Nunito Light"/>
              <a:buChar char="○"/>
              <a:defRPr/>
            </a:lvl5pPr>
            <a:lvl6pPr marL="3657509" lvl="5" indent="-440256" rtl="0">
              <a:spcBef>
                <a:spcPts val="0"/>
              </a:spcBef>
              <a:spcAft>
                <a:spcPts val="0"/>
              </a:spcAft>
              <a:buSzPts val="1600"/>
              <a:buFont typeface="Nunito Light"/>
              <a:buChar char="■"/>
              <a:defRPr/>
            </a:lvl6pPr>
            <a:lvl7pPr marL="4267093" lvl="6" indent="-440256" rtl="0">
              <a:spcBef>
                <a:spcPts val="0"/>
              </a:spcBef>
              <a:spcAft>
                <a:spcPts val="0"/>
              </a:spcAft>
              <a:buSzPts val="1600"/>
              <a:buFont typeface="Nunito Light"/>
              <a:buChar char="●"/>
              <a:defRPr/>
            </a:lvl7pPr>
            <a:lvl8pPr marL="4876678" lvl="7" indent="-440256" rtl="0">
              <a:spcBef>
                <a:spcPts val="0"/>
              </a:spcBef>
              <a:spcAft>
                <a:spcPts val="0"/>
              </a:spcAft>
              <a:buSzPts val="1600"/>
              <a:buFont typeface="Nunito Light"/>
              <a:buChar char="○"/>
              <a:defRPr/>
            </a:lvl8pPr>
            <a:lvl9pPr marL="5486263" lvl="8" indent="-440256" rtl="0">
              <a:spcBef>
                <a:spcPts val="0"/>
              </a:spcBef>
              <a:spcAft>
                <a:spcPts val="0"/>
              </a:spcAft>
              <a:buSzPts val="1600"/>
              <a:buFont typeface="Nunito Light"/>
              <a:buChar char="■"/>
              <a:defRPr/>
            </a:lvl9pPr>
          </a:lstStyle>
          <a:p>
            <a:endParaRPr/>
          </a:p>
        </p:txBody>
      </p:sp>
      <p:sp>
        <p:nvSpPr>
          <p:cNvPr id="157" name="Google Shape;157;p7"/>
          <p:cNvSpPr/>
          <p:nvPr/>
        </p:nvSpPr>
        <p:spPr>
          <a:xfrm rot="-9941259" flipH="1">
            <a:off x="6897312" y="188005"/>
            <a:ext cx="5179323" cy="1583745"/>
          </a:xfrm>
          <a:custGeom>
            <a:avLst/>
            <a:gdLst/>
            <a:ahLst/>
            <a:cxnLst/>
            <a:rect l="l" t="t" r="r" b="b"/>
            <a:pathLst>
              <a:path w="156716" h="69913" extrusionOk="0">
                <a:moveTo>
                  <a:pt x="0" y="0"/>
                </a:moveTo>
                <a:cubicBezTo>
                  <a:pt x="10649" y="9041"/>
                  <a:pt x="44805" y="50297"/>
                  <a:pt x="63892" y="54248"/>
                </a:cubicBezTo>
                <a:cubicBezTo>
                  <a:pt x="82979" y="58200"/>
                  <a:pt x="117135" y="31813"/>
                  <a:pt x="114523" y="23709"/>
                </a:cubicBezTo>
                <a:cubicBezTo>
                  <a:pt x="111911" y="15605"/>
                  <a:pt x="54248" y="-1607"/>
                  <a:pt x="48220" y="5626"/>
                </a:cubicBezTo>
                <a:cubicBezTo>
                  <a:pt x="42193" y="12859"/>
                  <a:pt x="60275" y="58200"/>
                  <a:pt x="78358" y="67107"/>
                </a:cubicBezTo>
                <a:cubicBezTo>
                  <a:pt x="96441" y="76014"/>
                  <a:pt x="143656" y="60410"/>
                  <a:pt x="156716" y="59070"/>
                </a:cubicBezTo>
              </a:path>
            </a:pathLst>
          </a:custGeom>
          <a:noFill/>
          <a:ln w="19050" cap="flat" cmpd="sng">
            <a:solidFill>
              <a:schemeClr val="dk2"/>
            </a:solidFill>
            <a:prstDash val="dash"/>
            <a:round/>
            <a:headEnd type="none" w="med" len="med"/>
            <a:tailEnd type="none" w="med" len="med"/>
          </a:ln>
        </p:spPr>
      </p:sp>
      <p:sp>
        <p:nvSpPr>
          <p:cNvPr id="158" name="Google Shape;158;p7"/>
          <p:cNvSpPr/>
          <p:nvPr/>
        </p:nvSpPr>
        <p:spPr>
          <a:xfrm>
            <a:off x="11401696" y="1281056"/>
            <a:ext cx="344784" cy="303995"/>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59" name="Google Shape;159;p7"/>
          <p:cNvSpPr/>
          <p:nvPr/>
        </p:nvSpPr>
        <p:spPr>
          <a:xfrm>
            <a:off x="716629" y="515789"/>
            <a:ext cx="344784" cy="303995"/>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60" name="Google Shape;160;p7"/>
          <p:cNvSpPr/>
          <p:nvPr/>
        </p:nvSpPr>
        <p:spPr>
          <a:xfrm>
            <a:off x="481317" y="819795"/>
            <a:ext cx="132647" cy="116940"/>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61" name="Google Shape;161;p7"/>
          <p:cNvSpPr/>
          <p:nvPr/>
        </p:nvSpPr>
        <p:spPr>
          <a:xfrm rot="-5400000">
            <a:off x="-1199076" y="4745009"/>
            <a:ext cx="4176181" cy="1778008"/>
          </a:xfrm>
          <a:custGeom>
            <a:avLst/>
            <a:gdLst/>
            <a:ahLst/>
            <a:cxnLst/>
            <a:rect l="l" t="t" r="r" b="b"/>
            <a:pathLst>
              <a:path w="17010" h="7242" extrusionOk="0">
                <a:moveTo>
                  <a:pt x="1" y="1"/>
                </a:moveTo>
                <a:cubicBezTo>
                  <a:pt x="677" y="4099"/>
                  <a:pt x="4238" y="7242"/>
                  <a:pt x="8515" y="7242"/>
                </a:cubicBezTo>
                <a:cubicBezTo>
                  <a:pt x="12792" y="7242"/>
                  <a:pt x="16333" y="4099"/>
                  <a:pt x="17009"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65174352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Main point">
  <p:cSld name="Main point">
    <p:bg>
      <p:bgPr>
        <a:blipFill>
          <a:blip r:embed="rId2">
            <a:alphaModFix/>
          </a:blip>
          <a:stretch>
            <a:fillRect/>
          </a:stretch>
        </a:blipFill>
        <a:effectLst/>
      </p:bgPr>
    </p:bg>
    <p:spTree>
      <p:nvGrpSpPr>
        <p:cNvPr id="1" name="Shape 162"/>
        <p:cNvGrpSpPr/>
        <p:nvPr/>
      </p:nvGrpSpPr>
      <p:grpSpPr>
        <a:xfrm>
          <a:off x="0" y="0"/>
          <a:ext cx="0" cy="0"/>
          <a:chOff x="0" y="0"/>
          <a:chExt cx="0" cy="0"/>
        </a:xfrm>
      </p:grpSpPr>
      <p:sp>
        <p:nvSpPr>
          <p:cNvPr id="163" name="Google Shape;163;p8"/>
          <p:cNvSpPr txBox="1">
            <a:spLocks noGrp="1"/>
          </p:cNvSpPr>
          <p:nvPr>
            <p:ph type="title"/>
          </p:nvPr>
        </p:nvSpPr>
        <p:spPr>
          <a:xfrm flipH="1">
            <a:off x="1773400" y="1366184"/>
            <a:ext cx="8490400" cy="39392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4800"/>
              <a:buNone/>
              <a:defRPr sz="8000"/>
            </a:lvl1pPr>
            <a:lvl2pPr lvl="1">
              <a:spcBef>
                <a:spcPts val="0"/>
              </a:spcBef>
              <a:spcAft>
                <a:spcPts val="0"/>
              </a:spcAft>
              <a:buSzPts val="4800"/>
              <a:buNone/>
              <a:defRPr sz="6400"/>
            </a:lvl2pPr>
            <a:lvl3pPr lvl="2">
              <a:spcBef>
                <a:spcPts val="0"/>
              </a:spcBef>
              <a:spcAft>
                <a:spcPts val="0"/>
              </a:spcAft>
              <a:buSzPts val="4800"/>
              <a:buNone/>
              <a:defRPr sz="6400"/>
            </a:lvl3pPr>
            <a:lvl4pPr lvl="3">
              <a:spcBef>
                <a:spcPts val="0"/>
              </a:spcBef>
              <a:spcAft>
                <a:spcPts val="0"/>
              </a:spcAft>
              <a:buSzPts val="4800"/>
              <a:buNone/>
              <a:defRPr sz="6400"/>
            </a:lvl4pPr>
            <a:lvl5pPr lvl="4">
              <a:spcBef>
                <a:spcPts val="0"/>
              </a:spcBef>
              <a:spcAft>
                <a:spcPts val="0"/>
              </a:spcAft>
              <a:buSzPts val="4800"/>
              <a:buNone/>
              <a:defRPr sz="6400"/>
            </a:lvl5pPr>
            <a:lvl6pPr lvl="5">
              <a:spcBef>
                <a:spcPts val="0"/>
              </a:spcBef>
              <a:spcAft>
                <a:spcPts val="0"/>
              </a:spcAft>
              <a:buSzPts val="4800"/>
              <a:buNone/>
              <a:defRPr sz="6400"/>
            </a:lvl6pPr>
            <a:lvl7pPr lvl="6">
              <a:spcBef>
                <a:spcPts val="0"/>
              </a:spcBef>
              <a:spcAft>
                <a:spcPts val="0"/>
              </a:spcAft>
              <a:buSzPts val="4800"/>
              <a:buNone/>
              <a:defRPr sz="6400"/>
            </a:lvl7pPr>
            <a:lvl8pPr lvl="7">
              <a:spcBef>
                <a:spcPts val="0"/>
              </a:spcBef>
              <a:spcAft>
                <a:spcPts val="0"/>
              </a:spcAft>
              <a:buSzPts val="4800"/>
              <a:buNone/>
              <a:defRPr sz="6400"/>
            </a:lvl8pPr>
            <a:lvl9pPr lvl="8">
              <a:spcBef>
                <a:spcPts val="0"/>
              </a:spcBef>
              <a:spcAft>
                <a:spcPts val="0"/>
              </a:spcAft>
              <a:buSzPts val="4800"/>
              <a:buNone/>
              <a:defRPr sz="6400"/>
            </a:lvl9pPr>
          </a:lstStyle>
          <a:p>
            <a:endParaRPr/>
          </a:p>
        </p:txBody>
      </p:sp>
      <p:sp>
        <p:nvSpPr>
          <p:cNvPr id="164" name="Google Shape;164;p8"/>
          <p:cNvSpPr txBox="1">
            <a:spLocks noGrp="1"/>
          </p:cNvSpPr>
          <p:nvPr>
            <p:ph type="subTitle" idx="1"/>
          </p:nvPr>
        </p:nvSpPr>
        <p:spPr>
          <a:xfrm>
            <a:off x="3828000" y="4840500"/>
            <a:ext cx="4381200" cy="842000"/>
          </a:xfrm>
          <a:prstGeom prst="rect">
            <a:avLst/>
          </a:prstGeom>
        </p:spPr>
        <p:txBody>
          <a:bodyPr spcFirstLastPara="1" wrap="square" lIns="91425" tIns="91425" rIns="91425" bIns="91425" anchor="b" anchorCtr="0">
            <a:normAutofit/>
          </a:bodyPr>
          <a:lstStyle>
            <a:lvl1pPr lvl="0" algn="ctr" rtl="0">
              <a:lnSpc>
                <a:spcPct val="100000"/>
              </a:lnSpc>
              <a:spcBef>
                <a:spcPts val="0"/>
              </a:spcBef>
              <a:spcAft>
                <a:spcPts val="0"/>
              </a:spcAft>
              <a:buClr>
                <a:schemeClr val="dk1"/>
              </a:buClr>
              <a:buSzPts val="1400"/>
              <a:buNone/>
              <a:defRPr sz="1867"/>
            </a:lvl1pPr>
            <a:lvl2pPr lvl="1" algn="ctr" rtl="0">
              <a:lnSpc>
                <a:spcPct val="100000"/>
              </a:lnSpc>
              <a:spcBef>
                <a:spcPts val="0"/>
              </a:spcBef>
              <a:spcAft>
                <a:spcPts val="0"/>
              </a:spcAft>
              <a:buSzPts val="1600"/>
              <a:buNone/>
              <a:defRPr/>
            </a:lvl2pPr>
            <a:lvl3pPr lvl="2" algn="ctr" rtl="0">
              <a:lnSpc>
                <a:spcPct val="100000"/>
              </a:lnSpc>
              <a:spcBef>
                <a:spcPts val="0"/>
              </a:spcBef>
              <a:spcAft>
                <a:spcPts val="0"/>
              </a:spcAft>
              <a:buSzPts val="1600"/>
              <a:buNone/>
              <a:defRPr/>
            </a:lvl3pPr>
            <a:lvl4pPr lvl="3" algn="ctr" rtl="0">
              <a:lnSpc>
                <a:spcPct val="100000"/>
              </a:lnSpc>
              <a:spcBef>
                <a:spcPts val="0"/>
              </a:spcBef>
              <a:spcAft>
                <a:spcPts val="0"/>
              </a:spcAft>
              <a:buSzPts val="1600"/>
              <a:buNone/>
              <a:defRPr/>
            </a:lvl4pPr>
            <a:lvl5pPr lvl="4" algn="ctr" rtl="0">
              <a:lnSpc>
                <a:spcPct val="100000"/>
              </a:lnSpc>
              <a:spcBef>
                <a:spcPts val="0"/>
              </a:spcBef>
              <a:spcAft>
                <a:spcPts val="0"/>
              </a:spcAft>
              <a:buSzPts val="1600"/>
              <a:buNone/>
              <a:defRPr/>
            </a:lvl5pPr>
            <a:lvl6pPr lvl="5" algn="ctr" rtl="0">
              <a:lnSpc>
                <a:spcPct val="100000"/>
              </a:lnSpc>
              <a:spcBef>
                <a:spcPts val="0"/>
              </a:spcBef>
              <a:spcAft>
                <a:spcPts val="0"/>
              </a:spcAft>
              <a:buSzPts val="1600"/>
              <a:buNone/>
              <a:defRPr/>
            </a:lvl6pPr>
            <a:lvl7pPr lvl="6" algn="ctr" rtl="0">
              <a:lnSpc>
                <a:spcPct val="100000"/>
              </a:lnSpc>
              <a:spcBef>
                <a:spcPts val="0"/>
              </a:spcBef>
              <a:spcAft>
                <a:spcPts val="0"/>
              </a:spcAft>
              <a:buSzPts val="1600"/>
              <a:buNone/>
              <a:defRPr/>
            </a:lvl7pPr>
            <a:lvl8pPr lvl="7" algn="ctr" rtl="0">
              <a:lnSpc>
                <a:spcPct val="100000"/>
              </a:lnSpc>
              <a:spcBef>
                <a:spcPts val="0"/>
              </a:spcBef>
              <a:spcAft>
                <a:spcPts val="0"/>
              </a:spcAft>
              <a:buSzPts val="1600"/>
              <a:buNone/>
              <a:defRPr/>
            </a:lvl8pPr>
            <a:lvl9pPr lvl="8" algn="ctr" rtl="0">
              <a:lnSpc>
                <a:spcPct val="100000"/>
              </a:lnSpc>
              <a:spcBef>
                <a:spcPts val="0"/>
              </a:spcBef>
              <a:spcAft>
                <a:spcPts val="0"/>
              </a:spcAft>
              <a:buSzPts val="1600"/>
              <a:buNone/>
              <a:defRPr/>
            </a:lvl9pPr>
          </a:lstStyle>
          <a:p>
            <a:endParaRPr/>
          </a:p>
        </p:txBody>
      </p:sp>
      <p:sp>
        <p:nvSpPr>
          <p:cNvPr id="165" name="Google Shape;165;p8"/>
          <p:cNvSpPr/>
          <p:nvPr/>
        </p:nvSpPr>
        <p:spPr>
          <a:xfrm rot="-5400000" flipH="1">
            <a:off x="9538901" y="-234090"/>
            <a:ext cx="2658983" cy="2792369"/>
          </a:xfrm>
          <a:custGeom>
            <a:avLst/>
            <a:gdLst/>
            <a:ahLst/>
            <a:cxnLst/>
            <a:rect l="l" t="t" r="r" b="b"/>
            <a:pathLst>
              <a:path w="76827" h="80681" extrusionOk="0">
                <a:moveTo>
                  <a:pt x="7096" y="0"/>
                </a:moveTo>
                <a:cubicBezTo>
                  <a:pt x="4774" y="0"/>
                  <a:pt x="2454" y="476"/>
                  <a:pt x="339" y="1448"/>
                </a:cubicBezTo>
                <a:lnTo>
                  <a:pt x="1" y="80681"/>
                </a:lnTo>
                <a:lnTo>
                  <a:pt x="73405" y="80681"/>
                </a:lnTo>
                <a:cubicBezTo>
                  <a:pt x="76826" y="73559"/>
                  <a:pt x="76130" y="64627"/>
                  <a:pt x="71654" y="58142"/>
                </a:cubicBezTo>
                <a:cubicBezTo>
                  <a:pt x="67521" y="52180"/>
                  <a:pt x="60344" y="48488"/>
                  <a:pt x="53107" y="48488"/>
                </a:cubicBezTo>
                <a:cubicBezTo>
                  <a:pt x="52473" y="48488"/>
                  <a:pt x="51838" y="48516"/>
                  <a:pt x="51204" y="48574"/>
                </a:cubicBezTo>
                <a:cubicBezTo>
                  <a:pt x="45157" y="49111"/>
                  <a:pt x="39587" y="52075"/>
                  <a:pt x="33659" y="53487"/>
                </a:cubicBezTo>
                <a:cubicBezTo>
                  <a:pt x="31911" y="53911"/>
                  <a:pt x="30047" y="54152"/>
                  <a:pt x="28198" y="54152"/>
                </a:cubicBezTo>
                <a:cubicBezTo>
                  <a:pt x="23796" y="54152"/>
                  <a:pt x="19480" y="52786"/>
                  <a:pt x="17029" y="49270"/>
                </a:cubicBezTo>
                <a:cubicBezTo>
                  <a:pt x="13826" y="44635"/>
                  <a:pt x="15119" y="38289"/>
                  <a:pt x="17427" y="33177"/>
                </a:cubicBezTo>
                <a:cubicBezTo>
                  <a:pt x="19734" y="28084"/>
                  <a:pt x="22977" y="23151"/>
                  <a:pt x="23414" y="17561"/>
                </a:cubicBezTo>
                <a:cubicBezTo>
                  <a:pt x="23872" y="11912"/>
                  <a:pt x="21166" y="6123"/>
                  <a:pt x="16511" y="2880"/>
                </a:cubicBezTo>
                <a:cubicBezTo>
                  <a:pt x="13768" y="981"/>
                  <a:pt x="10430" y="0"/>
                  <a:pt x="7096" y="0"/>
                </a:cubicBez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66" name="Google Shape;166;p8"/>
          <p:cNvSpPr/>
          <p:nvPr/>
        </p:nvSpPr>
        <p:spPr>
          <a:xfrm rot="5400000" flipH="1">
            <a:off x="683633" y="4373511"/>
            <a:ext cx="1485947" cy="3920108"/>
          </a:xfrm>
          <a:custGeom>
            <a:avLst/>
            <a:gdLst/>
            <a:ahLst/>
            <a:cxnLst/>
            <a:rect l="l" t="t" r="r" b="b"/>
            <a:pathLst>
              <a:path w="34097" h="89952" extrusionOk="0">
                <a:moveTo>
                  <a:pt x="6827" y="1"/>
                </a:moveTo>
                <a:cubicBezTo>
                  <a:pt x="4501" y="1"/>
                  <a:pt x="2262" y="226"/>
                  <a:pt x="338" y="633"/>
                </a:cubicBezTo>
                <a:lnTo>
                  <a:pt x="0" y="89951"/>
                </a:lnTo>
                <a:lnTo>
                  <a:pt x="8097" y="89812"/>
                </a:lnTo>
                <a:cubicBezTo>
                  <a:pt x="17327" y="89235"/>
                  <a:pt x="25980" y="83347"/>
                  <a:pt x="30058" y="75032"/>
                </a:cubicBezTo>
                <a:cubicBezTo>
                  <a:pt x="34096" y="66757"/>
                  <a:pt x="32763" y="55935"/>
                  <a:pt x="26338" y="49291"/>
                </a:cubicBezTo>
                <a:cubicBezTo>
                  <a:pt x="23653" y="46546"/>
                  <a:pt x="20271" y="44556"/>
                  <a:pt x="17645" y="41771"/>
                </a:cubicBezTo>
                <a:cubicBezTo>
                  <a:pt x="14999" y="38947"/>
                  <a:pt x="13129" y="34869"/>
                  <a:pt x="14502" y="31288"/>
                </a:cubicBezTo>
                <a:cubicBezTo>
                  <a:pt x="16093" y="27150"/>
                  <a:pt x="21086" y="25519"/>
                  <a:pt x="24011" y="22177"/>
                </a:cubicBezTo>
                <a:cubicBezTo>
                  <a:pt x="28327" y="17144"/>
                  <a:pt x="26796" y="8769"/>
                  <a:pt x="21842" y="4373"/>
                </a:cubicBezTo>
                <a:cubicBezTo>
                  <a:pt x="18358" y="1267"/>
                  <a:pt x="12345" y="1"/>
                  <a:pt x="6827" y="1"/>
                </a:cubicBezTo>
                <a:close/>
              </a:path>
            </a:pathLst>
          </a:custGeom>
          <a:solidFill>
            <a:schemeClr val="accent4"/>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67" name="Google Shape;167;p8"/>
          <p:cNvSpPr/>
          <p:nvPr/>
        </p:nvSpPr>
        <p:spPr>
          <a:xfrm rot="-3143622">
            <a:off x="11235409" y="2126807"/>
            <a:ext cx="329868" cy="290808"/>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68" name="Google Shape;168;p8"/>
          <p:cNvSpPr/>
          <p:nvPr/>
        </p:nvSpPr>
        <p:spPr>
          <a:xfrm rot="-3143597">
            <a:off x="2874969" y="5781346"/>
            <a:ext cx="344780" cy="304005"/>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107946797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bg>
      <p:bgPr>
        <a:blipFill>
          <a:blip r:embed="rId2">
            <a:alphaModFix/>
          </a:blip>
          <a:stretch>
            <a:fillRect/>
          </a:stretch>
        </a:blipFill>
        <a:effectLst/>
      </p:bgPr>
    </p:bg>
    <p:spTree>
      <p:nvGrpSpPr>
        <p:cNvPr id="1" name="Shape 169"/>
        <p:cNvGrpSpPr/>
        <p:nvPr/>
      </p:nvGrpSpPr>
      <p:grpSpPr>
        <a:xfrm>
          <a:off x="0" y="0"/>
          <a:ext cx="0" cy="0"/>
          <a:chOff x="0" y="0"/>
          <a:chExt cx="0" cy="0"/>
        </a:xfrm>
      </p:grpSpPr>
      <p:sp>
        <p:nvSpPr>
          <p:cNvPr id="170" name="Google Shape;170;p9"/>
          <p:cNvSpPr txBox="1">
            <a:spLocks noGrp="1"/>
          </p:cNvSpPr>
          <p:nvPr>
            <p:ph type="title"/>
          </p:nvPr>
        </p:nvSpPr>
        <p:spPr>
          <a:xfrm>
            <a:off x="760400" y="2933033"/>
            <a:ext cx="5393600" cy="1195600"/>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6400"/>
            </a:lvl1pPr>
            <a:lvl2pPr lvl="1" algn="ctr">
              <a:spcBef>
                <a:spcPts val="0"/>
              </a:spcBef>
              <a:spcAft>
                <a:spcPts val="0"/>
              </a:spcAft>
              <a:buSzPts val="4200"/>
              <a:buNone/>
              <a:defRPr sz="5600"/>
            </a:lvl2pPr>
            <a:lvl3pPr lvl="2" algn="ctr">
              <a:spcBef>
                <a:spcPts val="0"/>
              </a:spcBef>
              <a:spcAft>
                <a:spcPts val="0"/>
              </a:spcAft>
              <a:buSzPts val="4200"/>
              <a:buNone/>
              <a:defRPr sz="5600"/>
            </a:lvl3pPr>
            <a:lvl4pPr lvl="3" algn="ctr">
              <a:spcBef>
                <a:spcPts val="0"/>
              </a:spcBef>
              <a:spcAft>
                <a:spcPts val="0"/>
              </a:spcAft>
              <a:buSzPts val="4200"/>
              <a:buNone/>
              <a:defRPr sz="5600"/>
            </a:lvl4pPr>
            <a:lvl5pPr lvl="4" algn="ctr">
              <a:spcBef>
                <a:spcPts val="0"/>
              </a:spcBef>
              <a:spcAft>
                <a:spcPts val="0"/>
              </a:spcAft>
              <a:buSzPts val="4200"/>
              <a:buNone/>
              <a:defRPr sz="5600"/>
            </a:lvl5pPr>
            <a:lvl6pPr lvl="5" algn="ctr">
              <a:spcBef>
                <a:spcPts val="0"/>
              </a:spcBef>
              <a:spcAft>
                <a:spcPts val="0"/>
              </a:spcAft>
              <a:buSzPts val="4200"/>
              <a:buNone/>
              <a:defRPr sz="5600"/>
            </a:lvl6pPr>
            <a:lvl7pPr lvl="6" algn="ctr">
              <a:spcBef>
                <a:spcPts val="0"/>
              </a:spcBef>
              <a:spcAft>
                <a:spcPts val="0"/>
              </a:spcAft>
              <a:buSzPts val="4200"/>
              <a:buNone/>
              <a:defRPr sz="5600"/>
            </a:lvl7pPr>
            <a:lvl8pPr lvl="7" algn="ctr">
              <a:spcBef>
                <a:spcPts val="0"/>
              </a:spcBef>
              <a:spcAft>
                <a:spcPts val="0"/>
              </a:spcAft>
              <a:buSzPts val="4200"/>
              <a:buNone/>
              <a:defRPr sz="5600"/>
            </a:lvl8pPr>
            <a:lvl9pPr lvl="8" algn="ctr">
              <a:spcBef>
                <a:spcPts val="0"/>
              </a:spcBef>
              <a:spcAft>
                <a:spcPts val="0"/>
              </a:spcAft>
              <a:buSzPts val="4200"/>
              <a:buNone/>
              <a:defRPr sz="5600"/>
            </a:lvl9pPr>
          </a:lstStyle>
          <a:p>
            <a:endParaRPr/>
          </a:p>
        </p:txBody>
      </p:sp>
      <p:sp>
        <p:nvSpPr>
          <p:cNvPr id="171" name="Google Shape;171;p9"/>
          <p:cNvSpPr txBox="1">
            <a:spLocks noGrp="1"/>
          </p:cNvSpPr>
          <p:nvPr>
            <p:ph type="subTitle" idx="1"/>
          </p:nvPr>
        </p:nvSpPr>
        <p:spPr>
          <a:xfrm>
            <a:off x="1594200" y="4143833"/>
            <a:ext cx="3726000" cy="164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172" name="Google Shape;172;p9"/>
          <p:cNvSpPr txBox="1">
            <a:spLocks noGrp="1"/>
          </p:cNvSpPr>
          <p:nvPr>
            <p:ph type="title" idx="2" hasCustomPrompt="1"/>
          </p:nvPr>
        </p:nvSpPr>
        <p:spPr>
          <a:xfrm>
            <a:off x="760403" y="2443400"/>
            <a:ext cx="5393600" cy="770400"/>
          </a:xfrm>
          <a:prstGeom prst="rect">
            <a:avLst/>
          </a:prstGeom>
          <a:noFill/>
        </p:spPr>
        <p:txBody>
          <a:bodyPr spcFirstLastPara="1" wrap="square" lIns="91425" tIns="91425" rIns="91425" bIns="91425" anchor="ctr" anchorCtr="0">
            <a:normAutofit/>
          </a:bodyPr>
          <a:lstStyle>
            <a:lvl1pPr lvl="0" algn="ctr" rtl="0">
              <a:spcBef>
                <a:spcPts val="0"/>
              </a:spcBef>
              <a:spcAft>
                <a:spcPts val="0"/>
              </a:spcAft>
              <a:buSzPts val="5500"/>
              <a:buNone/>
              <a:defRPr sz="6400"/>
            </a:lvl1pPr>
            <a:lvl2pPr lvl="1"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2pPr>
            <a:lvl3pPr lvl="2"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3pPr>
            <a:lvl4pPr lvl="3"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4pPr>
            <a:lvl5pPr lvl="4"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5pPr>
            <a:lvl6pPr lvl="5"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6pPr>
            <a:lvl7pPr lvl="6"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7pPr>
            <a:lvl8pPr lvl="7"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8pPr>
            <a:lvl9pPr lvl="8"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9pPr>
          </a:lstStyle>
          <a:p>
            <a:r>
              <a:t>xx%</a:t>
            </a:r>
          </a:p>
        </p:txBody>
      </p:sp>
      <p:grpSp>
        <p:nvGrpSpPr>
          <p:cNvPr id="173" name="Google Shape;173;p9"/>
          <p:cNvGrpSpPr/>
          <p:nvPr/>
        </p:nvGrpSpPr>
        <p:grpSpPr>
          <a:xfrm flipH="1">
            <a:off x="278" y="-5"/>
            <a:ext cx="2986975" cy="2300989"/>
            <a:chOff x="5153550" y="135575"/>
            <a:chExt cx="1402950" cy="1080750"/>
          </a:xfrm>
        </p:grpSpPr>
        <p:sp>
          <p:nvSpPr>
            <p:cNvPr id="174" name="Google Shape;174;p9"/>
            <p:cNvSpPr/>
            <p:nvPr/>
          </p:nvSpPr>
          <p:spPr>
            <a:xfrm>
              <a:off x="5208475" y="135575"/>
              <a:ext cx="1348025" cy="942650"/>
            </a:xfrm>
            <a:custGeom>
              <a:avLst/>
              <a:gdLst/>
              <a:ahLst/>
              <a:cxnLst/>
              <a:rect l="l" t="t" r="r" b="b"/>
              <a:pathLst>
                <a:path w="53921" h="37706" fill="none" extrusionOk="0">
                  <a:moveTo>
                    <a:pt x="0" y="1"/>
                  </a:moveTo>
                  <a:cubicBezTo>
                    <a:pt x="147" y="1570"/>
                    <a:pt x="2595" y="4500"/>
                    <a:pt x="3829" y="5985"/>
                  </a:cubicBezTo>
                  <a:cubicBezTo>
                    <a:pt x="5524" y="8036"/>
                    <a:pt x="7637" y="9668"/>
                    <a:pt x="9374" y="11697"/>
                  </a:cubicBezTo>
                  <a:cubicBezTo>
                    <a:pt x="12492" y="15359"/>
                    <a:pt x="15630" y="18435"/>
                    <a:pt x="19334" y="21469"/>
                  </a:cubicBezTo>
                  <a:cubicBezTo>
                    <a:pt x="23895" y="25193"/>
                    <a:pt x="28917" y="27976"/>
                    <a:pt x="34043" y="30947"/>
                  </a:cubicBezTo>
                  <a:cubicBezTo>
                    <a:pt x="38458" y="33500"/>
                    <a:pt x="42768" y="36303"/>
                    <a:pt x="47874" y="37287"/>
                  </a:cubicBezTo>
                  <a:cubicBezTo>
                    <a:pt x="49861" y="37684"/>
                    <a:pt x="51933" y="37705"/>
                    <a:pt x="53920" y="37433"/>
                  </a:cubicBezTo>
                </a:path>
              </a:pathLst>
            </a:custGeom>
            <a:noFill/>
            <a:ln w="19050" cap="flat" cmpd="sng">
              <a:solidFill>
                <a:schemeClr val="dk2"/>
              </a:solidFill>
              <a:prstDash val="solid"/>
              <a:miter lim="20923"/>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5" name="Google Shape;175;p9"/>
            <p:cNvSpPr/>
            <p:nvPr/>
          </p:nvSpPr>
          <p:spPr>
            <a:xfrm>
              <a:off x="5153550" y="231300"/>
              <a:ext cx="248500" cy="218175"/>
            </a:xfrm>
            <a:custGeom>
              <a:avLst/>
              <a:gdLst/>
              <a:ahLst/>
              <a:cxnLst/>
              <a:rect l="l" t="t" r="r" b="b"/>
              <a:pathLst>
                <a:path w="9940" h="8727" fill="none" extrusionOk="0">
                  <a:moveTo>
                    <a:pt x="3976" y="1"/>
                  </a:moveTo>
                  <a:cubicBezTo>
                    <a:pt x="2344" y="2637"/>
                    <a:pt x="1214" y="5797"/>
                    <a:pt x="0" y="8538"/>
                  </a:cubicBezTo>
                  <a:cubicBezTo>
                    <a:pt x="3327" y="8726"/>
                    <a:pt x="6382" y="5211"/>
                    <a:pt x="9939" y="5692"/>
                  </a:cubicBezTo>
                </a:path>
              </a:pathLst>
            </a:custGeom>
            <a:noFill/>
            <a:ln w="19050" cap="flat" cmpd="sng">
              <a:solidFill>
                <a:schemeClr val="dk2"/>
              </a:solidFill>
              <a:prstDash val="solid"/>
              <a:miter lim="20923"/>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6" name="Google Shape;176;p9"/>
            <p:cNvSpPr/>
            <p:nvPr/>
          </p:nvSpPr>
          <p:spPr>
            <a:xfrm>
              <a:off x="5388425" y="455725"/>
              <a:ext cx="172625" cy="227550"/>
            </a:xfrm>
            <a:custGeom>
              <a:avLst/>
              <a:gdLst/>
              <a:ahLst/>
              <a:cxnLst/>
              <a:rect l="l" t="t" r="r" b="b"/>
              <a:pathLst>
                <a:path w="6905" h="9102" fill="none" extrusionOk="0">
                  <a:moveTo>
                    <a:pt x="2092" y="0"/>
                  </a:moveTo>
                  <a:cubicBezTo>
                    <a:pt x="2030" y="1653"/>
                    <a:pt x="1653" y="3641"/>
                    <a:pt x="1214" y="5315"/>
                  </a:cubicBezTo>
                  <a:cubicBezTo>
                    <a:pt x="900" y="6445"/>
                    <a:pt x="0" y="8077"/>
                    <a:pt x="188" y="9102"/>
                  </a:cubicBezTo>
                  <a:cubicBezTo>
                    <a:pt x="2699" y="8077"/>
                    <a:pt x="4687" y="5440"/>
                    <a:pt x="6905" y="4582"/>
                  </a:cubicBezTo>
                </a:path>
              </a:pathLst>
            </a:custGeom>
            <a:noFill/>
            <a:ln w="19050" cap="flat" cmpd="sng">
              <a:solidFill>
                <a:schemeClr val="dk2"/>
              </a:solidFill>
              <a:prstDash val="solid"/>
              <a:miter lim="20923"/>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7" name="Google Shape;177;p9"/>
            <p:cNvSpPr/>
            <p:nvPr/>
          </p:nvSpPr>
          <p:spPr>
            <a:xfrm>
              <a:off x="5595025" y="659725"/>
              <a:ext cx="204050" cy="245350"/>
            </a:xfrm>
            <a:custGeom>
              <a:avLst/>
              <a:gdLst/>
              <a:ahLst/>
              <a:cxnLst/>
              <a:rect l="l" t="t" r="r" b="b"/>
              <a:pathLst>
                <a:path w="8162" h="9814" fill="none" extrusionOk="0">
                  <a:moveTo>
                    <a:pt x="2386" y="0"/>
                  </a:moveTo>
                  <a:cubicBezTo>
                    <a:pt x="1947" y="1298"/>
                    <a:pt x="2156" y="4039"/>
                    <a:pt x="1633" y="5796"/>
                  </a:cubicBezTo>
                  <a:cubicBezTo>
                    <a:pt x="1235" y="7114"/>
                    <a:pt x="440" y="8328"/>
                    <a:pt x="1" y="9625"/>
                  </a:cubicBezTo>
                  <a:cubicBezTo>
                    <a:pt x="1047" y="9814"/>
                    <a:pt x="7659" y="4876"/>
                    <a:pt x="8161" y="3955"/>
                  </a:cubicBezTo>
                </a:path>
              </a:pathLst>
            </a:custGeom>
            <a:noFill/>
            <a:ln w="19050" cap="flat" cmpd="sng">
              <a:solidFill>
                <a:schemeClr val="dk2"/>
              </a:solidFill>
              <a:prstDash val="solid"/>
              <a:miter lim="20923"/>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8" name="Google Shape;178;p9"/>
            <p:cNvSpPr/>
            <p:nvPr/>
          </p:nvSpPr>
          <p:spPr>
            <a:xfrm>
              <a:off x="5849250" y="821875"/>
              <a:ext cx="198800" cy="268900"/>
            </a:xfrm>
            <a:custGeom>
              <a:avLst/>
              <a:gdLst/>
              <a:ahLst/>
              <a:cxnLst/>
              <a:rect l="l" t="t" r="r" b="b"/>
              <a:pathLst>
                <a:path w="7952" h="10756" fill="none" extrusionOk="0">
                  <a:moveTo>
                    <a:pt x="1340" y="1"/>
                  </a:moveTo>
                  <a:cubicBezTo>
                    <a:pt x="1152" y="2156"/>
                    <a:pt x="1340" y="4353"/>
                    <a:pt x="1005" y="6445"/>
                  </a:cubicBezTo>
                  <a:cubicBezTo>
                    <a:pt x="900" y="7115"/>
                    <a:pt x="1" y="10002"/>
                    <a:pt x="733" y="10337"/>
                  </a:cubicBezTo>
                  <a:cubicBezTo>
                    <a:pt x="1716" y="10755"/>
                    <a:pt x="4060" y="7094"/>
                    <a:pt x="4583" y="6529"/>
                  </a:cubicBezTo>
                  <a:cubicBezTo>
                    <a:pt x="5650" y="5399"/>
                    <a:pt x="6759" y="4771"/>
                    <a:pt x="7952" y="3851"/>
                  </a:cubicBezTo>
                </a:path>
              </a:pathLst>
            </a:custGeom>
            <a:noFill/>
            <a:ln w="19050" cap="flat" cmpd="sng">
              <a:solidFill>
                <a:schemeClr val="dk2"/>
              </a:solidFill>
              <a:prstDash val="solid"/>
              <a:miter lim="20923"/>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9" name="Google Shape;179;p9"/>
            <p:cNvSpPr/>
            <p:nvPr/>
          </p:nvSpPr>
          <p:spPr>
            <a:xfrm>
              <a:off x="6141675" y="966775"/>
              <a:ext cx="169500" cy="249550"/>
            </a:xfrm>
            <a:custGeom>
              <a:avLst/>
              <a:gdLst/>
              <a:ahLst/>
              <a:cxnLst/>
              <a:rect l="l" t="t" r="r" b="b"/>
              <a:pathLst>
                <a:path w="6780" h="9982" fill="none" extrusionOk="0">
                  <a:moveTo>
                    <a:pt x="0" y="1"/>
                  </a:moveTo>
                  <a:cubicBezTo>
                    <a:pt x="230" y="2051"/>
                    <a:pt x="502" y="4206"/>
                    <a:pt x="523" y="6320"/>
                  </a:cubicBezTo>
                  <a:cubicBezTo>
                    <a:pt x="544" y="7491"/>
                    <a:pt x="63" y="8956"/>
                    <a:pt x="335" y="9981"/>
                  </a:cubicBezTo>
                  <a:cubicBezTo>
                    <a:pt x="1799" y="8830"/>
                    <a:pt x="2595" y="6968"/>
                    <a:pt x="3787" y="5608"/>
                  </a:cubicBezTo>
                  <a:cubicBezTo>
                    <a:pt x="4687" y="4646"/>
                    <a:pt x="5838" y="3788"/>
                    <a:pt x="6779" y="2867"/>
                  </a:cubicBezTo>
                </a:path>
              </a:pathLst>
            </a:custGeom>
            <a:noFill/>
            <a:ln w="19050" cap="flat" cmpd="sng">
              <a:solidFill>
                <a:schemeClr val="dk2"/>
              </a:solidFill>
              <a:prstDash val="solid"/>
              <a:miter lim="20923"/>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80" name="Google Shape;180;p9"/>
          <p:cNvSpPr/>
          <p:nvPr/>
        </p:nvSpPr>
        <p:spPr>
          <a:xfrm>
            <a:off x="-610766" y="5145367"/>
            <a:ext cx="2857233" cy="2220600"/>
          </a:xfrm>
          <a:custGeom>
            <a:avLst/>
            <a:gdLst/>
            <a:ahLst/>
            <a:cxnLst/>
            <a:rect l="l" t="t" r="r" b="b"/>
            <a:pathLst>
              <a:path w="85717" h="66618" extrusionOk="0">
                <a:moveTo>
                  <a:pt x="26647" y="0"/>
                </a:moveTo>
                <a:cubicBezTo>
                  <a:pt x="21058" y="0"/>
                  <a:pt x="15879" y="1381"/>
                  <a:pt x="11642" y="5130"/>
                </a:cubicBezTo>
                <a:cubicBezTo>
                  <a:pt x="10061" y="6559"/>
                  <a:pt x="8663" y="8322"/>
                  <a:pt x="7508" y="10571"/>
                </a:cubicBezTo>
                <a:cubicBezTo>
                  <a:pt x="152" y="24948"/>
                  <a:pt x="0" y="52456"/>
                  <a:pt x="17417" y="59873"/>
                </a:cubicBezTo>
                <a:cubicBezTo>
                  <a:pt x="24834" y="63003"/>
                  <a:pt x="33831" y="64341"/>
                  <a:pt x="41703" y="65800"/>
                </a:cubicBezTo>
                <a:cubicBezTo>
                  <a:pt x="44594" y="66327"/>
                  <a:pt x="47358" y="66617"/>
                  <a:pt x="50007" y="66617"/>
                </a:cubicBezTo>
                <a:cubicBezTo>
                  <a:pt x="58191" y="66617"/>
                  <a:pt x="65275" y="63852"/>
                  <a:pt x="71613" y="56803"/>
                </a:cubicBezTo>
                <a:cubicBezTo>
                  <a:pt x="78269" y="49447"/>
                  <a:pt x="85108" y="39599"/>
                  <a:pt x="85473" y="29355"/>
                </a:cubicBezTo>
                <a:cubicBezTo>
                  <a:pt x="85716" y="23763"/>
                  <a:pt x="83589" y="17866"/>
                  <a:pt x="79090" y="14553"/>
                </a:cubicBezTo>
                <a:cubicBezTo>
                  <a:pt x="75412" y="11817"/>
                  <a:pt x="70610" y="11148"/>
                  <a:pt x="66141" y="10115"/>
                </a:cubicBezTo>
                <a:cubicBezTo>
                  <a:pt x="55375" y="7722"/>
                  <a:pt x="39864" y="0"/>
                  <a:pt x="26647" y="0"/>
                </a:cubicBez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81" name="Google Shape;181;p9"/>
          <p:cNvSpPr/>
          <p:nvPr/>
        </p:nvSpPr>
        <p:spPr>
          <a:xfrm>
            <a:off x="10842532" y="631595"/>
            <a:ext cx="230381" cy="203175"/>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82" name="Google Shape;182;p9"/>
          <p:cNvSpPr/>
          <p:nvPr/>
        </p:nvSpPr>
        <p:spPr>
          <a:xfrm>
            <a:off x="11027801" y="862648"/>
            <a:ext cx="170308" cy="150213"/>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83" name="Google Shape;183;p9"/>
          <p:cNvSpPr/>
          <p:nvPr/>
        </p:nvSpPr>
        <p:spPr>
          <a:xfrm>
            <a:off x="2362996" y="5591423"/>
            <a:ext cx="344784" cy="303995"/>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10480039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0FB99A7-9AE0-4407-F5FC-12B7BAD4AA5A}"/>
              </a:ext>
            </a:extLst>
          </p:cNvPr>
          <p:cNvSpPr>
            <a:spLocks noGrp="1"/>
          </p:cNvSpPr>
          <p:nvPr>
            <p:ph type="dt" sz="half" idx="10"/>
          </p:nvPr>
        </p:nvSpPr>
        <p:spPr/>
        <p:txBody>
          <a:bodyPr/>
          <a:lstStyle/>
          <a:p>
            <a:fld id="{1E32E15C-1ABB-4FCE-A664-E12BA74059BF}" type="datetimeFigureOut">
              <a:rPr lang="en-IN" smtClean="0"/>
              <a:t>13-01-2023</a:t>
            </a:fld>
            <a:endParaRPr lang="en-IN"/>
          </a:p>
        </p:txBody>
      </p:sp>
      <p:sp>
        <p:nvSpPr>
          <p:cNvPr id="3" name="Footer Placeholder 2">
            <a:extLst>
              <a:ext uri="{FF2B5EF4-FFF2-40B4-BE49-F238E27FC236}">
                <a16:creationId xmlns:a16="http://schemas.microsoft.com/office/drawing/2014/main" id="{D1CCEDBC-0C93-72FD-354D-CA0E4AB6E1DB}"/>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060DDB86-AB61-9992-8A5B-831892E94189}"/>
              </a:ext>
            </a:extLst>
          </p:cNvPr>
          <p:cNvSpPr>
            <a:spLocks noGrp="1"/>
          </p:cNvSpPr>
          <p:nvPr>
            <p:ph type="sldNum" sz="quarter" idx="12"/>
          </p:nvPr>
        </p:nvSpPr>
        <p:spPr/>
        <p:txBody>
          <a:bodyPr/>
          <a:lstStyle/>
          <a:p>
            <a:fld id="{B4B60327-AE25-4737-85CF-0B04EF4FAC0C}" type="slidenum">
              <a:rPr lang="en-IN" smtClean="0"/>
              <a:t>‹#›</a:t>
            </a:fld>
            <a:endParaRPr lang="en-IN"/>
          </a:p>
        </p:txBody>
      </p:sp>
    </p:spTree>
    <p:extLst>
      <p:ext uri="{BB962C8B-B14F-4D97-AF65-F5344CB8AC3E}">
        <p14:creationId xmlns:p14="http://schemas.microsoft.com/office/powerpoint/2010/main" val="419822120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Caption">
  <p:cSld name="Caption">
    <p:bg>
      <p:bgPr>
        <a:blipFill>
          <a:blip r:embed="rId2">
            <a:alphaModFix/>
          </a:blip>
          <a:stretch>
            <a:fillRect/>
          </a:stretch>
        </a:blipFill>
        <a:effectLst/>
      </p:bgPr>
    </p:bg>
    <p:spTree>
      <p:nvGrpSpPr>
        <p:cNvPr id="1" name="Shape 184"/>
        <p:cNvGrpSpPr/>
        <p:nvPr/>
      </p:nvGrpSpPr>
      <p:grpSpPr>
        <a:xfrm>
          <a:off x="0" y="0"/>
          <a:ext cx="0" cy="0"/>
          <a:chOff x="0" y="0"/>
          <a:chExt cx="0" cy="0"/>
        </a:xfrm>
      </p:grpSpPr>
      <p:sp>
        <p:nvSpPr>
          <p:cNvPr id="185" name="Google Shape;185;p10"/>
          <p:cNvSpPr txBox="1">
            <a:spLocks noGrp="1"/>
          </p:cNvSpPr>
          <p:nvPr>
            <p:ph type="ctrTitle"/>
          </p:nvPr>
        </p:nvSpPr>
        <p:spPr>
          <a:xfrm>
            <a:off x="1083233" y="1957333"/>
            <a:ext cx="3450800" cy="3650400"/>
          </a:xfrm>
          <a:prstGeom prst="rect">
            <a:avLst/>
          </a:prstGeom>
        </p:spPr>
        <p:txBody>
          <a:bodyPr spcFirstLastPara="1" wrap="square" lIns="91425" tIns="91425" rIns="91425" bIns="91425" anchor="b" anchorCtr="0">
            <a:normAutofit/>
          </a:bodyPr>
          <a:lstStyle>
            <a:lvl1pPr lvl="0" rtl="0">
              <a:spcBef>
                <a:spcPts val="0"/>
              </a:spcBef>
              <a:spcAft>
                <a:spcPts val="0"/>
              </a:spcAft>
              <a:buSzPts val="2400"/>
              <a:buNone/>
              <a:defRPr sz="4800"/>
            </a:lvl1pPr>
            <a:lvl2pPr lvl="1" rtl="0">
              <a:spcBef>
                <a:spcPts val="0"/>
              </a:spcBef>
              <a:spcAft>
                <a:spcPts val="0"/>
              </a:spcAft>
              <a:buSzPts val="1800"/>
              <a:buNone/>
              <a:defRPr sz="2400"/>
            </a:lvl2pPr>
            <a:lvl3pPr lvl="2" rtl="0">
              <a:spcBef>
                <a:spcPts val="0"/>
              </a:spcBef>
              <a:spcAft>
                <a:spcPts val="0"/>
              </a:spcAft>
              <a:buSzPts val="1800"/>
              <a:buNone/>
              <a:defRPr sz="2400"/>
            </a:lvl3pPr>
            <a:lvl4pPr lvl="3" rtl="0">
              <a:spcBef>
                <a:spcPts val="0"/>
              </a:spcBef>
              <a:spcAft>
                <a:spcPts val="0"/>
              </a:spcAft>
              <a:buSzPts val="1800"/>
              <a:buNone/>
              <a:defRPr sz="2400"/>
            </a:lvl4pPr>
            <a:lvl5pPr lvl="4" rtl="0">
              <a:spcBef>
                <a:spcPts val="0"/>
              </a:spcBef>
              <a:spcAft>
                <a:spcPts val="0"/>
              </a:spcAft>
              <a:buSzPts val="1800"/>
              <a:buNone/>
              <a:defRPr sz="2400"/>
            </a:lvl5pPr>
            <a:lvl6pPr lvl="5" rtl="0">
              <a:spcBef>
                <a:spcPts val="0"/>
              </a:spcBef>
              <a:spcAft>
                <a:spcPts val="0"/>
              </a:spcAft>
              <a:buSzPts val="1800"/>
              <a:buNone/>
              <a:defRPr sz="2400"/>
            </a:lvl6pPr>
            <a:lvl7pPr lvl="6" rtl="0">
              <a:spcBef>
                <a:spcPts val="0"/>
              </a:spcBef>
              <a:spcAft>
                <a:spcPts val="0"/>
              </a:spcAft>
              <a:buSzPts val="1800"/>
              <a:buNone/>
              <a:defRPr sz="2400"/>
            </a:lvl7pPr>
            <a:lvl8pPr lvl="7" rtl="0">
              <a:spcBef>
                <a:spcPts val="0"/>
              </a:spcBef>
              <a:spcAft>
                <a:spcPts val="0"/>
              </a:spcAft>
              <a:buSzPts val="1800"/>
              <a:buNone/>
              <a:defRPr sz="2400"/>
            </a:lvl8pPr>
            <a:lvl9pPr lvl="8" rtl="0">
              <a:spcBef>
                <a:spcPts val="0"/>
              </a:spcBef>
              <a:spcAft>
                <a:spcPts val="0"/>
              </a:spcAft>
              <a:buSzPts val="1800"/>
              <a:buNone/>
              <a:defRPr sz="2400"/>
            </a:lvl9pPr>
          </a:lstStyle>
          <a:p>
            <a:endParaRPr/>
          </a:p>
        </p:txBody>
      </p:sp>
    </p:spTree>
    <p:extLst>
      <p:ext uri="{BB962C8B-B14F-4D97-AF65-F5344CB8AC3E}">
        <p14:creationId xmlns:p14="http://schemas.microsoft.com/office/powerpoint/2010/main" val="36450765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Big number">
  <p:cSld name="Big number">
    <p:bg>
      <p:bgPr>
        <a:blipFill>
          <a:blip r:embed="rId2">
            <a:alphaModFix/>
          </a:blip>
          <a:stretch>
            <a:fillRect/>
          </a:stretch>
        </a:blipFill>
        <a:effectLst/>
      </p:bgPr>
    </p:bg>
    <p:spTree>
      <p:nvGrpSpPr>
        <p:cNvPr id="1" name="Shape 186"/>
        <p:cNvGrpSpPr/>
        <p:nvPr/>
      </p:nvGrpSpPr>
      <p:grpSpPr>
        <a:xfrm>
          <a:off x="0" y="0"/>
          <a:ext cx="0" cy="0"/>
          <a:chOff x="0" y="0"/>
          <a:chExt cx="0" cy="0"/>
        </a:xfrm>
      </p:grpSpPr>
      <p:grpSp>
        <p:nvGrpSpPr>
          <p:cNvPr id="187" name="Google Shape;187;p11"/>
          <p:cNvGrpSpPr/>
          <p:nvPr/>
        </p:nvGrpSpPr>
        <p:grpSpPr>
          <a:xfrm flipH="1">
            <a:off x="2365744" y="1783969"/>
            <a:ext cx="7353961" cy="4151508"/>
            <a:chOff x="2256903" y="816487"/>
            <a:chExt cx="4630180" cy="3653639"/>
          </a:xfrm>
        </p:grpSpPr>
        <p:sp>
          <p:nvSpPr>
            <p:cNvPr id="188" name="Google Shape;188;p11"/>
            <p:cNvSpPr/>
            <p:nvPr/>
          </p:nvSpPr>
          <p:spPr>
            <a:xfrm>
              <a:off x="2256903" y="816487"/>
              <a:ext cx="4630180" cy="3653639"/>
            </a:xfrm>
            <a:custGeom>
              <a:avLst/>
              <a:gdLst/>
              <a:ahLst/>
              <a:cxnLst/>
              <a:rect l="l" t="t" r="r" b="b"/>
              <a:pathLst>
                <a:path w="90191" h="71169" extrusionOk="0">
                  <a:moveTo>
                    <a:pt x="51262" y="4765"/>
                  </a:moveTo>
                  <a:cubicBezTo>
                    <a:pt x="51543" y="4765"/>
                    <a:pt x="51822" y="4770"/>
                    <a:pt x="52107" y="4781"/>
                  </a:cubicBezTo>
                  <a:cubicBezTo>
                    <a:pt x="53975" y="4833"/>
                    <a:pt x="54987" y="5361"/>
                    <a:pt x="55432" y="6154"/>
                  </a:cubicBezTo>
                  <a:cubicBezTo>
                    <a:pt x="51794" y="7210"/>
                    <a:pt x="48217" y="9267"/>
                    <a:pt x="46121" y="10663"/>
                  </a:cubicBezTo>
                  <a:cubicBezTo>
                    <a:pt x="46025" y="10731"/>
                    <a:pt x="45925" y="10799"/>
                    <a:pt x="45825" y="10863"/>
                  </a:cubicBezTo>
                  <a:cubicBezTo>
                    <a:pt x="45553" y="10363"/>
                    <a:pt x="45052" y="9947"/>
                    <a:pt x="44389" y="9719"/>
                  </a:cubicBezTo>
                  <a:cubicBezTo>
                    <a:pt x="46153" y="8262"/>
                    <a:pt x="44493" y="6181"/>
                    <a:pt x="42360" y="6181"/>
                  </a:cubicBezTo>
                  <a:cubicBezTo>
                    <a:pt x="42252" y="6181"/>
                    <a:pt x="42140" y="6190"/>
                    <a:pt x="42032" y="6198"/>
                  </a:cubicBezTo>
                  <a:cubicBezTo>
                    <a:pt x="44973" y="5302"/>
                    <a:pt x="48058" y="4765"/>
                    <a:pt x="51262" y="4765"/>
                  </a:cubicBezTo>
                  <a:close/>
                  <a:moveTo>
                    <a:pt x="53559" y="12371"/>
                  </a:moveTo>
                  <a:lnTo>
                    <a:pt x="53559" y="12371"/>
                  </a:lnTo>
                  <a:cubicBezTo>
                    <a:pt x="53323" y="12716"/>
                    <a:pt x="53087" y="13044"/>
                    <a:pt x="52859" y="13348"/>
                  </a:cubicBezTo>
                  <a:cubicBezTo>
                    <a:pt x="52583" y="13296"/>
                    <a:pt x="52315" y="13252"/>
                    <a:pt x="52038" y="13216"/>
                  </a:cubicBezTo>
                  <a:cubicBezTo>
                    <a:pt x="52551" y="12916"/>
                    <a:pt x="53059" y="12632"/>
                    <a:pt x="53559" y="12371"/>
                  </a:cubicBezTo>
                  <a:close/>
                  <a:moveTo>
                    <a:pt x="60457" y="10499"/>
                  </a:moveTo>
                  <a:cubicBezTo>
                    <a:pt x="60693" y="10607"/>
                    <a:pt x="60869" y="10772"/>
                    <a:pt x="60978" y="10999"/>
                  </a:cubicBezTo>
                  <a:cubicBezTo>
                    <a:pt x="61593" y="12308"/>
                    <a:pt x="60645" y="13856"/>
                    <a:pt x="59453" y="15213"/>
                  </a:cubicBezTo>
                  <a:cubicBezTo>
                    <a:pt x="58601" y="15592"/>
                    <a:pt x="57772" y="16017"/>
                    <a:pt x="56965" y="16465"/>
                  </a:cubicBezTo>
                  <a:cubicBezTo>
                    <a:pt x="57004" y="16417"/>
                    <a:pt x="57044" y="16369"/>
                    <a:pt x="57080" y="16325"/>
                  </a:cubicBezTo>
                  <a:cubicBezTo>
                    <a:pt x="58365" y="14737"/>
                    <a:pt x="59685" y="12648"/>
                    <a:pt x="60457" y="10499"/>
                  </a:cubicBezTo>
                  <a:close/>
                  <a:moveTo>
                    <a:pt x="48430" y="17945"/>
                  </a:moveTo>
                  <a:lnTo>
                    <a:pt x="48430" y="17945"/>
                  </a:lnTo>
                  <a:cubicBezTo>
                    <a:pt x="47685" y="18670"/>
                    <a:pt x="46889" y="19346"/>
                    <a:pt x="46041" y="19985"/>
                  </a:cubicBezTo>
                  <a:cubicBezTo>
                    <a:pt x="45949" y="19542"/>
                    <a:pt x="45721" y="19121"/>
                    <a:pt x="45397" y="18766"/>
                  </a:cubicBezTo>
                  <a:cubicBezTo>
                    <a:pt x="46389" y="18382"/>
                    <a:pt x="47405" y="18098"/>
                    <a:pt x="48430" y="17945"/>
                  </a:cubicBezTo>
                  <a:close/>
                  <a:moveTo>
                    <a:pt x="14204" y="18897"/>
                  </a:moveTo>
                  <a:lnTo>
                    <a:pt x="14204" y="18897"/>
                  </a:lnTo>
                  <a:cubicBezTo>
                    <a:pt x="11908" y="21130"/>
                    <a:pt x="9710" y="23439"/>
                    <a:pt x="7582" y="25787"/>
                  </a:cubicBezTo>
                  <a:cubicBezTo>
                    <a:pt x="8911" y="23163"/>
                    <a:pt x="11455" y="20874"/>
                    <a:pt x="14204" y="18897"/>
                  </a:cubicBezTo>
                  <a:close/>
                  <a:moveTo>
                    <a:pt x="35198" y="24947"/>
                  </a:moveTo>
                  <a:cubicBezTo>
                    <a:pt x="35198" y="25015"/>
                    <a:pt x="35202" y="25084"/>
                    <a:pt x="35206" y="25152"/>
                  </a:cubicBezTo>
                  <a:cubicBezTo>
                    <a:pt x="34670" y="25728"/>
                    <a:pt x="34138" y="26304"/>
                    <a:pt x="33606" y="26880"/>
                  </a:cubicBezTo>
                  <a:cubicBezTo>
                    <a:pt x="32177" y="27564"/>
                    <a:pt x="30768" y="28253"/>
                    <a:pt x="29412" y="28960"/>
                  </a:cubicBezTo>
                  <a:cubicBezTo>
                    <a:pt x="31313" y="27600"/>
                    <a:pt x="33257" y="26275"/>
                    <a:pt x="35198" y="24947"/>
                  </a:cubicBezTo>
                  <a:close/>
                  <a:moveTo>
                    <a:pt x="82050" y="30753"/>
                  </a:moveTo>
                  <a:cubicBezTo>
                    <a:pt x="83182" y="32002"/>
                    <a:pt x="81618" y="35483"/>
                    <a:pt x="80535" y="37715"/>
                  </a:cubicBezTo>
                  <a:cubicBezTo>
                    <a:pt x="80363" y="37691"/>
                    <a:pt x="80191" y="37683"/>
                    <a:pt x="80015" y="37679"/>
                  </a:cubicBezTo>
                  <a:cubicBezTo>
                    <a:pt x="80631" y="36171"/>
                    <a:pt x="81051" y="34635"/>
                    <a:pt x="81103" y="33122"/>
                  </a:cubicBezTo>
                  <a:cubicBezTo>
                    <a:pt x="81243" y="32969"/>
                    <a:pt x="81383" y="32829"/>
                    <a:pt x="81519" y="32677"/>
                  </a:cubicBezTo>
                  <a:cubicBezTo>
                    <a:pt x="81984" y="32162"/>
                    <a:pt x="82100" y="31625"/>
                    <a:pt x="81995" y="31133"/>
                  </a:cubicBezTo>
                  <a:cubicBezTo>
                    <a:pt x="82113" y="30996"/>
                    <a:pt x="82150" y="30866"/>
                    <a:pt x="82050" y="30753"/>
                  </a:cubicBezTo>
                  <a:close/>
                  <a:moveTo>
                    <a:pt x="24039" y="37231"/>
                  </a:moveTo>
                  <a:lnTo>
                    <a:pt x="24039" y="37231"/>
                  </a:lnTo>
                  <a:cubicBezTo>
                    <a:pt x="21838" y="39604"/>
                    <a:pt x="19629" y="41972"/>
                    <a:pt x="17396" y="44321"/>
                  </a:cubicBezTo>
                  <a:cubicBezTo>
                    <a:pt x="17372" y="44333"/>
                    <a:pt x="17353" y="44341"/>
                    <a:pt x="17329" y="44353"/>
                  </a:cubicBezTo>
                  <a:lnTo>
                    <a:pt x="17329" y="44353"/>
                  </a:lnTo>
                  <a:cubicBezTo>
                    <a:pt x="18181" y="43385"/>
                    <a:pt x="19001" y="42448"/>
                    <a:pt x="19730" y="41552"/>
                  </a:cubicBezTo>
                  <a:cubicBezTo>
                    <a:pt x="20634" y="40444"/>
                    <a:pt x="21462" y="39287"/>
                    <a:pt x="22262" y="38116"/>
                  </a:cubicBezTo>
                  <a:cubicBezTo>
                    <a:pt x="22866" y="37823"/>
                    <a:pt x="23459" y="37527"/>
                    <a:pt x="24039" y="37231"/>
                  </a:cubicBezTo>
                  <a:close/>
                  <a:moveTo>
                    <a:pt x="47909" y="45757"/>
                  </a:moveTo>
                  <a:lnTo>
                    <a:pt x="47909" y="45757"/>
                  </a:lnTo>
                  <a:cubicBezTo>
                    <a:pt x="47757" y="46286"/>
                    <a:pt x="47613" y="46818"/>
                    <a:pt x="47486" y="47350"/>
                  </a:cubicBezTo>
                  <a:cubicBezTo>
                    <a:pt x="45705" y="49346"/>
                    <a:pt x="43813" y="51271"/>
                    <a:pt x="41816" y="53144"/>
                  </a:cubicBezTo>
                  <a:cubicBezTo>
                    <a:pt x="41844" y="52991"/>
                    <a:pt x="41868" y="52843"/>
                    <a:pt x="41896" y="52695"/>
                  </a:cubicBezTo>
                  <a:cubicBezTo>
                    <a:pt x="41988" y="52195"/>
                    <a:pt x="42108" y="51703"/>
                    <a:pt x="42228" y="51207"/>
                  </a:cubicBezTo>
                  <a:cubicBezTo>
                    <a:pt x="42801" y="50491"/>
                    <a:pt x="43377" y="49778"/>
                    <a:pt x="43961" y="49067"/>
                  </a:cubicBezTo>
                  <a:cubicBezTo>
                    <a:pt x="45292" y="47974"/>
                    <a:pt x="46609" y="46873"/>
                    <a:pt x="47909" y="45757"/>
                  </a:cubicBezTo>
                  <a:close/>
                  <a:moveTo>
                    <a:pt x="42628" y="36615"/>
                  </a:moveTo>
                  <a:lnTo>
                    <a:pt x="42628" y="36615"/>
                  </a:lnTo>
                  <a:cubicBezTo>
                    <a:pt x="42092" y="37539"/>
                    <a:pt x="41576" y="38483"/>
                    <a:pt x="41072" y="39440"/>
                  </a:cubicBezTo>
                  <a:cubicBezTo>
                    <a:pt x="38243" y="42389"/>
                    <a:pt x="35550" y="45409"/>
                    <a:pt x="33054" y="48386"/>
                  </a:cubicBezTo>
                  <a:cubicBezTo>
                    <a:pt x="32457" y="49094"/>
                    <a:pt x="31549" y="50295"/>
                    <a:pt x="30624" y="51719"/>
                  </a:cubicBezTo>
                  <a:cubicBezTo>
                    <a:pt x="29200" y="52808"/>
                    <a:pt x="27560" y="53999"/>
                    <a:pt x="25708" y="54564"/>
                  </a:cubicBezTo>
                  <a:cubicBezTo>
                    <a:pt x="25887" y="53667"/>
                    <a:pt x="26260" y="52788"/>
                    <a:pt x="26727" y="51927"/>
                  </a:cubicBezTo>
                  <a:cubicBezTo>
                    <a:pt x="30284" y="47514"/>
                    <a:pt x="34550" y="43436"/>
                    <a:pt x="38747" y="39324"/>
                  </a:cubicBezTo>
                  <a:cubicBezTo>
                    <a:pt x="40083" y="38479"/>
                    <a:pt x="41372" y="37571"/>
                    <a:pt x="42628" y="36615"/>
                  </a:cubicBezTo>
                  <a:close/>
                  <a:moveTo>
                    <a:pt x="64182" y="53560"/>
                  </a:moveTo>
                  <a:lnTo>
                    <a:pt x="64182" y="53560"/>
                  </a:lnTo>
                  <a:cubicBezTo>
                    <a:pt x="63086" y="55377"/>
                    <a:pt x="61750" y="57681"/>
                    <a:pt x="60065" y="59650"/>
                  </a:cubicBezTo>
                  <a:cubicBezTo>
                    <a:pt x="60278" y="58717"/>
                    <a:pt x="60553" y="57777"/>
                    <a:pt x="60885" y="56836"/>
                  </a:cubicBezTo>
                  <a:cubicBezTo>
                    <a:pt x="60954" y="56708"/>
                    <a:pt x="61026" y="56581"/>
                    <a:pt x="61098" y="56452"/>
                  </a:cubicBezTo>
                  <a:cubicBezTo>
                    <a:pt x="62141" y="55504"/>
                    <a:pt x="63170" y="54536"/>
                    <a:pt x="64182" y="53560"/>
                  </a:cubicBezTo>
                  <a:close/>
                  <a:moveTo>
                    <a:pt x="72865" y="51691"/>
                  </a:moveTo>
                  <a:cubicBezTo>
                    <a:pt x="71520" y="53840"/>
                    <a:pt x="70128" y="55876"/>
                    <a:pt x="68499" y="57901"/>
                  </a:cubicBezTo>
                  <a:cubicBezTo>
                    <a:pt x="67219" y="59497"/>
                    <a:pt x="65931" y="61085"/>
                    <a:pt x="64518" y="62598"/>
                  </a:cubicBezTo>
                  <a:cubicBezTo>
                    <a:pt x="65811" y="61118"/>
                    <a:pt x="66939" y="59521"/>
                    <a:pt x="67971" y="58012"/>
                  </a:cubicBezTo>
                  <a:cubicBezTo>
                    <a:pt x="69323" y="56044"/>
                    <a:pt x="70560" y="54020"/>
                    <a:pt x="71768" y="51983"/>
                  </a:cubicBezTo>
                  <a:cubicBezTo>
                    <a:pt x="72148" y="51903"/>
                    <a:pt x="72509" y="51803"/>
                    <a:pt x="72865" y="51691"/>
                  </a:cubicBezTo>
                  <a:close/>
                  <a:moveTo>
                    <a:pt x="40544" y="62790"/>
                  </a:moveTo>
                  <a:lnTo>
                    <a:pt x="40544" y="62790"/>
                  </a:lnTo>
                  <a:cubicBezTo>
                    <a:pt x="40515" y="63059"/>
                    <a:pt x="40544" y="63323"/>
                    <a:pt x="40616" y="63578"/>
                  </a:cubicBezTo>
                  <a:cubicBezTo>
                    <a:pt x="39656" y="63839"/>
                    <a:pt x="38687" y="64010"/>
                    <a:pt x="37715" y="64067"/>
                  </a:cubicBezTo>
                  <a:cubicBezTo>
                    <a:pt x="38675" y="63694"/>
                    <a:pt x="39619" y="63266"/>
                    <a:pt x="40544" y="62790"/>
                  </a:cubicBezTo>
                  <a:close/>
                  <a:moveTo>
                    <a:pt x="50186" y="0"/>
                  </a:moveTo>
                  <a:cubicBezTo>
                    <a:pt x="45685" y="0"/>
                    <a:pt x="40923" y="1348"/>
                    <a:pt x="36618" y="3181"/>
                  </a:cubicBezTo>
                  <a:cubicBezTo>
                    <a:pt x="36178" y="2361"/>
                    <a:pt x="35154" y="1729"/>
                    <a:pt x="34077" y="1729"/>
                  </a:cubicBezTo>
                  <a:cubicBezTo>
                    <a:pt x="33826" y="1729"/>
                    <a:pt x="33573" y="1764"/>
                    <a:pt x="33325" y="1836"/>
                  </a:cubicBezTo>
                  <a:cubicBezTo>
                    <a:pt x="27968" y="3409"/>
                    <a:pt x="24286" y="7651"/>
                    <a:pt x="21090" y="11575"/>
                  </a:cubicBezTo>
                  <a:cubicBezTo>
                    <a:pt x="19313" y="12495"/>
                    <a:pt x="17597" y="13472"/>
                    <a:pt x="15956" y="14456"/>
                  </a:cubicBezTo>
                  <a:cubicBezTo>
                    <a:pt x="10915" y="17477"/>
                    <a:pt x="5053" y="21594"/>
                    <a:pt x="3577" y="26860"/>
                  </a:cubicBezTo>
                  <a:cubicBezTo>
                    <a:pt x="3376" y="27580"/>
                    <a:pt x="3833" y="28441"/>
                    <a:pt x="4774" y="28609"/>
                  </a:cubicBezTo>
                  <a:cubicBezTo>
                    <a:pt x="4861" y="28624"/>
                    <a:pt x="4953" y="28628"/>
                    <a:pt x="5042" y="28640"/>
                  </a:cubicBezTo>
                  <a:cubicBezTo>
                    <a:pt x="3733" y="30133"/>
                    <a:pt x="2445" y="31629"/>
                    <a:pt x="1168" y="33126"/>
                  </a:cubicBezTo>
                  <a:cubicBezTo>
                    <a:pt x="0" y="34490"/>
                    <a:pt x="1320" y="36059"/>
                    <a:pt x="2937" y="36459"/>
                  </a:cubicBezTo>
                  <a:cubicBezTo>
                    <a:pt x="2625" y="37339"/>
                    <a:pt x="2429" y="38247"/>
                    <a:pt x="2373" y="39191"/>
                  </a:cubicBezTo>
                  <a:cubicBezTo>
                    <a:pt x="2329" y="39955"/>
                    <a:pt x="2933" y="40904"/>
                    <a:pt x="3789" y="41236"/>
                  </a:cubicBezTo>
                  <a:cubicBezTo>
                    <a:pt x="4061" y="41340"/>
                    <a:pt x="4342" y="41436"/>
                    <a:pt x="4621" y="41520"/>
                  </a:cubicBezTo>
                  <a:cubicBezTo>
                    <a:pt x="2949" y="44141"/>
                    <a:pt x="1600" y="46878"/>
                    <a:pt x="848" y="49826"/>
                  </a:cubicBezTo>
                  <a:cubicBezTo>
                    <a:pt x="484" y="51263"/>
                    <a:pt x="1876" y="52795"/>
                    <a:pt x="3544" y="52795"/>
                  </a:cubicBezTo>
                  <a:cubicBezTo>
                    <a:pt x="3813" y="52795"/>
                    <a:pt x="4089" y="52755"/>
                    <a:pt x="4366" y="52668"/>
                  </a:cubicBezTo>
                  <a:lnTo>
                    <a:pt x="4366" y="52668"/>
                  </a:lnTo>
                  <a:cubicBezTo>
                    <a:pt x="2809" y="55332"/>
                    <a:pt x="1720" y="58105"/>
                    <a:pt x="1568" y="60982"/>
                  </a:cubicBezTo>
                  <a:cubicBezTo>
                    <a:pt x="1496" y="62334"/>
                    <a:pt x="3016" y="63318"/>
                    <a:pt x="4497" y="63318"/>
                  </a:cubicBezTo>
                  <a:cubicBezTo>
                    <a:pt x="5182" y="63318"/>
                    <a:pt x="5858" y="63107"/>
                    <a:pt x="6370" y="62630"/>
                  </a:cubicBezTo>
                  <a:cubicBezTo>
                    <a:pt x="7862" y="61229"/>
                    <a:pt x="9330" y="59809"/>
                    <a:pt x="10791" y="58381"/>
                  </a:cubicBezTo>
                  <a:cubicBezTo>
                    <a:pt x="10867" y="59585"/>
                    <a:pt x="12395" y="60505"/>
                    <a:pt x="13856" y="60505"/>
                  </a:cubicBezTo>
                  <a:cubicBezTo>
                    <a:pt x="14344" y="60505"/>
                    <a:pt x="14824" y="60406"/>
                    <a:pt x="15241" y="60173"/>
                  </a:cubicBezTo>
                  <a:lnTo>
                    <a:pt x="15241" y="60173"/>
                  </a:lnTo>
                  <a:cubicBezTo>
                    <a:pt x="14912" y="60926"/>
                    <a:pt x="14604" y="61682"/>
                    <a:pt x="14332" y="62459"/>
                  </a:cubicBezTo>
                  <a:cubicBezTo>
                    <a:pt x="13856" y="63827"/>
                    <a:pt x="15272" y="65527"/>
                    <a:pt x="17001" y="65527"/>
                  </a:cubicBezTo>
                  <a:cubicBezTo>
                    <a:pt x="17281" y="65527"/>
                    <a:pt x="17573" y="65483"/>
                    <a:pt x="17861" y="65383"/>
                  </a:cubicBezTo>
                  <a:cubicBezTo>
                    <a:pt x="21290" y="64215"/>
                    <a:pt x="24371" y="62654"/>
                    <a:pt x="27228" y="60858"/>
                  </a:cubicBezTo>
                  <a:lnTo>
                    <a:pt x="27228" y="60858"/>
                  </a:lnTo>
                  <a:cubicBezTo>
                    <a:pt x="27076" y="61590"/>
                    <a:pt x="26960" y="62334"/>
                    <a:pt x="26919" y="63090"/>
                  </a:cubicBezTo>
                  <a:cubicBezTo>
                    <a:pt x="26847" y="64455"/>
                    <a:pt x="28296" y="65427"/>
                    <a:pt x="29820" y="65495"/>
                  </a:cubicBezTo>
                  <a:lnTo>
                    <a:pt x="29893" y="65495"/>
                  </a:lnTo>
                  <a:cubicBezTo>
                    <a:pt x="30513" y="66884"/>
                    <a:pt x="31729" y="68028"/>
                    <a:pt x="33778" y="68612"/>
                  </a:cubicBezTo>
                  <a:cubicBezTo>
                    <a:pt x="34958" y="68948"/>
                    <a:pt x="36158" y="69096"/>
                    <a:pt x="37355" y="69096"/>
                  </a:cubicBezTo>
                  <a:cubicBezTo>
                    <a:pt x="41888" y="69096"/>
                    <a:pt x="46441" y="66952"/>
                    <a:pt x="50262" y="64627"/>
                  </a:cubicBezTo>
                  <a:cubicBezTo>
                    <a:pt x="51059" y="64315"/>
                    <a:pt x="51822" y="63938"/>
                    <a:pt x="52543" y="63506"/>
                  </a:cubicBezTo>
                  <a:lnTo>
                    <a:pt x="52543" y="63506"/>
                  </a:lnTo>
                  <a:cubicBezTo>
                    <a:pt x="52419" y="64287"/>
                    <a:pt x="52339" y="65087"/>
                    <a:pt x="52311" y="65903"/>
                  </a:cubicBezTo>
                  <a:cubicBezTo>
                    <a:pt x="52271" y="67120"/>
                    <a:pt x="53479" y="68160"/>
                    <a:pt x="54871" y="68328"/>
                  </a:cubicBezTo>
                  <a:cubicBezTo>
                    <a:pt x="55900" y="69912"/>
                    <a:pt x="57833" y="71168"/>
                    <a:pt x="59977" y="71168"/>
                  </a:cubicBezTo>
                  <a:cubicBezTo>
                    <a:pt x="60169" y="71168"/>
                    <a:pt x="60365" y="71157"/>
                    <a:pt x="60561" y="71137"/>
                  </a:cubicBezTo>
                  <a:cubicBezTo>
                    <a:pt x="64062" y="70760"/>
                    <a:pt x="66615" y="68263"/>
                    <a:pt x="68712" y="66123"/>
                  </a:cubicBezTo>
                  <a:cubicBezTo>
                    <a:pt x="72237" y="62526"/>
                    <a:pt x="75282" y="58629"/>
                    <a:pt x="77870" y="54536"/>
                  </a:cubicBezTo>
                  <a:cubicBezTo>
                    <a:pt x="81003" y="49582"/>
                    <a:pt x="83964" y="44525"/>
                    <a:pt x="86285" y="39268"/>
                  </a:cubicBezTo>
                  <a:cubicBezTo>
                    <a:pt x="87789" y="35867"/>
                    <a:pt x="90190" y="30217"/>
                    <a:pt x="86388" y="27232"/>
                  </a:cubicBezTo>
                  <a:cubicBezTo>
                    <a:pt x="85184" y="26288"/>
                    <a:pt x="83904" y="25900"/>
                    <a:pt x="82615" y="25900"/>
                  </a:cubicBezTo>
                  <a:cubicBezTo>
                    <a:pt x="81579" y="25900"/>
                    <a:pt x="80539" y="26151"/>
                    <a:pt x="79539" y="26568"/>
                  </a:cubicBezTo>
                  <a:cubicBezTo>
                    <a:pt x="80971" y="24576"/>
                    <a:pt x="82451" y="22611"/>
                    <a:pt x="84048" y="20722"/>
                  </a:cubicBezTo>
                  <a:cubicBezTo>
                    <a:pt x="85533" y="18962"/>
                    <a:pt x="83504" y="17185"/>
                    <a:pt x="81419" y="17185"/>
                  </a:cubicBezTo>
                  <a:cubicBezTo>
                    <a:pt x="80743" y="17185"/>
                    <a:pt x="80063" y="17374"/>
                    <a:pt x="79495" y="17806"/>
                  </a:cubicBezTo>
                  <a:cubicBezTo>
                    <a:pt x="78102" y="18870"/>
                    <a:pt x="76818" y="19990"/>
                    <a:pt x="75602" y="21150"/>
                  </a:cubicBezTo>
                  <a:cubicBezTo>
                    <a:pt x="75057" y="20338"/>
                    <a:pt x="74061" y="19946"/>
                    <a:pt x="72948" y="19946"/>
                  </a:cubicBezTo>
                  <a:cubicBezTo>
                    <a:pt x="72732" y="19946"/>
                    <a:pt x="72512" y="19961"/>
                    <a:pt x="72292" y="19990"/>
                  </a:cubicBezTo>
                  <a:cubicBezTo>
                    <a:pt x="72213" y="20002"/>
                    <a:pt x="72132" y="20018"/>
                    <a:pt x="72052" y="20030"/>
                  </a:cubicBezTo>
                  <a:cubicBezTo>
                    <a:pt x="72252" y="19346"/>
                    <a:pt x="72364" y="18654"/>
                    <a:pt x="72348" y="17957"/>
                  </a:cubicBezTo>
                  <a:cubicBezTo>
                    <a:pt x="72292" y="15797"/>
                    <a:pt x="70576" y="14421"/>
                    <a:pt x="68416" y="13852"/>
                  </a:cubicBezTo>
                  <a:cubicBezTo>
                    <a:pt x="68023" y="13400"/>
                    <a:pt x="67447" y="13080"/>
                    <a:pt x="66735" y="13008"/>
                  </a:cubicBezTo>
                  <a:cubicBezTo>
                    <a:pt x="67147" y="11043"/>
                    <a:pt x="66675" y="9079"/>
                    <a:pt x="64738" y="7267"/>
                  </a:cubicBezTo>
                  <a:cubicBezTo>
                    <a:pt x="63678" y="6270"/>
                    <a:pt x="62385" y="5742"/>
                    <a:pt x="60974" y="5553"/>
                  </a:cubicBezTo>
                  <a:cubicBezTo>
                    <a:pt x="60561" y="3749"/>
                    <a:pt x="59312" y="2177"/>
                    <a:pt x="56773" y="1169"/>
                  </a:cubicBezTo>
                  <a:cubicBezTo>
                    <a:pt x="54708" y="353"/>
                    <a:pt x="52479" y="0"/>
                    <a:pt x="50186" y="0"/>
                  </a:cubicBezTo>
                  <a:close/>
                </a:path>
              </a:pathLst>
            </a:custGeom>
            <a:solidFill>
              <a:srgbClr val="FFFFFF">
                <a:alpha val="803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9" name="Google Shape;189;p11"/>
            <p:cNvSpPr/>
            <p:nvPr/>
          </p:nvSpPr>
          <p:spPr>
            <a:xfrm>
              <a:off x="2748611" y="1192720"/>
              <a:ext cx="3311049" cy="2747418"/>
            </a:xfrm>
            <a:custGeom>
              <a:avLst/>
              <a:gdLst/>
              <a:ahLst/>
              <a:cxnLst/>
              <a:rect l="l" t="t" r="r" b="b"/>
              <a:pathLst>
                <a:path w="110793" h="91933" extrusionOk="0">
                  <a:moveTo>
                    <a:pt x="50743" y="6275"/>
                  </a:moveTo>
                  <a:cubicBezTo>
                    <a:pt x="53200" y="6275"/>
                    <a:pt x="56857" y="7419"/>
                    <a:pt x="59430" y="8276"/>
                  </a:cubicBezTo>
                  <a:cubicBezTo>
                    <a:pt x="59393" y="8455"/>
                    <a:pt x="59374" y="8636"/>
                    <a:pt x="59374" y="8815"/>
                  </a:cubicBezTo>
                  <a:cubicBezTo>
                    <a:pt x="57073" y="8172"/>
                    <a:pt x="54732" y="7731"/>
                    <a:pt x="52420" y="7679"/>
                  </a:cubicBezTo>
                  <a:cubicBezTo>
                    <a:pt x="52191" y="7535"/>
                    <a:pt x="51975" y="7387"/>
                    <a:pt x="51744" y="7243"/>
                  </a:cubicBezTo>
                  <a:cubicBezTo>
                    <a:pt x="51131" y="6867"/>
                    <a:pt x="50503" y="6708"/>
                    <a:pt x="49899" y="6708"/>
                  </a:cubicBezTo>
                  <a:cubicBezTo>
                    <a:pt x="49727" y="6708"/>
                    <a:pt x="49555" y="6719"/>
                    <a:pt x="49387" y="6743"/>
                  </a:cubicBezTo>
                  <a:cubicBezTo>
                    <a:pt x="49259" y="6667"/>
                    <a:pt x="49139" y="6623"/>
                    <a:pt x="49022" y="6623"/>
                  </a:cubicBezTo>
                  <a:cubicBezTo>
                    <a:pt x="48943" y="6623"/>
                    <a:pt x="48867" y="6647"/>
                    <a:pt x="48795" y="6691"/>
                  </a:cubicBezTo>
                  <a:cubicBezTo>
                    <a:pt x="49263" y="6395"/>
                    <a:pt x="49940" y="6275"/>
                    <a:pt x="50743" y="6275"/>
                  </a:cubicBezTo>
                  <a:close/>
                  <a:moveTo>
                    <a:pt x="80740" y="16318"/>
                  </a:moveTo>
                  <a:lnTo>
                    <a:pt x="80740" y="16318"/>
                  </a:lnTo>
                  <a:cubicBezTo>
                    <a:pt x="84017" y="17727"/>
                    <a:pt x="87121" y="19182"/>
                    <a:pt x="90214" y="20887"/>
                  </a:cubicBezTo>
                  <a:cubicBezTo>
                    <a:pt x="92648" y="22231"/>
                    <a:pt x="95072" y="23584"/>
                    <a:pt x="97381" y="25064"/>
                  </a:cubicBezTo>
                  <a:cubicBezTo>
                    <a:pt x="95116" y="23708"/>
                    <a:pt x="92687" y="22528"/>
                    <a:pt x="90386" y="21443"/>
                  </a:cubicBezTo>
                  <a:cubicBezTo>
                    <a:pt x="87382" y="20027"/>
                    <a:pt x="84293" y="18730"/>
                    <a:pt x="81188" y="17466"/>
                  </a:cubicBezTo>
                  <a:cubicBezTo>
                    <a:pt x="81068" y="17066"/>
                    <a:pt x="80916" y="16686"/>
                    <a:pt x="80740" y="16318"/>
                  </a:cubicBezTo>
                  <a:close/>
                  <a:moveTo>
                    <a:pt x="83589" y="25417"/>
                  </a:moveTo>
                  <a:lnTo>
                    <a:pt x="83589" y="25417"/>
                  </a:lnTo>
                  <a:cubicBezTo>
                    <a:pt x="86362" y="26565"/>
                    <a:pt x="89878" y="27965"/>
                    <a:pt x="92883" y="29734"/>
                  </a:cubicBezTo>
                  <a:cubicBezTo>
                    <a:pt x="91459" y="29509"/>
                    <a:pt x="90022" y="29221"/>
                    <a:pt x="88591" y="28874"/>
                  </a:cubicBezTo>
                  <a:cubicBezTo>
                    <a:pt x="88399" y="28802"/>
                    <a:pt x="88202" y="28726"/>
                    <a:pt x="88006" y="28650"/>
                  </a:cubicBezTo>
                  <a:cubicBezTo>
                    <a:pt x="86554" y="27553"/>
                    <a:pt x="85081" y="26477"/>
                    <a:pt x="83589" y="25417"/>
                  </a:cubicBezTo>
                  <a:close/>
                  <a:moveTo>
                    <a:pt x="20022" y="28573"/>
                  </a:moveTo>
                  <a:cubicBezTo>
                    <a:pt x="21687" y="28573"/>
                    <a:pt x="23488" y="29394"/>
                    <a:pt x="25108" y="30374"/>
                  </a:cubicBezTo>
                  <a:cubicBezTo>
                    <a:pt x="25688" y="31262"/>
                    <a:pt x="26332" y="32135"/>
                    <a:pt x="27017" y="32979"/>
                  </a:cubicBezTo>
                  <a:cubicBezTo>
                    <a:pt x="26949" y="32942"/>
                    <a:pt x="26873" y="32899"/>
                    <a:pt x="26801" y="32859"/>
                  </a:cubicBezTo>
                  <a:cubicBezTo>
                    <a:pt x="24384" y="31514"/>
                    <a:pt x="21199" y="30130"/>
                    <a:pt x="17918" y="29322"/>
                  </a:cubicBezTo>
                  <a:cubicBezTo>
                    <a:pt x="18086" y="29073"/>
                    <a:pt x="18338" y="28885"/>
                    <a:pt x="18683" y="28774"/>
                  </a:cubicBezTo>
                  <a:cubicBezTo>
                    <a:pt x="19115" y="28634"/>
                    <a:pt x="19562" y="28573"/>
                    <a:pt x="20022" y="28573"/>
                  </a:cubicBezTo>
                  <a:close/>
                  <a:moveTo>
                    <a:pt x="20775" y="36552"/>
                  </a:moveTo>
                  <a:cubicBezTo>
                    <a:pt x="21299" y="36800"/>
                    <a:pt x="21799" y="37048"/>
                    <a:pt x="22263" y="37288"/>
                  </a:cubicBezTo>
                  <a:cubicBezTo>
                    <a:pt x="22183" y="37572"/>
                    <a:pt x="22119" y="37856"/>
                    <a:pt x="22063" y="38140"/>
                  </a:cubicBezTo>
                  <a:cubicBezTo>
                    <a:pt x="21603" y="37604"/>
                    <a:pt x="21175" y="37076"/>
                    <a:pt x="20775" y="36552"/>
                  </a:cubicBezTo>
                  <a:close/>
                  <a:moveTo>
                    <a:pt x="29277" y="41930"/>
                  </a:moveTo>
                  <a:lnTo>
                    <a:pt x="29277" y="41930"/>
                  </a:lnTo>
                  <a:cubicBezTo>
                    <a:pt x="30378" y="42705"/>
                    <a:pt x="31414" y="43542"/>
                    <a:pt x="32386" y="44430"/>
                  </a:cubicBezTo>
                  <a:cubicBezTo>
                    <a:pt x="31710" y="44526"/>
                    <a:pt x="31070" y="44766"/>
                    <a:pt x="30526" y="45106"/>
                  </a:cubicBezTo>
                  <a:cubicBezTo>
                    <a:pt x="29946" y="44066"/>
                    <a:pt x="29505" y="43001"/>
                    <a:pt x="29277" y="41930"/>
                  </a:cubicBezTo>
                  <a:close/>
                  <a:moveTo>
                    <a:pt x="11292" y="34587"/>
                  </a:moveTo>
                  <a:cubicBezTo>
                    <a:pt x="12905" y="38401"/>
                    <a:pt x="16042" y="42149"/>
                    <a:pt x="18174" y="44350"/>
                  </a:cubicBezTo>
                  <a:cubicBezTo>
                    <a:pt x="18270" y="44450"/>
                    <a:pt x="18374" y="44554"/>
                    <a:pt x="18474" y="44658"/>
                  </a:cubicBezTo>
                  <a:cubicBezTo>
                    <a:pt x="17710" y="44942"/>
                    <a:pt x="17078" y="45466"/>
                    <a:pt x="16733" y="46166"/>
                  </a:cubicBezTo>
                  <a:cubicBezTo>
                    <a:pt x="16077" y="45618"/>
                    <a:pt x="15337" y="45387"/>
                    <a:pt x="14621" y="45387"/>
                  </a:cubicBezTo>
                  <a:cubicBezTo>
                    <a:pt x="12788" y="45387"/>
                    <a:pt x="11112" y="46911"/>
                    <a:pt x="11361" y="48635"/>
                  </a:cubicBezTo>
                  <a:cubicBezTo>
                    <a:pt x="9872" y="45282"/>
                    <a:pt x="9040" y="41753"/>
                    <a:pt x="9195" y="38072"/>
                  </a:cubicBezTo>
                  <a:cubicBezTo>
                    <a:pt x="9280" y="36111"/>
                    <a:pt x="10088" y="35051"/>
                    <a:pt x="11292" y="34587"/>
                  </a:cubicBezTo>
                  <a:close/>
                  <a:moveTo>
                    <a:pt x="71694" y="42469"/>
                  </a:moveTo>
                  <a:lnTo>
                    <a:pt x="71694" y="42469"/>
                  </a:lnTo>
                  <a:cubicBezTo>
                    <a:pt x="72497" y="42633"/>
                    <a:pt x="73310" y="42781"/>
                    <a:pt x="74122" y="42918"/>
                  </a:cubicBezTo>
                  <a:cubicBezTo>
                    <a:pt x="77167" y="44783"/>
                    <a:pt x="80104" y="46766"/>
                    <a:pt x="82957" y="48859"/>
                  </a:cubicBezTo>
                  <a:cubicBezTo>
                    <a:pt x="82728" y="48831"/>
                    <a:pt x="82497" y="48807"/>
                    <a:pt x="82272" y="48775"/>
                  </a:cubicBezTo>
                  <a:cubicBezTo>
                    <a:pt x="81516" y="48679"/>
                    <a:pt x="80760" y="48555"/>
                    <a:pt x="80008" y="48427"/>
                  </a:cubicBezTo>
                  <a:cubicBezTo>
                    <a:pt x="78911" y="47831"/>
                    <a:pt x="77823" y="47223"/>
                    <a:pt x="76739" y="46611"/>
                  </a:cubicBezTo>
                  <a:cubicBezTo>
                    <a:pt x="75075" y="45219"/>
                    <a:pt x="73394" y="43834"/>
                    <a:pt x="71694" y="42469"/>
                  </a:cubicBezTo>
                  <a:close/>
                  <a:moveTo>
                    <a:pt x="98873" y="50120"/>
                  </a:moveTo>
                  <a:cubicBezTo>
                    <a:pt x="99269" y="51124"/>
                    <a:pt x="99529" y="52140"/>
                    <a:pt x="99617" y="53156"/>
                  </a:cubicBezTo>
                  <a:cubicBezTo>
                    <a:pt x="99053" y="52153"/>
                    <a:pt x="98397" y="51164"/>
                    <a:pt x="97673" y="50192"/>
                  </a:cubicBezTo>
                  <a:lnTo>
                    <a:pt x="97673" y="50192"/>
                  </a:lnTo>
                  <a:cubicBezTo>
                    <a:pt x="97780" y="50199"/>
                    <a:pt x="97889" y="50203"/>
                    <a:pt x="97996" y="50203"/>
                  </a:cubicBezTo>
                  <a:cubicBezTo>
                    <a:pt x="98297" y="50203"/>
                    <a:pt x="98589" y="50175"/>
                    <a:pt x="98873" y="50120"/>
                  </a:cubicBezTo>
                  <a:close/>
                  <a:moveTo>
                    <a:pt x="40269" y="55789"/>
                  </a:moveTo>
                  <a:cubicBezTo>
                    <a:pt x="41144" y="56349"/>
                    <a:pt x="42025" y="56906"/>
                    <a:pt x="42906" y="57466"/>
                  </a:cubicBezTo>
                  <a:cubicBezTo>
                    <a:pt x="43946" y="58962"/>
                    <a:pt x="44994" y="60439"/>
                    <a:pt x="46074" y="61859"/>
                  </a:cubicBezTo>
                  <a:cubicBezTo>
                    <a:pt x="44001" y="59867"/>
                    <a:pt x="41981" y="57830"/>
                    <a:pt x="39957" y="55797"/>
                  </a:cubicBezTo>
                  <a:cubicBezTo>
                    <a:pt x="40060" y="55797"/>
                    <a:pt x="40164" y="55793"/>
                    <a:pt x="40269" y="55789"/>
                  </a:cubicBezTo>
                  <a:close/>
                  <a:moveTo>
                    <a:pt x="57753" y="48007"/>
                  </a:moveTo>
                  <a:lnTo>
                    <a:pt x="57753" y="48007"/>
                  </a:lnTo>
                  <a:cubicBezTo>
                    <a:pt x="59162" y="48567"/>
                    <a:pt x="60602" y="49111"/>
                    <a:pt x="62054" y="49640"/>
                  </a:cubicBezTo>
                  <a:cubicBezTo>
                    <a:pt x="66556" y="52604"/>
                    <a:pt x="71165" y="55429"/>
                    <a:pt x="75699" y="58046"/>
                  </a:cubicBezTo>
                  <a:cubicBezTo>
                    <a:pt x="76783" y="58670"/>
                    <a:pt x="78611" y="59623"/>
                    <a:pt x="80784" y="60587"/>
                  </a:cubicBezTo>
                  <a:cubicBezTo>
                    <a:pt x="82449" y="62083"/>
                    <a:pt x="84265" y="63804"/>
                    <a:pt x="85125" y="65744"/>
                  </a:cubicBezTo>
                  <a:cubicBezTo>
                    <a:pt x="83757" y="65556"/>
                    <a:pt x="82416" y="65168"/>
                    <a:pt x="81100" y="64672"/>
                  </a:cubicBezTo>
                  <a:cubicBezTo>
                    <a:pt x="74370" y="60947"/>
                    <a:pt x="68156" y="56474"/>
                    <a:pt x="61879" y="52076"/>
                  </a:cubicBezTo>
                  <a:cubicBezTo>
                    <a:pt x="60594" y="50676"/>
                    <a:pt x="59206" y="49324"/>
                    <a:pt x="57753" y="48007"/>
                  </a:cubicBezTo>
                  <a:close/>
                  <a:moveTo>
                    <a:pt x="58690" y="67497"/>
                  </a:moveTo>
                  <a:cubicBezTo>
                    <a:pt x="62311" y="69802"/>
                    <a:pt x="65919" y="72114"/>
                    <a:pt x="69505" y="74455"/>
                  </a:cubicBezTo>
                  <a:cubicBezTo>
                    <a:pt x="69521" y="74479"/>
                    <a:pt x="69533" y="74503"/>
                    <a:pt x="69548" y="74527"/>
                  </a:cubicBezTo>
                  <a:cubicBezTo>
                    <a:pt x="68076" y="73630"/>
                    <a:pt x="66648" y="72775"/>
                    <a:pt x="65284" y="72010"/>
                  </a:cubicBezTo>
                  <a:cubicBezTo>
                    <a:pt x="63587" y="71062"/>
                    <a:pt x="61827" y="70193"/>
                    <a:pt x="60038" y="69353"/>
                  </a:cubicBezTo>
                  <a:cubicBezTo>
                    <a:pt x="59594" y="68721"/>
                    <a:pt x="59142" y="68101"/>
                    <a:pt x="58690" y="67497"/>
                  </a:cubicBezTo>
                  <a:close/>
                  <a:moveTo>
                    <a:pt x="30729" y="77800"/>
                  </a:moveTo>
                  <a:cubicBezTo>
                    <a:pt x="34134" y="80208"/>
                    <a:pt x="37656" y="82513"/>
                    <a:pt x="41240" y="84742"/>
                  </a:cubicBezTo>
                  <a:cubicBezTo>
                    <a:pt x="37235" y="83349"/>
                    <a:pt x="33743" y="80681"/>
                    <a:pt x="30729" y="77800"/>
                  </a:cubicBezTo>
                  <a:close/>
                  <a:moveTo>
                    <a:pt x="50300" y="1"/>
                  </a:moveTo>
                  <a:cubicBezTo>
                    <a:pt x="47687" y="1"/>
                    <a:pt x="45246" y="557"/>
                    <a:pt x="43441" y="2138"/>
                  </a:cubicBezTo>
                  <a:cubicBezTo>
                    <a:pt x="40832" y="4418"/>
                    <a:pt x="41004" y="6967"/>
                    <a:pt x="42425" y="9319"/>
                  </a:cubicBezTo>
                  <a:cubicBezTo>
                    <a:pt x="39384" y="7820"/>
                    <a:pt x="36391" y="6263"/>
                    <a:pt x="33506" y="4590"/>
                  </a:cubicBezTo>
                  <a:cubicBezTo>
                    <a:pt x="32866" y="4218"/>
                    <a:pt x="32222" y="4058"/>
                    <a:pt x="31614" y="4058"/>
                  </a:cubicBezTo>
                  <a:cubicBezTo>
                    <a:pt x="28862" y="4058"/>
                    <a:pt x="26849" y="7367"/>
                    <a:pt x="29065" y="9364"/>
                  </a:cubicBezTo>
                  <a:cubicBezTo>
                    <a:pt x="30686" y="10824"/>
                    <a:pt x="32394" y="12172"/>
                    <a:pt x="34162" y="13445"/>
                  </a:cubicBezTo>
                  <a:cubicBezTo>
                    <a:pt x="32682" y="14130"/>
                    <a:pt x="32122" y="15482"/>
                    <a:pt x="32394" y="16918"/>
                  </a:cubicBezTo>
                  <a:cubicBezTo>
                    <a:pt x="32410" y="17002"/>
                    <a:pt x="32439" y="17082"/>
                    <a:pt x="32454" y="17166"/>
                  </a:cubicBezTo>
                  <a:cubicBezTo>
                    <a:pt x="31482" y="16970"/>
                    <a:pt x="30498" y="16854"/>
                    <a:pt x="29510" y="16854"/>
                  </a:cubicBezTo>
                  <a:cubicBezTo>
                    <a:pt x="29438" y="16854"/>
                    <a:pt x="29366" y="16854"/>
                    <a:pt x="29294" y="16858"/>
                  </a:cubicBezTo>
                  <a:cubicBezTo>
                    <a:pt x="25996" y="16914"/>
                    <a:pt x="23900" y="18715"/>
                    <a:pt x="23032" y="20975"/>
                  </a:cubicBezTo>
                  <a:cubicBezTo>
                    <a:pt x="22347" y="21391"/>
                    <a:pt x="21855" y="21995"/>
                    <a:pt x="21747" y="22736"/>
                  </a:cubicBezTo>
                  <a:cubicBezTo>
                    <a:pt x="21095" y="22643"/>
                    <a:pt x="20443" y="22595"/>
                    <a:pt x="19795" y="22591"/>
                  </a:cubicBezTo>
                  <a:cubicBezTo>
                    <a:pt x="17458" y="22591"/>
                    <a:pt x="15154" y="23244"/>
                    <a:pt x="12988" y="24833"/>
                  </a:cubicBezTo>
                  <a:cubicBezTo>
                    <a:pt x="11472" y="25945"/>
                    <a:pt x="10668" y="27297"/>
                    <a:pt x="10380" y="28781"/>
                  </a:cubicBezTo>
                  <a:cubicBezTo>
                    <a:pt x="7627" y="29210"/>
                    <a:pt x="5226" y="30518"/>
                    <a:pt x="3690" y="33182"/>
                  </a:cubicBezTo>
                  <a:cubicBezTo>
                    <a:pt x="0" y="39588"/>
                    <a:pt x="2541" y="47491"/>
                    <a:pt x="6759" y="54305"/>
                  </a:cubicBezTo>
                  <a:cubicBezTo>
                    <a:pt x="5222" y="54873"/>
                    <a:pt x="4118" y="56369"/>
                    <a:pt x="4711" y="57758"/>
                  </a:cubicBezTo>
                  <a:cubicBezTo>
                    <a:pt x="7111" y="63375"/>
                    <a:pt x="13573" y="67237"/>
                    <a:pt x="19562" y="70585"/>
                  </a:cubicBezTo>
                  <a:cubicBezTo>
                    <a:pt x="20967" y="72446"/>
                    <a:pt x="22456" y="74247"/>
                    <a:pt x="23952" y="75963"/>
                  </a:cubicBezTo>
                  <a:cubicBezTo>
                    <a:pt x="28561" y="81249"/>
                    <a:pt x="34843" y="87395"/>
                    <a:pt x="42877" y="88943"/>
                  </a:cubicBezTo>
                  <a:cubicBezTo>
                    <a:pt x="43045" y="88975"/>
                    <a:pt x="43221" y="88991"/>
                    <a:pt x="43397" y="88991"/>
                  </a:cubicBezTo>
                  <a:cubicBezTo>
                    <a:pt x="44354" y="88991"/>
                    <a:pt x="45322" y="88518"/>
                    <a:pt x="45538" y="87687"/>
                  </a:cubicBezTo>
                  <a:cubicBezTo>
                    <a:pt x="45562" y="87595"/>
                    <a:pt x="45570" y="87499"/>
                    <a:pt x="45589" y="87406"/>
                  </a:cubicBezTo>
                  <a:cubicBezTo>
                    <a:pt x="47862" y="88775"/>
                    <a:pt x="50143" y="90127"/>
                    <a:pt x="52428" y="91464"/>
                  </a:cubicBezTo>
                  <a:cubicBezTo>
                    <a:pt x="52980" y="91792"/>
                    <a:pt x="53556" y="91932"/>
                    <a:pt x="54117" y="91932"/>
                  </a:cubicBezTo>
                  <a:cubicBezTo>
                    <a:pt x="55657" y="91932"/>
                    <a:pt x="57065" y="90856"/>
                    <a:pt x="57513" y="89611"/>
                  </a:cubicBezTo>
                  <a:cubicBezTo>
                    <a:pt x="58854" y="89940"/>
                    <a:pt x="60242" y="90147"/>
                    <a:pt x="61679" y="90204"/>
                  </a:cubicBezTo>
                  <a:cubicBezTo>
                    <a:pt x="61718" y="90204"/>
                    <a:pt x="61759" y="90208"/>
                    <a:pt x="61799" y="90208"/>
                  </a:cubicBezTo>
                  <a:cubicBezTo>
                    <a:pt x="62939" y="90208"/>
                    <a:pt x="64307" y="89587"/>
                    <a:pt x="64795" y="88723"/>
                  </a:cubicBezTo>
                  <a:cubicBezTo>
                    <a:pt x="64959" y="88435"/>
                    <a:pt x="65099" y="88143"/>
                    <a:pt x="65232" y="87846"/>
                  </a:cubicBezTo>
                  <a:cubicBezTo>
                    <a:pt x="69225" y="89599"/>
                    <a:pt x="73402" y="91015"/>
                    <a:pt x="77895" y="91800"/>
                  </a:cubicBezTo>
                  <a:cubicBezTo>
                    <a:pt x="78135" y="91844"/>
                    <a:pt x="78375" y="91864"/>
                    <a:pt x="78615" y="91864"/>
                  </a:cubicBezTo>
                  <a:cubicBezTo>
                    <a:pt x="80928" y="91864"/>
                    <a:pt x="83093" y="90007"/>
                    <a:pt x="82233" y="88115"/>
                  </a:cubicBezTo>
                  <a:lnTo>
                    <a:pt x="82233" y="88115"/>
                  </a:lnTo>
                  <a:cubicBezTo>
                    <a:pt x="86297" y="89748"/>
                    <a:pt x="90527" y="90887"/>
                    <a:pt x="94912" y="91048"/>
                  </a:cubicBezTo>
                  <a:cubicBezTo>
                    <a:pt x="94960" y="91048"/>
                    <a:pt x="95008" y="91052"/>
                    <a:pt x="95056" y="91052"/>
                  </a:cubicBezTo>
                  <a:cubicBezTo>
                    <a:pt x="97985" y="91052"/>
                    <a:pt x="99697" y="87678"/>
                    <a:pt x="97425" y="86014"/>
                  </a:cubicBezTo>
                  <a:cubicBezTo>
                    <a:pt x="95289" y="84450"/>
                    <a:pt x="93123" y="82909"/>
                    <a:pt x="90947" y="81381"/>
                  </a:cubicBezTo>
                  <a:cubicBezTo>
                    <a:pt x="93392" y="81273"/>
                    <a:pt x="95080" y="78456"/>
                    <a:pt x="93684" y="76716"/>
                  </a:cubicBezTo>
                  <a:lnTo>
                    <a:pt x="93684" y="76716"/>
                  </a:lnTo>
                  <a:cubicBezTo>
                    <a:pt x="94824" y="77059"/>
                    <a:pt x="95980" y="77379"/>
                    <a:pt x="97165" y="77667"/>
                  </a:cubicBezTo>
                  <a:cubicBezTo>
                    <a:pt x="97444" y="77732"/>
                    <a:pt x="97732" y="77763"/>
                    <a:pt x="98020" y="77763"/>
                  </a:cubicBezTo>
                  <a:cubicBezTo>
                    <a:pt x="100249" y="77763"/>
                    <a:pt x="102582" y="75896"/>
                    <a:pt x="101626" y="73966"/>
                  </a:cubicBezTo>
                  <a:cubicBezTo>
                    <a:pt x="99845" y="70374"/>
                    <a:pt x="97464" y="67148"/>
                    <a:pt x="94720" y="64151"/>
                  </a:cubicBezTo>
                  <a:lnTo>
                    <a:pt x="94720" y="64151"/>
                  </a:lnTo>
                  <a:cubicBezTo>
                    <a:pt x="95841" y="64312"/>
                    <a:pt x="96973" y="64432"/>
                    <a:pt x="98129" y="64476"/>
                  </a:cubicBezTo>
                  <a:lnTo>
                    <a:pt x="98277" y="64476"/>
                  </a:lnTo>
                  <a:cubicBezTo>
                    <a:pt x="100277" y="64476"/>
                    <a:pt x="101694" y="62995"/>
                    <a:pt x="101794" y="61435"/>
                  </a:cubicBezTo>
                  <a:cubicBezTo>
                    <a:pt x="101798" y="61407"/>
                    <a:pt x="101794" y="61383"/>
                    <a:pt x="101798" y="61359"/>
                  </a:cubicBezTo>
                  <a:cubicBezTo>
                    <a:pt x="103911" y="60707"/>
                    <a:pt x="105659" y="59434"/>
                    <a:pt x="106548" y="57285"/>
                  </a:cubicBezTo>
                  <a:cubicBezTo>
                    <a:pt x="109000" y="51364"/>
                    <a:pt x="104955" y="45071"/>
                    <a:pt x="100469" y="40009"/>
                  </a:cubicBezTo>
                  <a:cubicBezTo>
                    <a:pt x="99994" y="39173"/>
                    <a:pt x="99422" y="38373"/>
                    <a:pt x="98761" y="37612"/>
                  </a:cubicBezTo>
                  <a:lnTo>
                    <a:pt x="98761" y="37612"/>
                  </a:lnTo>
                  <a:cubicBezTo>
                    <a:pt x="99954" y="37744"/>
                    <a:pt x="101174" y="37828"/>
                    <a:pt x="102419" y="37856"/>
                  </a:cubicBezTo>
                  <a:cubicBezTo>
                    <a:pt x="102450" y="37856"/>
                    <a:pt x="102478" y="37860"/>
                    <a:pt x="102510" y="37860"/>
                  </a:cubicBezTo>
                  <a:cubicBezTo>
                    <a:pt x="104327" y="37860"/>
                    <a:pt x="105863" y="36608"/>
                    <a:pt x="106119" y="35175"/>
                  </a:cubicBezTo>
                  <a:cubicBezTo>
                    <a:pt x="108752" y="33999"/>
                    <a:pt x="110792" y="31699"/>
                    <a:pt x="110400" y="29210"/>
                  </a:cubicBezTo>
                  <a:cubicBezTo>
                    <a:pt x="109824" y="25540"/>
                    <a:pt x="106020" y="22864"/>
                    <a:pt x="102755" y="20667"/>
                  </a:cubicBezTo>
                  <a:cubicBezTo>
                    <a:pt x="97269" y="16970"/>
                    <a:pt x="91327" y="13781"/>
                    <a:pt x="85081" y="11068"/>
                  </a:cubicBezTo>
                  <a:cubicBezTo>
                    <a:pt x="77523" y="7783"/>
                    <a:pt x="69817" y="4678"/>
                    <a:pt x="61794" y="2246"/>
                  </a:cubicBezTo>
                  <a:cubicBezTo>
                    <a:pt x="58666" y="1293"/>
                    <a:pt x="54280" y="1"/>
                    <a:pt x="50300" y="1"/>
                  </a:cubicBezTo>
                  <a:close/>
                </a:path>
              </a:pathLst>
            </a:custGeom>
            <a:solidFill>
              <a:srgbClr val="FFFFFF">
                <a:alpha val="803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90" name="Google Shape;190;p11"/>
          <p:cNvSpPr txBox="1">
            <a:spLocks noGrp="1"/>
          </p:cNvSpPr>
          <p:nvPr>
            <p:ph type="title" hasCustomPrompt="1"/>
          </p:nvPr>
        </p:nvSpPr>
        <p:spPr>
          <a:xfrm>
            <a:off x="415600" y="2084433"/>
            <a:ext cx="11360800" cy="26180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6000"/>
            </a:lvl1pPr>
            <a:lvl2pPr lvl="1" algn="ctr">
              <a:spcBef>
                <a:spcPts val="0"/>
              </a:spcBef>
              <a:spcAft>
                <a:spcPts val="0"/>
              </a:spcAft>
              <a:buSzPts val="12000"/>
              <a:buNone/>
              <a:defRPr sz="16000"/>
            </a:lvl2pPr>
            <a:lvl3pPr lvl="2" algn="ctr">
              <a:spcBef>
                <a:spcPts val="0"/>
              </a:spcBef>
              <a:spcAft>
                <a:spcPts val="0"/>
              </a:spcAft>
              <a:buSzPts val="12000"/>
              <a:buNone/>
              <a:defRPr sz="16000"/>
            </a:lvl3pPr>
            <a:lvl4pPr lvl="3" algn="ctr">
              <a:spcBef>
                <a:spcPts val="0"/>
              </a:spcBef>
              <a:spcAft>
                <a:spcPts val="0"/>
              </a:spcAft>
              <a:buSzPts val="12000"/>
              <a:buNone/>
              <a:defRPr sz="16000"/>
            </a:lvl4pPr>
            <a:lvl5pPr lvl="4" algn="ctr">
              <a:spcBef>
                <a:spcPts val="0"/>
              </a:spcBef>
              <a:spcAft>
                <a:spcPts val="0"/>
              </a:spcAft>
              <a:buSzPts val="12000"/>
              <a:buNone/>
              <a:defRPr sz="16000"/>
            </a:lvl5pPr>
            <a:lvl6pPr lvl="5" algn="ctr">
              <a:spcBef>
                <a:spcPts val="0"/>
              </a:spcBef>
              <a:spcAft>
                <a:spcPts val="0"/>
              </a:spcAft>
              <a:buSzPts val="12000"/>
              <a:buNone/>
              <a:defRPr sz="16000"/>
            </a:lvl6pPr>
            <a:lvl7pPr lvl="6" algn="ctr">
              <a:spcBef>
                <a:spcPts val="0"/>
              </a:spcBef>
              <a:spcAft>
                <a:spcPts val="0"/>
              </a:spcAft>
              <a:buSzPts val="12000"/>
              <a:buNone/>
              <a:defRPr sz="16000"/>
            </a:lvl7pPr>
            <a:lvl8pPr lvl="7" algn="ctr">
              <a:spcBef>
                <a:spcPts val="0"/>
              </a:spcBef>
              <a:spcAft>
                <a:spcPts val="0"/>
              </a:spcAft>
              <a:buSzPts val="12000"/>
              <a:buNone/>
              <a:defRPr sz="16000"/>
            </a:lvl8pPr>
            <a:lvl9pPr lvl="8" algn="ctr">
              <a:spcBef>
                <a:spcPts val="0"/>
              </a:spcBef>
              <a:spcAft>
                <a:spcPts val="0"/>
              </a:spcAft>
              <a:buSzPts val="12000"/>
              <a:buNone/>
              <a:defRPr sz="16000"/>
            </a:lvl9pPr>
          </a:lstStyle>
          <a:p>
            <a:r>
              <a:t>xx%</a:t>
            </a:r>
          </a:p>
        </p:txBody>
      </p:sp>
      <p:sp>
        <p:nvSpPr>
          <p:cNvPr id="191" name="Google Shape;191;p11"/>
          <p:cNvSpPr txBox="1">
            <a:spLocks noGrp="1"/>
          </p:cNvSpPr>
          <p:nvPr>
            <p:ph type="body" idx="1"/>
          </p:nvPr>
        </p:nvSpPr>
        <p:spPr>
          <a:xfrm>
            <a:off x="415600" y="4507767"/>
            <a:ext cx="11360800" cy="802000"/>
          </a:xfrm>
          <a:prstGeom prst="rect">
            <a:avLst/>
          </a:prstGeom>
        </p:spPr>
        <p:txBody>
          <a:bodyPr spcFirstLastPara="1" wrap="square" lIns="91425" tIns="91425" rIns="91425" bIns="91425" anchor="t" anchorCtr="0">
            <a:normAutofit/>
          </a:bodyPr>
          <a:lstStyle>
            <a:lvl1pPr marL="609585" lvl="0" indent="-440256" algn="ctr">
              <a:spcBef>
                <a:spcPts val="0"/>
              </a:spcBef>
              <a:spcAft>
                <a:spcPts val="0"/>
              </a:spcAft>
              <a:buSzPts val="1600"/>
              <a:buChar char="●"/>
              <a:defRPr/>
            </a:lvl1pPr>
            <a:lvl2pPr marL="1219170" lvl="1" indent="-440256" algn="ctr">
              <a:spcBef>
                <a:spcPts val="0"/>
              </a:spcBef>
              <a:spcAft>
                <a:spcPts val="0"/>
              </a:spcAft>
              <a:buSzPts val="1600"/>
              <a:buChar char="○"/>
              <a:defRPr/>
            </a:lvl2pPr>
            <a:lvl3pPr marL="1828754" lvl="2" indent="-440256" algn="ctr">
              <a:spcBef>
                <a:spcPts val="0"/>
              </a:spcBef>
              <a:spcAft>
                <a:spcPts val="0"/>
              </a:spcAft>
              <a:buSzPts val="1600"/>
              <a:buChar char="■"/>
              <a:defRPr/>
            </a:lvl3pPr>
            <a:lvl4pPr marL="2438339" lvl="3" indent="-440256" algn="ctr">
              <a:spcBef>
                <a:spcPts val="0"/>
              </a:spcBef>
              <a:spcAft>
                <a:spcPts val="0"/>
              </a:spcAft>
              <a:buSzPts val="1600"/>
              <a:buChar char="●"/>
              <a:defRPr/>
            </a:lvl4pPr>
            <a:lvl5pPr marL="3047924" lvl="4" indent="-440256" algn="ctr">
              <a:spcBef>
                <a:spcPts val="0"/>
              </a:spcBef>
              <a:spcAft>
                <a:spcPts val="0"/>
              </a:spcAft>
              <a:buSzPts val="1600"/>
              <a:buChar char="○"/>
              <a:defRPr/>
            </a:lvl5pPr>
            <a:lvl6pPr marL="3657509" lvl="5" indent="-440256" algn="ctr">
              <a:spcBef>
                <a:spcPts val="0"/>
              </a:spcBef>
              <a:spcAft>
                <a:spcPts val="0"/>
              </a:spcAft>
              <a:buSzPts val="1600"/>
              <a:buChar char="■"/>
              <a:defRPr/>
            </a:lvl6pPr>
            <a:lvl7pPr marL="4267093" lvl="6" indent="-440256" algn="ctr">
              <a:spcBef>
                <a:spcPts val="0"/>
              </a:spcBef>
              <a:spcAft>
                <a:spcPts val="0"/>
              </a:spcAft>
              <a:buSzPts val="1600"/>
              <a:buChar char="●"/>
              <a:defRPr/>
            </a:lvl7pPr>
            <a:lvl8pPr marL="4876678" lvl="7" indent="-440256" algn="ctr">
              <a:spcBef>
                <a:spcPts val="0"/>
              </a:spcBef>
              <a:spcAft>
                <a:spcPts val="0"/>
              </a:spcAft>
              <a:buSzPts val="1600"/>
              <a:buChar char="○"/>
              <a:defRPr/>
            </a:lvl8pPr>
            <a:lvl9pPr marL="5486263" lvl="8" indent="-440256" algn="ctr">
              <a:spcBef>
                <a:spcPts val="0"/>
              </a:spcBef>
              <a:spcAft>
                <a:spcPts val="0"/>
              </a:spcAft>
              <a:buSzPts val="1600"/>
              <a:buChar char="■"/>
              <a:defRPr/>
            </a:lvl9pPr>
          </a:lstStyle>
          <a:p>
            <a:endParaRPr/>
          </a:p>
        </p:txBody>
      </p:sp>
      <p:grpSp>
        <p:nvGrpSpPr>
          <p:cNvPr id="192" name="Google Shape;192;p11"/>
          <p:cNvGrpSpPr/>
          <p:nvPr/>
        </p:nvGrpSpPr>
        <p:grpSpPr>
          <a:xfrm>
            <a:off x="1053483" y="1127304"/>
            <a:ext cx="990229" cy="1006001"/>
            <a:chOff x="2859325" y="466125"/>
            <a:chExt cx="825650" cy="838800"/>
          </a:xfrm>
        </p:grpSpPr>
        <p:sp>
          <p:nvSpPr>
            <p:cNvPr id="193" name="Google Shape;193;p11"/>
            <p:cNvSpPr/>
            <p:nvPr/>
          </p:nvSpPr>
          <p:spPr>
            <a:xfrm>
              <a:off x="2859325" y="466125"/>
              <a:ext cx="825650" cy="838800"/>
            </a:xfrm>
            <a:custGeom>
              <a:avLst/>
              <a:gdLst/>
              <a:ahLst/>
              <a:cxnLst/>
              <a:rect l="l" t="t" r="r" b="b"/>
              <a:pathLst>
                <a:path w="33026" h="33552" extrusionOk="0">
                  <a:moveTo>
                    <a:pt x="18936" y="5833"/>
                  </a:moveTo>
                  <a:cubicBezTo>
                    <a:pt x="23450" y="5833"/>
                    <a:pt x="26962" y="11860"/>
                    <a:pt x="27659" y="15674"/>
                  </a:cubicBezTo>
                  <a:cubicBezTo>
                    <a:pt x="28538" y="20236"/>
                    <a:pt x="26425" y="25404"/>
                    <a:pt x="22073" y="27454"/>
                  </a:cubicBezTo>
                  <a:cubicBezTo>
                    <a:pt x="20501" y="28198"/>
                    <a:pt x="18688" y="28551"/>
                    <a:pt x="16841" y="28551"/>
                  </a:cubicBezTo>
                  <a:cubicBezTo>
                    <a:pt x="15515" y="28551"/>
                    <a:pt x="14172" y="28369"/>
                    <a:pt x="12887" y="28019"/>
                  </a:cubicBezTo>
                  <a:cubicBezTo>
                    <a:pt x="12845" y="27978"/>
                    <a:pt x="12783" y="27978"/>
                    <a:pt x="12741" y="27978"/>
                  </a:cubicBezTo>
                  <a:cubicBezTo>
                    <a:pt x="10816" y="27413"/>
                    <a:pt x="9079" y="26450"/>
                    <a:pt x="7740" y="25153"/>
                  </a:cubicBezTo>
                  <a:cubicBezTo>
                    <a:pt x="5062" y="22558"/>
                    <a:pt x="4225" y="18499"/>
                    <a:pt x="5146" y="14942"/>
                  </a:cubicBezTo>
                  <a:cubicBezTo>
                    <a:pt x="5250" y="14942"/>
                    <a:pt x="5334" y="14963"/>
                    <a:pt x="5438" y="14963"/>
                  </a:cubicBezTo>
                  <a:cubicBezTo>
                    <a:pt x="5648" y="14963"/>
                    <a:pt x="5627" y="14691"/>
                    <a:pt x="5438" y="14649"/>
                  </a:cubicBezTo>
                  <a:cubicBezTo>
                    <a:pt x="5355" y="14649"/>
                    <a:pt x="5313" y="14628"/>
                    <a:pt x="5229" y="14628"/>
                  </a:cubicBezTo>
                  <a:cubicBezTo>
                    <a:pt x="5418" y="13959"/>
                    <a:pt x="5669" y="13289"/>
                    <a:pt x="5982" y="12703"/>
                  </a:cubicBezTo>
                  <a:cubicBezTo>
                    <a:pt x="8282" y="8206"/>
                    <a:pt x="13253" y="6044"/>
                    <a:pt x="18105" y="6044"/>
                  </a:cubicBezTo>
                  <a:cubicBezTo>
                    <a:pt x="18242" y="6044"/>
                    <a:pt x="18379" y="6046"/>
                    <a:pt x="18516" y="6050"/>
                  </a:cubicBezTo>
                  <a:cubicBezTo>
                    <a:pt x="18641" y="6050"/>
                    <a:pt x="18704" y="5945"/>
                    <a:pt x="18662" y="5840"/>
                  </a:cubicBezTo>
                  <a:cubicBezTo>
                    <a:pt x="18754" y="5835"/>
                    <a:pt x="18845" y="5833"/>
                    <a:pt x="18936" y="5833"/>
                  </a:cubicBezTo>
                  <a:close/>
                  <a:moveTo>
                    <a:pt x="21367" y="0"/>
                  </a:moveTo>
                  <a:cubicBezTo>
                    <a:pt x="21331" y="0"/>
                    <a:pt x="21294" y="8"/>
                    <a:pt x="21257" y="24"/>
                  </a:cubicBezTo>
                  <a:cubicBezTo>
                    <a:pt x="19248" y="902"/>
                    <a:pt x="17867" y="3099"/>
                    <a:pt x="17951" y="5296"/>
                  </a:cubicBezTo>
                  <a:cubicBezTo>
                    <a:pt x="17867" y="5317"/>
                    <a:pt x="17783" y="5317"/>
                    <a:pt x="17742" y="5317"/>
                  </a:cubicBezTo>
                  <a:cubicBezTo>
                    <a:pt x="17553" y="5338"/>
                    <a:pt x="17490" y="5485"/>
                    <a:pt x="17490" y="5610"/>
                  </a:cubicBezTo>
                  <a:cubicBezTo>
                    <a:pt x="17343" y="5605"/>
                    <a:pt x="17195" y="5602"/>
                    <a:pt x="17047" y="5602"/>
                  </a:cubicBezTo>
                  <a:cubicBezTo>
                    <a:pt x="14848" y="5602"/>
                    <a:pt x="12630" y="6181"/>
                    <a:pt x="10669" y="7200"/>
                  </a:cubicBezTo>
                  <a:lnTo>
                    <a:pt x="10669" y="7179"/>
                  </a:lnTo>
                  <a:cubicBezTo>
                    <a:pt x="10104" y="5799"/>
                    <a:pt x="9916" y="4376"/>
                    <a:pt x="9979" y="2890"/>
                  </a:cubicBezTo>
                  <a:cubicBezTo>
                    <a:pt x="9999" y="2736"/>
                    <a:pt x="9894" y="2663"/>
                    <a:pt x="9778" y="2663"/>
                  </a:cubicBezTo>
                  <a:cubicBezTo>
                    <a:pt x="9659" y="2663"/>
                    <a:pt x="9529" y="2741"/>
                    <a:pt x="9519" y="2890"/>
                  </a:cubicBezTo>
                  <a:cubicBezTo>
                    <a:pt x="9330" y="4439"/>
                    <a:pt x="9623" y="5945"/>
                    <a:pt x="10272" y="7326"/>
                  </a:cubicBezTo>
                  <a:cubicBezTo>
                    <a:pt x="10272" y="7368"/>
                    <a:pt x="10293" y="7368"/>
                    <a:pt x="10293" y="7389"/>
                  </a:cubicBezTo>
                  <a:cubicBezTo>
                    <a:pt x="8493" y="8414"/>
                    <a:pt x="6924" y="9837"/>
                    <a:pt x="5794" y="11657"/>
                  </a:cubicBezTo>
                  <a:cubicBezTo>
                    <a:pt x="5250" y="12536"/>
                    <a:pt x="4853" y="13478"/>
                    <a:pt x="4581" y="14503"/>
                  </a:cubicBezTo>
                  <a:cubicBezTo>
                    <a:pt x="3262" y="14126"/>
                    <a:pt x="2216" y="13226"/>
                    <a:pt x="1568" y="11971"/>
                  </a:cubicBezTo>
                  <a:cubicBezTo>
                    <a:pt x="1532" y="11906"/>
                    <a:pt x="1471" y="11879"/>
                    <a:pt x="1410" y="11879"/>
                  </a:cubicBezTo>
                  <a:cubicBezTo>
                    <a:pt x="1294" y="11879"/>
                    <a:pt x="1178" y="11980"/>
                    <a:pt x="1233" y="12117"/>
                  </a:cubicBezTo>
                  <a:cubicBezTo>
                    <a:pt x="1798" y="13540"/>
                    <a:pt x="3053" y="14545"/>
                    <a:pt x="4497" y="14900"/>
                  </a:cubicBezTo>
                  <a:cubicBezTo>
                    <a:pt x="3744" y="17871"/>
                    <a:pt x="4162" y="21198"/>
                    <a:pt x="5773" y="23814"/>
                  </a:cubicBezTo>
                  <a:cubicBezTo>
                    <a:pt x="4824" y="24163"/>
                    <a:pt x="3904" y="24330"/>
                    <a:pt x="2971" y="24330"/>
                  </a:cubicBezTo>
                  <a:cubicBezTo>
                    <a:pt x="2113" y="24330"/>
                    <a:pt x="1245" y="24189"/>
                    <a:pt x="333" y="23918"/>
                  </a:cubicBezTo>
                  <a:cubicBezTo>
                    <a:pt x="310" y="23909"/>
                    <a:pt x="288" y="23905"/>
                    <a:pt x="267" y="23905"/>
                  </a:cubicBezTo>
                  <a:cubicBezTo>
                    <a:pt x="96" y="23905"/>
                    <a:pt x="0" y="24181"/>
                    <a:pt x="187" y="24274"/>
                  </a:cubicBezTo>
                  <a:cubicBezTo>
                    <a:pt x="1028" y="24665"/>
                    <a:pt x="1957" y="24860"/>
                    <a:pt x="2889" y="24860"/>
                  </a:cubicBezTo>
                  <a:cubicBezTo>
                    <a:pt x="3949" y="24860"/>
                    <a:pt x="5015" y="24608"/>
                    <a:pt x="5962" y="24107"/>
                  </a:cubicBezTo>
                  <a:cubicBezTo>
                    <a:pt x="6150" y="24379"/>
                    <a:pt x="6359" y="24651"/>
                    <a:pt x="6568" y="24944"/>
                  </a:cubicBezTo>
                  <a:cubicBezTo>
                    <a:pt x="7991" y="26680"/>
                    <a:pt x="10063" y="27915"/>
                    <a:pt x="12322" y="28605"/>
                  </a:cubicBezTo>
                  <a:cubicBezTo>
                    <a:pt x="10983" y="30551"/>
                    <a:pt x="9205" y="31869"/>
                    <a:pt x="6924" y="32644"/>
                  </a:cubicBezTo>
                  <a:cubicBezTo>
                    <a:pt x="6728" y="32722"/>
                    <a:pt x="6789" y="33003"/>
                    <a:pt x="6988" y="33003"/>
                  </a:cubicBezTo>
                  <a:cubicBezTo>
                    <a:pt x="7001" y="33003"/>
                    <a:pt x="7014" y="33002"/>
                    <a:pt x="7029" y="32999"/>
                  </a:cubicBezTo>
                  <a:cubicBezTo>
                    <a:pt x="9414" y="32434"/>
                    <a:pt x="11506" y="30823"/>
                    <a:pt x="12678" y="28710"/>
                  </a:cubicBezTo>
                  <a:cubicBezTo>
                    <a:pt x="14012" y="29080"/>
                    <a:pt x="15398" y="29262"/>
                    <a:pt x="16763" y="29262"/>
                  </a:cubicBezTo>
                  <a:cubicBezTo>
                    <a:pt x="17325" y="29262"/>
                    <a:pt x="17883" y="29231"/>
                    <a:pt x="18432" y="29170"/>
                  </a:cubicBezTo>
                  <a:lnTo>
                    <a:pt x="18432" y="29170"/>
                  </a:lnTo>
                  <a:cubicBezTo>
                    <a:pt x="18704" y="30593"/>
                    <a:pt x="18558" y="31953"/>
                    <a:pt x="17993" y="33313"/>
                  </a:cubicBezTo>
                  <a:cubicBezTo>
                    <a:pt x="17938" y="33451"/>
                    <a:pt x="18063" y="33552"/>
                    <a:pt x="18186" y="33552"/>
                  </a:cubicBezTo>
                  <a:cubicBezTo>
                    <a:pt x="18249" y="33552"/>
                    <a:pt x="18312" y="33524"/>
                    <a:pt x="18348" y="33460"/>
                  </a:cubicBezTo>
                  <a:cubicBezTo>
                    <a:pt x="18955" y="32079"/>
                    <a:pt x="19123" y="30614"/>
                    <a:pt x="18767" y="29149"/>
                  </a:cubicBezTo>
                  <a:cubicBezTo>
                    <a:pt x="19792" y="29024"/>
                    <a:pt x="20796" y="28752"/>
                    <a:pt x="21696" y="28396"/>
                  </a:cubicBezTo>
                  <a:cubicBezTo>
                    <a:pt x="23203" y="27810"/>
                    <a:pt x="24479" y="26869"/>
                    <a:pt x="25504" y="25739"/>
                  </a:cubicBezTo>
                  <a:cubicBezTo>
                    <a:pt x="26906" y="26848"/>
                    <a:pt x="27722" y="28501"/>
                    <a:pt x="27764" y="30300"/>
                  </a:cubicBezTo>
                  <a:cubicBezTo>
                    <a:pt x="27764" y="30426"/>
                    <a:pt x="27869" y="30488"/>
                    <a:pt x="27973" y="30488"/>
                  </a:cubicBezTo>
                  <a:cubicBezTo>
                    <a:pt x="28078" y="30488"/>
                    <a:pt x="28182" y="30426"/>
                    <a:pt x="28182" y="30300"/>
                  </a:cubicBezTo>
                  <a:cubicBezTo>
                    <a:pt x="28182" y="28333"/>
                    <a:pt x="27283" y="26576"/>
                    <a:pt x="25734" y="25425"/>
                  </a:cubicBezTo>
                  <a:cubicBezTo>
                    <a:pt x="27283" y="23605"/>
                    <a:pt x="28245" y="21240"/>
                    <a:pt x="28454" y="18813"/>
                  </a:cubicBezTo>
                  <a:cubicBezTo>
                    <a:pt x="28688" y="18779"/>
                    <a:pt x="28919" y="18762"/>
                    <a:pt x="29145" y="18762"/>
                  </a:cubicBezTo>
                  <a:cubicBezTo>
                    <a:pt x="30436" y="18762"/>
                    <a:pt x="31597" y="19304"/>
                    <a:pt x="32576" y="20194"/>
                  </a:cubicBezTo>
                  <a:cubicBezTo>
                    <a:pt x="32626" y="20230"/>
                    <a:pt x="32678" y="20246"/>
                    <a:pt x="32725" y="20246"/>
                  </a:cubicBezTo>
                  <a:cubicBezTo>
                    <a:pt x="32897" y="20246"/>
                    <a:pt x="33026" y="20044"/>
                    <a:pt x="32911" y="19880"/>
                  </a:cubicBezTo>
                  <a:cubicBezTo>
                    <a:pt x="32013" y="18826"/>
                    <a:pt x="30701" y="18329"/>
                    <a:pt x="29375" y="18329"/>
                  </a:cubicBezTo>
                  <a:cubicBezTo>
                    <a:pt x="29095" y="18329"/>
                    <a:pt x="28815" y="18351"/>
                    <a:pt x="28538" y="18395"/>
                  </a:cubicBezTo>
                  <a:cubicBezTo>
                    <a:pt x="28559" y="17746"/>
                    <a:pt x="28559" y="17097"/>
                    <a:pt x="28475" y="16428"/>
                  </a:cubicBezTo>
                  <a:cubicBezTo>
                    <a:pt x="28224" y="14168"/>
                    <a:pt x="27073" y="11239"/>
                    <a:pt x="25316" y="8937"/>
                  </a:cubicBezTo>
                  <a:cubicBezTo>
                    <a:pt x="26467" y="7493"/>
                    <a:pt x="28120" y="6677"/>
                    <a:pt x="29940" y="6489"/>
                  </a:cubicBezTo>
                  <a:cubicBezTo>
                    <a:pt x="30233" y="6468"/>
                    <a:pt x="30233" y="6050"/>
                    <a:pt x="29940" y="6050"/>
                  </a:cubicBezTo>
                  <a:cubicBezTo>
                    <a:pt x="27994" y="6112"/>
                    <a:pt x="26237" y="7117"/>
                    <a:pt x="25086" y="8665"/>
                  </a:cubicBezTo>
                  <a:cubicBezTo>
                    <a:pt x="23472" y="6648"/>
                    <a:pt x="21381" y="5177"/>
                    <a:pt x="18993" y="5177"/>
                  </a:cubicBezTo>
                  <a:cubicBezTo>
                    <a:pt x="18780" y="5177"/>
                    <a:pt x="18565" y="5189"/>
                    <a:pt x="18348" y="5213"/>
                  </a:cubicBezTo>
                  <a:cubicBezTo>
                    <a:pt x="18537" y="3141"/>
                    <a:pt x="19625" y="1488"/>
                    <a:pt x="21529" y="484"/>
                  </a:cubicBezTo>
                  <a:cubicBezTo>
                    <a:pt x="21803" y="338"/>
                    <a:pt x="21614" y="0"/>
                    <a:pt x="21367" y="0"/>
                  </a:cubicBezTo>
                  <a:close/>
                </a:path>
              </a:pathLst>
            </a:custGeom>
            <a:solidFill>
              <a:schemeClr val="accent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4" name="Google Shape;194;p11"/>
            <p:cNvSpPr/>
            <p:nvPr/>
          </p:nvSpPr>
          <p:spPr>
            <a:xfrm>
              <a:off x="3161625" y="772000"/>
              <a:ext cx="38725" cy="49375"/>
            </a:xfrm>
            <a:custGeom>
              <a:avLst/>
              <a:gdLst/>
              <a:ahLst/>
              <a:cxnLst/>
              <a:rect l="l" t="t" r="r" b="b"/>
              <a:pathLst>
                <a:path w="1549" h="1975" extrusionOk="0">
                  <a:moveTo>
                    <a:pt x="780" y="881"/>
                  </a:moveTo>
                  <a:cubicBezTo>
                    <a:pt x="807" y="881"/>
                    <a:pt x="835" y="889"/>
                    <a:pt x="858" y="908"/>
                  </a:cubicBezTo>
                  <a:cubicBezTo>
                    <a:pt x="963" y="991"/>
                    <a:pt x="984" y="1368"/>
                    <a:pt x="879" y="1452"/>
                  </a:cubicBezTo>
                  <a:cubicBezTo>
                    <a:pt x="848" y="1473"/>
                    <a:pt x="818" y="1482"/>
                    <a:pt x="789" y="1482"/>
                  </a:cubicBezTo>
                  <a:cubicBezTo>
                    <a:pt x="702" y="1482"/>
                    <a:pt x="628" y="1399"/>
                    <a:pt x="565" y="1305"/>
                  </a:cubicBezTo>
                  <a:cubicBezTo>
                    <a:pt x="628" y="1243"/>
                    <a:pt x="649" y="1159"/>
                    <a:pt x="628" y="1096"/>
                  </a:cubicBezTo>
                  <a:cubicBezTo>
                    <a:pt x="579" y="982"/>
                    <a:pt x="682" y="881"/>
                    <a:pt x="780" y="881"/>
                  </a:cubicBezTo>
                  <a:close/>
                  <a:moveTo>
                    <a:pt x="737" y="0"/>
                  </a:moveTo>
                  <a:cubicBezTo>
                    <a:pt x="701" y="0"/>
                    <a:pt x="663" y="15"/>
                    <a:pt x="628" y="50"/>
                  </a:cubicBezTo>
                  <a:cubicBezTo>
                    <a:pt x="461" y="175"/>
                    <a:pt x="314" y="364"/>
                    <a:pt x="209" y="531"/>
                  </a:cubicBezTo>
                  <a:cubicBezTo>
                    <a:pt x="63" y="678"/>
                    <a:pt x="0" y="824"/>
                    <a:pt x="21" y="1012"/>
                  </a:cubicBezTo>
                  <a:cubicBezTo>
                    <a:pt x="0" y="1222"/>
                    <a:pt x="21" y="1410"/>
                    <a:pt x="147" y="1619"/>
                  </a:cubicBezTo>
                  <a:cubicBezTo>
                    <a:pt x="307" y="1843"/>
                    <a:pt x="565" y="1975"/>
                    <a:pt x="807" y="1975"/>
                  </a:cubicBezTo>
                  <a:cubicBezTo>
                    <a:pt x="1040" y="1975"/>
                    <a:pt x="1258" y="1854"/>
                    <a:pt x="1360" y="1577"/>
                  </a:cubicBezTo>
                  <a:cubicBezTo>
                    <a:pt x="1549" y="1117"/>
                    <a:pt x="1402" y="385"/>
                    <a:pt x="837" y="322"/>
                  </a:cubicBezTo>
                  <a:cubicBezTo>
                    <a:pt x="837" y="301"/>
                    <a:pt x="858" y="301"/>
                    <a:pt x="858" y="280"/>
                  </a:cubicBezTo>
                  <a:cubicBezTo>
                    <a:pt x="954" y="152"/>
                    <a:pt x="855" y="0"/>
                    <a:pt x="737" y="0"/>
                  </a:cubicBezTo>
                  <a:close/>
                </a:path>
              </a:pathLst>
            </a:custGeom>
            <a:solidFill>
              <a:schemeClr val="accent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5" name="Google Shape;195;p11"/>
            <p:cNvSpPr/>
            <p:nvPr/>
          </p:nvSpPr>
          <p:spPr>
            <a:xfrm>
              <a:off x="3354125" y="767475"/>
              <a:ext cx="47875" cy="38850"/>
            </a:xfrm>
            <a:custGeom>
              <a:avLst/>
              <a:gdLst/>
              <a:ahLst/>
              <a:cxnLst/>
              <a:rect l="l" t="t" r="r" b="b"/>
              <a:pathLst>
                <a:path w="1915" h="1554" extrusionOk="0">
                  <a:moveTo>
                    <a:pt x="1088" y="1"/>
                  </a:moveTo>
                  <a:cubicBezTo>
                    <a:pt x="419" y="1"/>
                    <a:pt x="0" y="900"/>
                    <a:pt x="523" y="1361"/>
                  </a:cubicBezTo>
                  <a:cubicBezTo>
                    <a:pt x="675" y="1494"/>
                    <a:pt x="866" y="1554"/>
                    <a:pt x="1054" y="1554"/>
                  </a:cubicBezTo>
                  <a:cubicBezTo>
                    <a:pt x="1489" y="1554"/>
                    <a:pt x="1914" y="1235"/>
                    <a:pt x="1841" y="754"/>
                  </a:cubicBezTo>
                  <a:cubicBezTo>
                    <a:pt x="1779" y="440"/>
                    <a:pt x="1548" y="189"/>
                    <a:pt x="1255" y="105"/>
                  </a:cubicBezTo>
                  <a:cubicBezTo>
                    <a:pt x="1235" y="63"/>
                    <a:pt x="1193" y="1"/>
                    <a:pt x="1088" y="1"/>
                  </a:cubicBezTo>
                  <a:close/>
                </a:path>
              </a:pathLst>
            </a:custGeom>
            <a:solidFill>
              <a:schemeClr val="accent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6" name="Google Shape;196;p11"/>
            <p:cNvSpPr/>
            <p:nvPr/>
          </p:nvSpPr>
          <p:spPr>
            <a:xfrm>
              <a:off x="3071925" y="898225"/>
              <a:ext cx="402825" cy="157250"/>
            </a:xfrm>
            <a:custGeom>
              <a:avLst/>
              <a:gdLst/>
              <a:ahLst/>
              <a:cxnLst/>
              <a:rect l="l" t="t" r="r" b="b"/>
              <a:pathLst>
                <a:path w="16113" h="6290" extrusionOk="0">
                  <a:moveTo>
                    <a:pt x="15797" y="0"/>
                  </a:moveTo>
                  <a:cubicBezTo>
                    <a:pt x="15708" y="0"/>
                    <a:pt x="15616" y="43"/>
                    <a:pt x="15556" y="148"/>
                  </a:cubicBezTo>
                  <a:cubicBezTo>
                    <a:pt x="14071" y="3015"/>
                    <a:pt x="11874" y="5358"/>
                    <a:pt x="8442" y="5672"/>
                  </a:cubicBezTo>
                  <a:cubicBezTo>
                    <a:pt x="8216" y="5691"/>
                    <a:pt x="7990" y="5700"/>
                    <a:pt x="7765" y="5700"/>
                  </a:cubicBezTo>
                  <a:cubicBezTo>
                    <a:pt x="4791" y="5700"/>
                    <a:pt x="2001" y="4059"/>
                    <a:pt x="387" y="1550"/>
                  </a:cubicBezTo>
                  <a:cubicBezTo>
                    <a:pt x="348" y="1485"/>
                    <a:pt x="294" y="1459"/>
                    <a:pt x="240" y="1459"/>
                  </a:cubicBezTo>
                  <a:cubicBezTo>
                    <a:pt x="119" y="1459"/>
                    <a:pt x="1" y="1593"/>
                    <a:pt x="73" y="1738"/>
                  </a:cubicBezTo>
                  <a:cubicBezTo>
                    <a:pt x="1617" y="4483"/>
                    <a:pt x="4584" y="6290"/>
                    <a:pt x="7725" y="6290"/>
                  </a:cubicBezTo>
                  <a:cubicBezTo>
                    <a:pt x="8033" y="6290"/>
                    <a:pt x="8342" y="6272"/>
                    <a:pt x="8652" y="6237"/>
                  </a:cubicBezTo>
                  <a:cubicBezTo>
                    <a:pt x="11811" y="5902"/>
                    <a:pt x="15222" y="3538"/>
                    <a:pt x="16059" y="315"/>
                  </a:cubicBezTo>
                  <a:cubicBezTo>
                    <a:pt x="16112" y="141"/>
                    <a:pt x="15959" y="0"/>
                    <a:pt x="15797" y="0"/>
                  </a:cubicBezTo>
                  <a:close/>
                </a:path>
              </a:pathLst>
            </a:custGeom>
            <a:solidFill>
              <a:schemeClr val="accent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97" name="Google Shape;197;p11"/>
          <p:cNvSpPr/>
          <p:nvPr/>
        </p:nvSpPr>
        <p:spPr>
          <a:xfrm rot="5400000">
            <a:off x="10635606" y="1402534"/>
            <a:ext cx="2183233" cy="929559"/>
          </a:xfrm>
          <a:custGeom>
            <a:avLst/>
            <a:gdLst/>
            <a:ahLst/>
            <a:cxnLst/>
            <a:rect l="l" t="t" r="r" b="b"/>
            <a:pathLst>
              <a:path w="17010" h="7242" extrusionOk="0">
                <a:moveTo>
                  <a:pt x="1" y="1"/>
                </a:moveTo>
                <a:cubicBezTo>
                  <a:pt x="677" y="4099"/>
                  <a:pt x="4238" y="7242"/>
                  <a:pt x="8515" y="7242"/>
                </a:cubicBezTo>
                <a:cubicBezTo>
                  <a:pt x="12792" y="7242"/>
                  <a:pt x="16333" y="4099"/>
                  <a:pt x="17009" y="1"/>
                </a:cubicBezTo>
                <a:close/>
              </a:path>
            </a:pathLst>
          </a:custGeom>
          <a:solidFill>
            <a:schemeClr val="accent4"/>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198" name="Google Shape;198;p11"/>
          <p:cNvGrpSpPr/>
          <p:nvPr/>
        </p:nvGrpSpPr>
        <p:grpSpPr>
          <a:xfrm>
            <a:off x="8487200" y="666433"/>
            <a:ext cx="1236733" cy="2951400"/>
            <a:chOff x="6465175" y="710275"/>
            <a:chExt cx="927550" cy="2213550"/>
          </a:xfrm>
        </p:grpSpPr>
        <p:grpSp>
          <p:nvGrpSpPr>
            <p:cNvPr id="199" name="Google Shape;199;p11"/>
            <p:cNvGrpSpPr/>
            <p:nvPr/>
          </p:nvGrpSpPr>
          <p:grpSpPr>
            <a:xfrm>
              <a:off x="6465175" y="710275"/>
              <a:ext cx="927550" cy="2213550"/>
              <a:chOff x="3190375" y="3050700"/>
              <a:chExt cx="927550" cy="2213550"/>
            </a:xfrm>
          </p:grpSpPr>
          <p:sp>
            <p:nvSpPr>
              <p:cNvPr id="200" name="Google Shape;200;p11"/>
              <p:cNvSpPr/>
              <p:nvPr/>
            </p:nvSpPr>
            <p:spPr>
              <a:xfrm>
                <a:off x="3551650" y="3943325"/>
                <a:ext cx="464625" cy="1320925"/>
              </a:xfrm>
              <a:custGeom>
                <a:avLst/>
                <a:gdLst/>
                <a:ahLst/>
                <a:cxnLst/>
                <a:rect l="l" t="t" r="r" b="b"/>
                <a:pathLst>
                  <a:path w="18585" h="52837" extrusionOk="0">
                    <a:moveTo>
                      <a:pt x="12436" y="5656"/>
                    </a:moveTo>
                    <a:lnTo>
                      <a:pt x="12436" y="5656"/>
                    </a:lnTo>
                    <a:cubicBezTo>
                      <a:pt x="12437" y="5658"/>
                      <a:pt x="12439" y="5660"/>
                      <a:pt x="12440" y="5661"/>
                    </a:cubicBezTo>
                    <a:lnTo>
                      <a:pt x="12440" y="5661"/>
                    </a:lnTo>
                    <a:cubicBezTo>
                      <a:pt x="12438" y="5660"/>
                      <a:pt x="12437" y="5659"/>
                      <a:pt x="12436" y="5656"/>
                    </a:cubicBezTo>
                    <a:close/>
                    <a:moveTo>
                      <a:pt x="13678" y="16082"/>
                    </a:moveTo>
                    <a:cubicBezTo>
                      <a:pt x="13812" y="16183"/>
                      <a:pt x="13846" y="16183"/>
                      <a:pt x="13947" y="16183"/>
                    </a:cubicBezTo>
                    <a:cubicBezTo>
                      <a:pt x="14081" y="16217"/>
                      <a:pt x="14182" y="16217"/>
                      <a:pt x="14283" y="16250"/>
                    </a:cubicBezTo>
                    <a:cubicBezTo>
                      <a:pt x="14484" y="16351"/>
                      <a:pt x="14686" y="16452"/>
                      <a:pt x="14854" y="16620"/>
                    </a:cubicBezTo>
                    <a:cubicBezTo>
                      <a:pt x="15224" y="16922"/>
                      <a:pt x="15593" y="17258"/>
                      <a:pt x="15862" y="17628"/>
                    </a:cubicBezTo>
                    <a:cubicBezTo>
                      <a:pt x="15492" y="17762"/>
                      <a:pt x="15156" y="17897"/>
                      <a:pt x="14787" y="17930"/>
                    </a:cubicBezTo>
                    <a:cubicBezTo>
                      <a:pt x="14636" y="17947"/>
                      <a:pt x="14484" y="17956"/>
                      <a:pt x="14333" y="17956"/>
                    </a:cubicBezTo>
                    <a:cubicBezTo>
                      <a:pt x="14182" y="17956"/>
                      <a:pt x="14031" y="17947"/>
                      <a:pt x="13879" y="17930"/>
                    </a:cubicBezTo>
                    <a:cubicBezTo>
                      <a:pt x="13711" y="17897"/>
                      <a:pt x="13543" y="17863"/>
                      <a:pt x="13443" y="17796"/>
                    </a:cubicBezTo>
                    <a:cubicBezTo>
                      <a:pt x="13342" y="17762"/>
                      <a:pt x="13308" y="17729"/>
                      <a:pt x="13207" y="17662"/>
                    </a:cubicBezTo>
                    <a:lnTo>
                      <a:pt x="13106" y="17561"/>
                    </a:lnTo>
                    <a:cubicBezTo>
                      <a:pt x="13039" y="17494"/>
                      <a:pt x="13039" y="17460"/>
                      <a:pt x="13006" y="17426"/>
                    </a:cubicBezTo>
                    <a:cubicBezTo>
                      <a:pt x="13006" y="17393"/>
                      <a:pt x="12972" y="17326"/>
                      <a:pt x="12972" y="17258"/>
                    </a:cubicBezTo>
                    <a:lnTo>
                      <a:pt x="12972" y="17057"/>
                    </a:lnTo>
                    <a:lnTo>
                      <a:pt x="13106" y="16653"/>
                    </a:lnTo>
                    <a:cubicBezTo>
                      <a:pt x="13140" y="16586"/>
                      <a:pt x="13174" y="16452"/>
                      <a:pt x="13275" y="16385"/>
                    </a:cubicBezTo>
                    <a:cubicBezTo>
                      <a:pt x="13308" y="16317"/>
                      <a:pt x="13342" y="16250"/>
                      <a:pt x="13443" y="16217"/>
                    </a:cubicBezTo>
                    <a:cubicBezTo>
                      <a:pt x="13476" y="16183"/>
                      <a:pt x="13510" y="16183"/>
                      <a:pt x="13543" y="16116"/>
                    </a:cubicBezTo>
                    <a:cubicBezTo>
                      <a:pt x="13611" y="16116"/>
                      <a:pt x="13644" y="16082"/>
                      <a:pt x="13678" y="16082"/>
                    </a:cubicBezTo>
                    <a:close/>
                    <a:moveTo>
                      <a:pt x="1512" y="29760"/>
                    </a:moveTo>
                    <a:lnTo>
                      <a:pt x="1512" y="29760"/>
                    </a:lnTo>
                    <a:cubicBezTo>
                      <a:pt x="1505" y="29777"/>
                      <a:pt x="1498" y="29795"/>
                      <a:pt x="1491" y="29812"/>
                    </a:cubicBezTo>
                    <a:lnTo>
                      <a:pt x="1491" y="29812"/>
                    </a:lnTo>
                    <a:cubicBezTo>
                      <a:pt x="1503" y="29801"/>
                      <a:pt x="1512" y="29785"/>
                      <a:pt x="1512" y="29760"/>
                    </a:cubicBezTo>
                    <a:close/>
                    <a:moveTo>
                      <a:pt x="10717" y="1"/>
                    </a:moveTo>
                    <a:cubicBezTo>
                      <a:pt x="10574" y="1"/>
                      <a:pt x="10479" y="111"/>
                      <a:pt x="10452" y="220"/>
                    </a:cubicBezTo>
                    <a:cubicBezTo>
                      <a:pt x="10317" y="624"/>
                      <a:pt x="10250" y="1094"/>
                      <a:pt x="10183" y="1497"/>
                    </a:cubicBezTo>
                    <a:cubicBezTo>
                      <a:pt x="10149" y="1934"/>
                      <a:pt x="10183" y="2337"/>
                      <a:pt x="10284" y="2741"/>
                    </a:cubicBezTo>
                    <a:cubicBezTo>
                      <a:pt x="10418" y="3514"/>
                      <a:pt x="10754" y="4253"/>
                      <a:pt x="11124" y="4925"/>
                    </a:cubicBezTo>
                    <a:cubicBezTo>
                      <a:pt x="11527" y="5631"/>
                      <a:pt x="12098" y="6303"/>
                      <a:pt x="12636" y="6941"/>
                    </a:cubicBezTo>
                    <a:lnTo>
                      <a:pt x="14384" y="8823"/>
                    </a:lnTo>
                    <a:cubicBezTo>
                      <a:pt x="15089" y="9495"/>
                      <a:pt x="15728" y="10201"/>
                      <a:pt x="16333" y="10974"/>
                    </a:cubicBezTo>
                    <a:cubicBezTo>
                      <a:pt x="16770" y="11512"/>
                      <a:pt x="17106" y="12049"/>
                      <a:pt x="17374" y="12688"/>
                    </a:cubicBezTo>
                    <a:cubicBezTo>
                      <a:pt x="17376" y="12693"/>
                      <a:pt x="17378" y="12697"/>
                      <a:pt x="17380" y="12702"/>
                    </a:cubicBezTo>
                    <a:lnTo>
                      <a:pt x="17380" y="12702"/>
                    </a:lnTo>
                    <a:cubicBezTo>
                      <a:pt x="17375" y="12695"/>
                      <a:pt x="17374" y="12688"/>
                      <a:pt x="17374" y="12688"/>
                    </a:cubicBezTo>
                    <a:lnTo>
                      <a:pt x="17374" y="12688"/>
                    </a:lnTo>
                    <a:cubicBezTo>
                      <a:pt x="17374" y="12707"/>
                      <a:pt x="17374" y="12716"/>
                      <a:pt x="17387" y="12719"/>
                    </a:cubicBezTo>
                    <a:lnTo>
                      <a:pt x="17387" y="12719"/>
                    </a:lnTo>
                    <a:cubicBezTo>
                      <a:pt x="17385" y="12713"/>
                      <a:pt x="17383" y="12708"/>
                      <a:pt x="17380" y="12702"/>
                    </a:cubicBezTo>
                    <a:lnTo>
                      <a:pt x="17380" y="12702"/>
                    </a:lnTo>
                    <a:cubicBezTo>
                      <a:pt x="17387" y="12711"/>
                      <a:pt x="17404" y="12722"/>
                      <a:pt x="17442" y="12722"/>
                    </a:cubicBezTo>
                    <a:cubicBezTo>
                      <a:pt x="17413" y="12722"/>
                      <a:pt x="17397" y="12722"/>
                      <a:pt x="17387" y="12719"/>
                    </a:cubicBezTo>
                    <a:lnTo>
                      <a:pt x="17387" y="12719"/>
                    </a:lnTo>
                    <a:cubicBezTo>
                      <a:pt x="17549" y="13115"/>
                      <a:pt x="17679" y="13574"/>
                      <a:pt x="17744" y="14032"/>
                    </a:cubicBezTo>
                    <a:lnTo>
                      <a:pt x="17744" y="13931"/>
                    </a:lnTo>
                    <a:cubicBezTo>
                      <a:pt x="17811" y="14368"/>
                      <a:pt x="17811" y="14772"/>
                      <a:pt x="17744" y="15208"/>
                    </a:cubicBezTo>
                    <a:cubicBezTo>
                      <a:pt x="17710" y="15578"/>
                      <a:pt x="17610" y="15948"/>
                      <a:pt x="17475" y="16351"/>
                    </a:cubicBezTo>
                    <a:cubicBezTo>
                      <a:pt x="17374" y="16519"/>
                      <a:pt x="17307" y="16620"/>
                      <a:pt x="17206" y="16754"/>
                    </a:cubicBezTo>
                    <a:cubicBezTo>
                      <a:pt x="17072" y="16922"/>
                      <a:pt x="16904" y="17057"/>
                      <a:pt x="16736" y="17225"/>
                    </a:cubicBezTo>
                    <a:cubicBezTo>
                      <a:pt x="16669" y="17258"/>
                      <a:pt x="16635" y="17292"/>
                      <a:pt x="16534" y="17393"/>
                    </a:cubicBezTo>
                    <a:cubicBezTo>
                      <a:pt x="16400" y="17225"/>
                      <a:pt x="16299" y="17057"/>
                      <a:pt x="16131" y="16889"/>
                    </a:cubicBezTo>
                    <a:cubicBezTo>
                      <a:pt x="15829" y="16553"/>
                      <a:pt x="15492" y="16250"/>
                      <a:pt x="15123" y="16015"/>
                    </a:cubicBezTo>
                    <a:cubicBezTo>
                      <a:pt x="14820" y="15780"/>
                      <a:pt x="14484" y="15612"/>
                      <a:pt x="14115" y="15544"/>
                    </a:cubicBezTo>
                    <a:cubicBezTo>
                      <a:pt x="14042" y="15537"/>
                      <a:pt x="13968" y="15533"/>
                      <a:pt x="13894" y="15533"/>
                    </a:cubicBezTo>
                    <a:cubicBezTo>
                      <a:pt x="13623" y="15533"/>
                      <a:pt x="13344" y="15588"/>
                      <a:pt x="13106" y="15746"/>
                    </a:cubicBezTo>
                    <a:cubicBezTo>
                      <a:pt x="12770" y="16015"/>
                      <a:pt x="12569" y="16385"/>
                      <a:pt x="12434" y="16754"/>
                    </a:cubicBezTo>
                    <a:cubicBezTo>
                      <a:pt x="12300" y="17090"/>
                      <a:pt x="12300" y="17460"/>
                      <a:pt x="12434" y="17762"/>
                    </a:cubicBezTo>
                    <a:cubicBezTo>
                      <a:pt x="12569" y="18065"/>
                      <a:pt x="12770" y="18300"/>
                      <a:pt x="13073" y="18468"/>
                    </a:cubicBezTo>
                    <a:cubicBezTo>
                      <a:pt x="13342" y="18636"/>
                      <a:pt x="13745" y="18737"/>
                      <a:pt x="14047" y="18737"/>
                    </a:cubicBezTo>
                    <a:cubicBezTo>
                      <a:pt x="14148" y="18745"/>
                      <a:pt x="14249" y="18750"/>
                      <a:pt x="14349" y="18750"/>
                    </a:cubicBezTo>
                    <a:cubicBezTo>
                      <a:pt x="14650" y="18750"/>
                      <a:pt x="14946" y="18712"/>
                      <a:pt x="15224" y="18636"/>
                    </a:cubicBezTo>
                    <a:cubicBezTo>
                      <a:pt x="15627" y="18569"/>
                      <a:pt x="15997" y="18435"/>
                      <a:pt x="16366" y="18267"/>
                    </a:cubicBezTo>
                    <a:cubicBezTo>
                      <a:pt x="16501" y="18535"/>
                      <a:pt x="16669" y="18737"/>
                      <a:pt x="16736" y="18972"/>
                    </a:cubicBezTo>
                    <a:cubicBezTo>
                      <a:pt x="16837" y="19207"/>
                      <a:pt x="16904" y="19376"/>
                      <a:pt x="16904" y="19577"/>
                    </a:cubicBezTo>
                    <a:cubicBezTo>
                      <a:pt x="16904" y="19779"/>
                      <a:pt x="16904" y="19980"/>
                      <a:pt x="16870" y="20216"/>
                    </a:cubicBezTo>
                    <a:cubicBezTo>
                      <a:pt x="16837" y="20451"/>
                      <a:pt x="16803" y="20720"/>
                      <a:pt x="16669" y="20955"/>
                    </a:cubicBezTo>
                    <a:cubicBezTo>
                      <a:pt x="16568" y="21123"/>
                      <a:pt x="16501" y="21291"/>
                      <a:pt x="16366" y="21459"/>
                    </a:cubicBezTo>
                    <a:cubicBezTo>
                      <a:pt x="16232" y="21627"/>
                      <a:pt x="16131" y="21762"/>
                      <a:pt x="15963" y="21896"/>
                    </a:cubicBezTo>
                    <a:cubicBezTo>
                      <a:pt x="15728" y="22064"/>
                      <a:pt x="15492" y="22165"/>
                      <a:pt x="15190" y="22299"/>
                    </a:cubicBezTo>
                    <a:cubicBezTo>
                      <a:pt x="14686" y="22501"/>
                      <a:pt x="14148" y="22635"/>
                      <a:pt x="13611" y="22669"/>
                    </a:cubicBezTo>
                    <a:cubicBezTo>
                      <a:pt x="12703" y="22803"/>
                      <a:pt x="11796" y="22803"/>
                      <a:pt x="10922" y="22837"/>
                    </a:cubicBezTo>
                    <a:cubicBezTo>
                      <a:pt x="10452" y="22904"/>
                      <a:pt x="9948" y="22938"/>
                      <a:pt x="9477" y="22971"/>
                    </a:cubicBezTo>
                    <a:cubicBezTo>
                      <a:pt x="8839" y="23039"/>
                      <a:pt x="8267" y="23173"/>
                      <a:pt x="7662" y="23341"/>
                    </a:cubicBezTo>
                    <a:cubicBezTo>
                      <a:pt x="6486" y="23677"/>
                      <a:pt x="5411" y="24215"/>
                      <a:pt x="4403" y="24954"/>
                    </a:cubicBezTo>
                    <a:cubicBezTo>
                      <a:pt x="3394" y="25660"/>
                      <a:pt x="2554" y="26534"/>
                      <a:pt x="1849" y="27542"/>
                    </a:cubicBezTo>
                    <a:cubicBezTo>
                      <a:pt x="1445" y="28046"/>
                      <a:pt x="1176" y="28583"/>
                      <a:pt x="908" y="29188"/>
                    </a:cubicBezTo>
                    <a:cubicBezTo>
                      <a:pt x="672" y="29760"/>
                      <a:pt x="437" y="30365"/>
                      <a:pt x="269" y="31003"/>
                    </a:cubicBezTo>
                    <a:cubicBezTo>
                      <a:pt x="34" y="31910"/>
                      <a:pt x="0" y="32885"/>
                      <a:pt x="235" y="33792"/>
                    </a:cubicBezTo>
                    <a:cubicBezTo>
                      <a:pt x="706" y="35405"/>
                      <a:pt x="2117" y="36447"/>
                      <a:pt x="3394" y="37422"/>
                    </a:cubicBezTo>
                    <a:cubicBezTo>
                      <a:pt x="3462" y="37489"/>
                      <a:pt x="3562" y="37556"/>
                      <a:pt x="3630" y="37623"/>
                    </a:cubicBezTo>
                    <a:lnTo>
                      <a:pt x="3596" y="37590"/>
                    </a:lnTo>
                    <a:lnTo>
                      <a:pt x="3596" y="37590"/>
                    </a:lnTo>
                    <a:cubicBezTo>
                      <a:pt x="4470" y="38262"/>
                      <a:pt x="5310" y="38968"/>
                      <a:pt x="5982" y="39841"/>
                    </a:cubicBezTo>
                    <a:cubicBezTo>
                      <a:pt x="6385" y="40345"/>
                      <a:pt x="6721" y="40917"/>
                      <a:pt x="6923" y="41454"/>
                    </a:cubicBezTo>
                    <a:cubicBezTo>
                      <a:pt x="7125" y="41992"/>
                      <a:pt x="7293" y="42496"/>
                      <a:pt x="7326" y="43101"/>
                    </a:cubicBezTo>
                    <a:cubicBezTo>
                      <a:pt x="7427" y="43706"/>
                      <a:pt x="7427" y="44311"/>
                      <a:pt x="7326" y="44949"/>
                    </a:cubicBezTo>
                    <a:lnTo>
                      <a:pt x="7326" y="44849"/>
                    </a:lnTo>
                    <a:cubicBezTo>
                      <a:pt x="7259" y="45554"/>
                      <a:pt x="7057" y="46226"/>
                      <a:pt x="6789" y="46899"/>
                    </a:cubicBezTo>
                    <a:cubicBezTo>
                      <a:pt x="6419" y="47739"/>
                      <a:pt x="5948" y="48545"/>
                      <a:pt x="5411" y="49318"/>
                    </a:cubicBezTo>
                    <a:cubicBezTo>
                      <a:pt x="4739" y="50192"/>
                      <a:pt x="3932" y="50931"/>
                      <a:pt x="3092" y="51603"/>
                    </a:cubicBezTo>
                    <a:cubicBezTo>
                      <a:pt x="2857" y="51839"/>
                      <a:pt x="2554" y="52040"/>
                      <a:pt x="2252" y="52208"/>
                    </a:cubicBezTo>
                    <a:cubicBezTo>
                      <a:pt x="2084" y="52275"/>
                      <a:pt x="2050" y="52511"/>
                      <a:pt x="2117" y="52679"/>
                    </a:cubicBezTo>
                    <a:cubicBezTo>
                      <a:pt x="2180" y="52784"/>
                      <a:pt x="2296" y="52836"/>
                      <a:pt x="2407" y="52836"/>
                    </a:cubicBezTo>
                    <a:cubicBezTo>
                      <a:pt x="2473" y="52836"/>
                      <a:pt x="2537" y="52817"/>
                      <a:pt x="2588" y="52780"/>
                    </a:cubicBezTo>
                    <a:cubicBezTo>
                      <a:pt x="3697" y="52074"/>
                      <a:pt x="4638" y="51234"/>
                      <a:pt x="5478" y="50259"/>
                    </a:cubicBezTo>
                    <a:cubicBezTo>
                      <a:pt x="5915" y="49755"/>
                      <a:pt x="6285" y="49251"/>
                      <a:pt x="6654" y="48680"/>
                    </a:cubicBezTo>
                    <a:cubicBezTo>
                      <a:pt x="6990" y="48142"/>
                      <a:pt x="7293" y="47537"/>
                      <a:pt x="7562" y="46966"/>
                    </a:cubicBezTo>
                    <a:cubicBezTo>
                      <a:pt x="7998" y="45790"/>
                      <a:pt x="8234" y="44513"/>
                      <a:pt x="8099" y="43269"/>
                    </a:cubicBezTo>
                    <a:cubicBezTo>
                      <a:pt x="7965" y="41992"/>
                      <a:pt x="7494" y="40816"/>
                      <a:pt x="6789" y="39774"/>
                    </a:cubicBezTo>
                    <a:cubicBezTo>
                      <a:pt x="6318" y="39136"/>
                      <a:pt x="5780" y="38564"/>
                      <a:pt x="5209" y="37993"/>
                    </a:cubicBezTo>
                    <a:cubicBezTo>
                      <a:pt x="4638" y="37489"/>
                      <a:pt x="4033" y="37052"/>
                      <a:pt x="3428" y="36615"/>
                    </a:cubicBezTo>
                    <a:cubicBezTo>
                      <a:pt x="3462" y="36615"/>
                      <a:pt x="3462" y="36649"/>
                      <a:pt x="3529" y="36649"/>
                    </a:cubicBezTo>
                    <a:cubicBezTo>
                      <a:pt x="2790" y="36111"/>
                      <a:pt x="2117" y="35573"/>
                      <a:pt x="1580" y="34901"/>
                    </a:cubicBezTo>
                    <a:cubicBezTo>
                      <a:pt x="1378" y="34599"/>
                      <a:pt x="1210" y="34296"/>
                      <a:pt x="1076" y="34028"/>
                    </a:cubicBezTo>
                    <a:cubicBezTo>
                      <a:pt x="941" y="33725"/>
                      <a:pt x="908" y="33456"/>
                      <a:pt x="874" y="33187"/>
                    </a:cubicBezTo>
                    <a:cubicBezTo>
                      <a:pt x="840" y="32751"/>
                      <a:pt x="840" y="32347"/>
                      <a:pt x="874" y="31944"/>
                    </a:cubicBezTo>
                    <a:cubicBezTo>
                      <a:pt x="1005" y="31222"/>
                      <a:pt x="1200" y="30533"/>
                      <a:pt x="1491" y="29812"/>
                    </a:cubicBezTo>
                    <a:lnTo>
                      <a:pt x="1491" y="29812"/>
                    </a:lnTo>
                    <a:cubicBezTo>
                      <a:pt x="1478" y="29825"/>
                      <a:pt x="1462" y="29833"/>
                      <a:pt x="1452" y="29843"/>
                    </a:cubicBezTo>
                    <a:lnTo>
                      <a:pt x="1452" y="29843"/>
                    </a:lnTo>
                    <a:cubicBezTo>
                      <a:pt x="1788" y="29044"/>
                      <a:pt x="2222" y="28343"/>
                      <a:pt x="2756" y="27643"/>
                    </a:cubicBezTo>
                    <a:cubicBezTo>
                      <a:pt x="3260" y="26970"/>
                      <a:pt x="3898" y="26366"/>
                      <a:pt x="4571" y="25828"/>
                    </a:cubicBezTo>
                    <a:cubicBezTo>
                      <a:pt x="5276" y="25290"/>
                      <a:pt x="6083" y="24820"/>
                      <a:pt x="6923" y="24484"/>
                    </a:cubicBezTo>
                    <a:cubicBezTo>
                      <a:pt x="7830" y="24114"/>
                      <a:pt x="8805" y="23845"/>
                      <a:pt x="9780" y="23711"/>
                    </a:cubicBezTo>
                    <a:lnTo>
                      <a:pt x="9813" y="23711"/>
                    </a:lnTo>
                    <a:cubicBezTo>
                      <a:pt x="10687" y="23610"/>
                      <a:pt x="11594" y="23610"/>
                      <a:pt x="12468" y="23543"/>
                    </a:cubicBezTo>
                    <a:cubicBezTo>
                      <a:pt x="13375" y="23509"/>
                      <a:pt x="14316" y="23442"/>
                      <a:pt x="15190" y="23139"/>
                    </a:cubicBezTo>
                    <a:cubicBezTo>
                      <a:pt x="15627" y="23005"/>
                      <a:pt x="15997" y="22837"/>
                      <a:pt x="16333" y="22602"/>
                    </a:cubicBezTo>
                    <a:cubicBezTo>
                      <a:pt x="16669" y="22333"/>
                      <a:pt x="16971" y="22030"/>
                      <a:pt x="17206" y="21661"/>
                    </a:cubicBezTo>
                    <a:cubicBezTo>
                      <a:pt x="17475" y="21257"/>
                      <a:pt x="17576" y="20787"/>
                      <a:pt x="17643" y="20283"/>
                    </a:cubicBezTo>
                    <a:cubicBezTo>
                      <a:pt x="17677" y="20081"/>
                      <a:pt x="17677" y="19846"/>
                      <a:pt x="17677" y="19644"/>
                    </a:cubicBezTo>
                    <a:cubicBezTo>
                      <a:pt x="17677" y="19476"/>
                      <a:pt x="17643" y="19275"/>
                      <a:pt x="17542" y="19107"/>
                    </a:cubicBezTo>
                    <a:cubicBezTo>
                      <a:pt x="17408" y="18737"/>
                      <a:pt x="17206" y="18334"/>
                      <a:pt x="17005" y="17998"/>
                    </a:cubicBezTo>
                    <a:lnTo>
                      <a:pt x="17005" y="17964"/>
                    </a:lnTo>
                    <a:cubicBezTo>
                      <a:pt x="17173" y="17830"/>
                      <a:pt x="17341" y="17729"/>
                      <a:pt x="17475" y="17594"/>
                    </a:cubicBezTo>
                    <a:cubicBezTo>
                      <a:pt x="17576" y="17460"/>
                      <a:pt x="17710" y="17292"/>
                      <a:pt x="17845" y="17124"/>
                    </a:cubicBezTo>
                    <a:cubicBezTo>
                      <a:pt x="17979" y="16956"/>
                      <a:pt x="18047" y="16788"/>
                      <a:pt x="18147" y="16586"/>
                    </a:cubicBezTo>
                    <a:cubicBezTo>
                      <a:pt x="18215" y="16385"/>
                      <a:pt x="18248" y="16217"/>
                      <a:pt x="18349" y="15981"/>
                    </a:cubicBezTo>
                    <a:cubicBezTo>
                      <a:pt x="18383" y="15780"/>
                      <a:pt x="18416" y="15544"/>
                      <a:pt x="18483" y="15309"/>
                    </a:cubicBezTo>
                    <a:cubicBezTo>
                      <a:pt x="18584" y="14536"/>
                      <a:pt x="18483" y="13730"/>
                      <a:pt x="18248" y="13024"/>
                    </a:cubicBezTo>
                    <a:cubicBezTo>
                      <a:pt x="18047" y="12352"/>
                      <a:pt x="17677" y="11680"/>
                      <a:pt x="17240" y="11075"/>
                    </a:cubicBezTo>
                    <a:cubicBezTo>
                      <a:pt x="16803" y="10436"/>
                      <a:pt x="16299" y="9832"/>
                      <a:pt x="15728" y="9227"/>
                    </a:cubicBezTo>
                    <a:cubicBezTo>
                      <a:pt x="14652" y="8050"/>
                      <a:pt x="13476" y="6975"/>
                      <a:pt x="12468" y="5698"/>
                    </a:cubicBezTo>
                    <a:cubicBezTo>
                      <a:pt x="12459" y="5686"/>
                      <a:pt x="12449" y="5674"/>
                      <a:pt x="12440" y="5661"/>
                    </a:cubicBezTo>
                    <a:lnTo>
                      <a:pt x="12440" y="5661"/>
                    </a:lnTo>
                    <a:cubicBezTo>
                      <a:pt x="12445" y="5664"/>
                      <a:pt x="12453" y="5664"/>
                      <a:pt x="12468" y="5664"/>
                    </a:cubicBezTo>
                    <a:lnTo>
                      <a:pt x="12434" y="5631"/>
                    </a:lnTo>
                    <a:lnTo>
                      <a:pt x="12434" y="5631"/>
                    </a:lnTo>
                    <a:cubicBezTo>
                      <a:pt x="12434" y="5643"/>
                      <a:pt x="12434" y="5651"/>
                      <a:pt x="12436" y="5656"/>
                    </a:cubicBezTo>
                    <a:lnTo>
                      <a:pt x="12436" y="5656"/>
                    </a:lnTo>
                    <a:cubicBezTo>
                      <a:pt x="12012" y="5097"/>
                      <a:pt x="11621" y="4505"/>
                      <a:pt x="11359" y="3850"/>
                    </a:cubicBezTo>
                    <a:cubicBezTo>
                      <a:pt x="11191" y="3446"/>
                      <a:pt x="11090" y="3010"/>
                      <a:pt x="10989" y="2539"/>
                    </a:cubicBezTo>
                    <a:cubicBezTo>
                      <a:pt x="10956" y="2136"/>
                      <a:pt x="10956" y="1699"/>
                      <a:pt x="10989" y="1296"/>
                    </a:cubicBezTo>
                    <a:cubicBezTo>
                      <a:pt x="11023" y="993"/>
                      <a:pt x="11090" y="758"/>
                      <a:pt x="11157" y="456"/>
                    </a:cubicBezTo>
                    <a:cubicBezTo>
                      <a:pt x="11191" y="287"/>
                      <a:pt x="11090" y="86"/>
                      <a:pt x="10922" y="19"/>
                    </a:cubicBezTo>
                    <a:lnTo>
                      <a:pt x="10821" y="19"/>
                    </a:lnTo>
                    <a:cubicBezTo>
                      <a:pt x="10784" y="6"/>
                      <a:pt x="10750" y="1"/>
                      <a:pt x="1071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01" name="Google Shape;201;p11"/>
              <p:cNvSpPr/>
              <p:nvPr/>
            </p:nvSpPr>
            <p:spPr>
              <a:xfrm>
                <a:off x="3190375" y="3050700"/>
                <a:ext cx="927550" cy="983000"/>
              </a:xfrm>
              <a:custGeom>
                <a:avLst/>
                <a:gdLst/>
                <a:ahLst/>
                <a:cxnLst/>
                <a:rect l="l" t="t" r="r" b="b"/>
                <a:pathLst>
                  <a:path w="37102" h="39320" extrusionOk="0">
                    <a:moveTo>
                      <a:pt x="26381" y="1"/>
                    </a:moveTo>
                    <a:cubicBezTo>
                      <a:pt x="25776" y="1"/>
                      <a:pt x="25205" y="68"/>
                      <a:pt x="24567" y="202"/>
                    </a:cubicBezTo>
                    <a:cubicBezTo>
                      <a:pt x="22819" y="572"/>
                      <a:pt x="21072" y="1681"/>
                      <a:pt x="19727" y="3227"/>
                    </a:cubicBezTo>
                    <a:cubicBezTo>
                      <a:pt x="18585" y="4571"/>
                      <a:pt x="17677" y="6251"/>
                      <a:pt x="17173" y="8133"/>
                    </a:cubicBezTo>
                    <a:cubicBezTo>
                      <a:pt x="16904" y="7730"/>
                      <a:pt x="16669" y="7394"/>
                      <a:pt x="16367" y="7058"/>
                    </a:cubicBezTo>
                    <a:cubicBezTo>
                      <a:pt x="15963" y="6554"/>
                      <a:pt x="15493" y="6083"/>
                      <a:pt x="14989" y="5714"/>
                    </a:cubicBezTo>
                    <a:cubicBezTo>
                      <a:pt x="14048" y="5042"/>
                      <a:pt x="13006" y="4504"/>
                      <a:pt x="11830" y="4202"/>
                    </a:cubicBezTo>
                    <a:cubicBezTo>
                      <a:pt x="11292" y="4067"/>
                      <a:pt x="10687" y="3933"/>
                      <a:pt x="10082" y="3899"/>
                    </a:cubicBezTo>
                    <a:lnTo>
                      <a:pt x="9511" y="3899"/>
                    </a:lnTo>
                    <a:cubicBezTo>
                      <a:pt x="9142" y="3899"/>
                      <a:pt x="8738" y="3933"/>
                      <a:pt x="8301" y="4000"/>
                    </a:cubicBezTo>
                    <a:cubicBezTo>
                      <a:pt x="7260" y="4101"/>
                      <a:pt x="6251" y="4437"/>
                      <a:pt x="5243" y="5008"/>
                    </a:cubicBezTo>
                    <a:cubicBezTo>
                      <a:pt x="4437" y="5411"/>
                      <a:pt x="3697" y="5983"/>
                      <a:pt x="3059" y="6722"/>
                    </a:cubicBezTo>
                    <a:cubicBezTo>
                      <a:pt x="2420" y="7394"/>
                      <a:pt x="1916" y="8133"/>
                      <a:pt x="1446" y="8974"/>
                    </a:cubicBezTo>
                    <a:cubicBezTo>
                      <a:pt x="606" y="10587"/>
                      <a:pt x="102" y="12469"/>
                      <a:pt x="34" y="14485"/>
                    </a:cubicBezTo>
                    <a:cubicBezTo>
                      <a:pt x="1" y="15426"/>
                      <a:pt x="34" y="16367"/>
                      <a:pt x="169" y="17341"/>
                    </a:cubicBezTo>
                    <a:cubicBezTo>
                      <a:pt x="303" y="18282"/>
                      <a:pt x="505" y="19190"/>
                      <a:pt x="841" y="20030"/>
                    </a:cubicBezTo>
                    <a:cubicBezTo>
                      <a:pt x="1211" y="21038"/>
                      <a:pt x="1681" y="22046"/>
                      <a:pt x="2219" y="23021"/>
                    </a:cubicBezTo>
                    <a:cubicBezTo>
                      <a:pt x="2723" y="23894"/>
                      <a:pt x="3361" y="24768"/>
                      <a:pt x="4067" y="25608"/>
                    </a:cubicBezTo>
                    <a:cubicBezTo>
                      <a:pt x="5344" y="27087"/>
                      <a:pt x="6890" y="28465"/>
                      <a:pt x="8772" y="29742"/>
                    </a:cubicBezTo>
                    <a:cubicBezTo>
                      <a:pt x="10385" y="30784"/>
                      <a:pt x="12233" y="31792"/>
                      <a:pt x="14384" y="32766"/>
                    </a:cubicBezTo>
                    <a:cubicBezTo>
                      <a:pt x="16770" y="33808"/>
                      <a:pt x="19156" y="34648"/>
                      <a:pt x="22013" y="35623"/>
                    </a:cubicBezTo>
                    <a:cubicBezTo>
                      <a:pt x="21542" y="36093"/>
                      <a:pt x="21139" y="36597"/>
                      <a:pt x="20803" y="37169"/>
                    </a:cubicBezTo>
                    <a:cubicBezTo>
                      <a:pt x="20702" y="37337"/>
                      <a:pt x="20635" y="37538"/>
                      <a:pt x="20567" y="37706"/>
                    </a:cubicBezTo>
                    <a:cubicBezTo>
                      <a:pt x="20534" y="37807"/>
                      <a:pt x="20534" y="37874"/>
                      <a:pt x="20534" y="37975"/>
                    </a:cubicBezTo>
                    <a:lnTo>
                      <a:pt x="20534" y="38311"/>
                    </a:lnTo>
                    <a:cubicBezTo>
                      <a:pt x="20534" y="38379"/>
                      <a:pt x="20567" y="38479"/>
                      <a:pt x="20567" y="38547"/>
                    </a:cubicBezTo>
                    <a:cubicBezTo>
                      <a:pt x="20635" y="38647"/>
                      <a:pt x="20668" y="38782"/>
                      <a:pt x="20702" y="38849"/>
                    </a:cubicBezTo>
                    <a:cubicBezTo>
                      <a:pt x="20803" y="38983"/>
                      <a:pt x="20870" y="39118"/>
                      <a:pt x="21004" y="39185"/>
                    </a:cubicBezTo>
                    <a:cubicBezTo>
                      <a:pt x="21072" y="39286"/>
                      <a:pt x="21206" y="39319"/>
                      <a:pt x="21340" y="39319"/>
                    </a:cubicBezTo>
                    <a:lnTo>
                      <a:pt x="21374" y="39319"/>
                    </a:lnTo>
                    <a:cubicBezTo>
                      <a:pt x="21508" y="39319"/>
                      <a:pt x="21643" y="39286"/>
                      <a:pt x="21710" y="39219"/>
                    </a:cubicBezTo>
                    <a:cubicBezTo>
                      <a:pt x="21845" y="39185"/>
                      <a:pt x="21979" y="39118"/>
                      <a:pt x="22080" y="38983"/>
                    </a:cubicBezTo>
                    <a:cubicBezTo>
                      <a:pt x="22214" y="38849"/>
                      <a:pt x="22349" y="38715"/>
                      <a:pt x="22483" y="38647"/>
                    </a:cubicBezTo>
                    <a:cubicBezTo>
                      <a:pt x="22685" y="38379"/>
                      <a:pt x="22886" y="38143"/>
                      <a:pt x="23054" y="37841"/>
                    </a:cubicBezTo>
                    <a:cubicBezTo>
                      <a:pt x="23088" y="37774"/>
                      <a:pt x="23155" y="37706"/>
                      <a:pt x="23189" y="37639"/>
                    </a:cubicBezTo>
                    <a:lnTo>
                      <a:pt x="23323" y="37874"/>
                    </a:lnTo>
                    <a:cubicBezTo>
                      <a:pt x="23424" y="38110"/>
                      <a:pt x="23659" y="38311"/>
                      <a:pt x="23861" y="38446"/>
                    </a:cubicBezTo>
                    <a:cubicBezTo>
                      <a:pt x="24096" y="38614"/>
                      <a:pt x="24432" y="38681"/>
                      <a:pt x="24768" y="38681"/>
                    </a:cubicBezTo>
                    <a:cubicBezTo>
                      <a:pt x="24936" y="38681"/>
                      <a:pt x="25071" y="38681"/>
                      <a:pt x="25239" y="38647"/>
                    </a:cubicBezTo>
                    <a:cubicBezTo>
                      <a:pt x="25440" y="38614"/>
                      <a:pt x="25676" y="38479"/>
                      <a:pt x="25877" y="38311"/>
                    </a:cubicBezTo>
                    <a:cubicBezTo>
                      <a:pt x="26045" y="38177"/>
                      <a:pt x="26180" y="37975"/>
                      <a:pt x="26280" y="37774"/>
                    </a:cubicBezTo>
                    <a:cubicBezTo>
                      <a:pt x="26381" y="37538"/>
                      <a:pt x="26415" y="37303"/>
                      <a:pt x="26381" y="37001"/>
                    </a:cubicBezTo>
                    <a:cubicBezTo>
                      <a:pt x="26381" y="36866"/>
                      <a:pt x="26348" y="36765"/>
                      <a:pt x="26280" y="36631"/>
                    </a:cubicBezTo>
                    <a:lnTo>
                      <a:pt x="26280" y="36631"/>
                    </a:lnTo>
                    <a:cubicBezTo>
                      <a:pt x="26348" y="36665"/>
                      <a:pt x="26348" y="36665"/>
                      <a:pt x="26381" y="36665"/>
                    </a:cubicBezTo>
                    <a:cubicBezTo>
                      <a:pt x="26684" y="36799"/>
                      <a:pt x="27020" y="36866"/>
                      <a:pt x="27289" y="36933"/>
                    </a:cubicBezTo>
                    <a:cubicBezTo>
                      <a:pt x="27524" y="36967"/>
                      <a:pt x="27692" y="36967"/>
                      <a:pt x="27860" y="36967"/>
                    </a:cubicBezTo>
                    <a:cubicBezTo>
                      <a:pt x="27961" y="36967"/>
                      <a:pt x="28062" y="36967"/>
                      <a:pt x="28196" y="36933"/>
                    </a:cubicBezTo>
                    <a:cubicBezTo>
                      <a:pt x="28297" y="36933"/>
                      <a:pt x="28398" y="36833"/>
                      <a:pt x="28465" y="36799"/>
                    </a:cubicBezTo>
                    <a:lnTo>
                      <a:pt x="28633" y="36631"/>
                    </a:lnTo>
                    <a:cubicBezTo>
                      <a:pt x="28700" y="36597"/>
                      <a:pt x="28700" y="36497"/>
                      <a:pt x="28734" y="36463"/>
                    </a:cubicBezTo>
                    <a:cubicBezTo>
                      <a:pt x="28767" y="36362"/>
                      <a:pt x="28767" y="36261"/>
                      <a:pt x="28734" y="36093"/>
                    </a:cubicBezTo>
                    <a:cubicBezTo>
                      <a:pt x="28734" y="36026"/>
                      <a:pt x="28700" y="35992"/>
                      <a:pt x="28700" y="35959"/>
                    </a:cubicBezTo>
                    <a:cubicBezTo>
                      <a:pt x="28633" y="35824"/>
                      <a:pt x="28566" y="35757"/>
                      <a:pt x="28532" y="35656"/>
                    </a:cubicBezTo>
                    <a:cubicBezTo>
                      <a:pt x="28263" y="35287"/>
                      <a:pt x="27860" y="35119"/>
                      <a:pt x="27557" y="35018"/>
                    </a:cubicBezTo>
                    <a:cubicBezTo>
                      <a:pt x="27121" y="34917"/>
                      <a:pt x="26684" y="34850"/>
                      <a:pt x="26280" y="34816"/>
                    </a:cubicBezTo>
                    <a:cubicBezTo>
                      <a:pt x="27894" y="33606"/>
                      <a:pt x="29372" y="32061"/>
                      <a:pt x="30750" y="30212"/>
                    </a:cubicBezTo>
                    <a:cubicBezTo>
                      <a:pt x="32128" y="28297"/>
                      <a:pt x="33405" y="26180"/>
                      <a:pt x="34413" y="23827"/>
                    </a:cubicBezTo>
                    <a:cubicBezTo>
                      <a:pt x="35320" y="21744"/>
                      <a:pt x="35993" y="19627"/>
                      <a:pt x="36463" y="17509"/>
                    </a:cubicBezTo>
                    <a:cubicBezTo>
                      <a:pt x="36665" y="16468"/>
                      <a:pt x="36833" y="15359"/>
                      <a:pt x="36967" y="14317"/>
                    </a:cubicBezTo>
                    <a:cubicBezTo>
                      <a:pt x="37102" y="13141"/>
                      <a:pt x="37102" y="12065"/>
                      <a:pt x="37001" y="10990"/>
                    </a:cubicBezTo>
                    <a:cubicBezTo>
                      <a:pt x="36933" y="10049"/>
                      <a:pt x="36765" y="9142"/>
                      <a:pt x="36530" y="8369"/>
                    </a:cubicBezTo>
                    <a:cubicBezTo>
                      <a:pt x="36463" y="8066"/>
                      <a:pt x="36329" y="7764"/>
                      <a:pt x="36194" y="7461"/>
                    </a:cubicBezTo>
                    <a:cubicBezTo>
                      <a:pt x="35993" y="6722"/>
                      <a:pt x="35656" y="6016"/>
                      <a:pt x="35287" y="5344"/>
                    </a:cubicBezTo>
                    <a:cubicBezTo>
                      <a:pt x="34816" y="4504"/>
                      <a:pt x="34178" y="3731"/>
                      <a:pt x="33472" y="3025"/>
                    </a:cubicBezTo>
                    <a:cubicBezTo>
                      <a:pt x="32666" y="2252"/>
                      <a:pt x="31758" y="1580"/>
                      <a:pt x="30649" y="1043"/>
                    </a:cubicBezTo>
                    <a:cubicBezTo>
                      <a:pt x="30145" y="807"/>
                      <a:pt x="29607" y="572"/>
                      <a:pt x="29103" y="370"/>
                    </a:cubicBezTo>
                    <a:cubicBezTo>
                      <a:pt x="28599" y="202"/>
                      <a:pt x="28095" y="68"/>
                      <a:pt x="27557" y="34"/>
                    </a:cubicBezTo>
                    <a:cubicBezTo>
                      <a:pt x="27121" y="34"/>
                      <a:pt x="26751" y="1"/>
                      <a:pt x="2638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02" name="Google Shape;202;p11"/>
              <p:cNvSpPr/>
              <p:nvPr/>
            </p:nvSpPr>
            <p:spPr>
              <a:xfrm>
                <a:off x="3867550" y="3096925"/>
                <a:ext cx="215100" cy="352025"/>
              </a:xfrm>
              <a:custGeom>
                <a:avLst/>
                <a:gdLst/>
                <a:ahLst/>
                <a:cxnLst/>
                <a:rect l="l" t="t" r="r" b="b"/>
                <a:pathLst>
                  <a:path w="8604" h="14081" extrusionOk="0">
                    <a:moveTo>
                      <a:pt x="1277" y="0"/>
                    </a:moveTo>
                    <a:cubicBezTo>
                      <a:pt x="1143" y="0"/>
                      <a:pt x="1042" y="0"/>
                      <a:pt x="941" y="34"/>
                    </a:cubicBezTo>
                    <a:cubicBezTo>
                      <a:pt x="639" y="135"/>
                      <a:pt x="336" y="336"/>
                      <a:pt x="202" y="639"/>
                    </a:cubicBezTo>
                    <a:cubicBezTo>
                      <a:pt x="34" y="907"/>
                      <a:pt x="0" y="1244"/>
                      <a:pt x="101" y="1546"/>
                    </a:cubicBezTo>
                    <a:cubicBezTo>
                      <a:pt x="168" y="1815"/>
                      <a:pt x="370" y="2151"/>
                      <a:pt x="672" y="2252"/>
                    </a:cubicBezTo>
                    <a:cubicBezTo>
                      <a:pt x="1143" y="2453"/>
                      <a:pt x="1613" y="2722"/>
                      <a:pt x="2016" y="2957"/>
                    </a:cubicBezTo>
                    <a:lnTo>
                      <a:pt x="2050" y="3025"/>
                    </a:lnTo>
                    <a:cubicBezTo>
                      <a:pt x="2453" y="3226"/>
                      <a:pt x="2856" y="3495"/>
                      <a:pt x="3327" y="3798"/>
                    </a:cubicBezTo>
                    <a:cubicBezTo>
                      <a:pt x="3965" y="4268"/>
                      <a:pt x="4537" y="4873"/>
                      <a:pt x="5074" y="5545"/>
                    </a:cubicBezTo>
                    <a:cubicBezTo>
                      <a:pt x="5679" y="6284"/>
                      <a:pt x="6183" y="7091"/>
                      <a:pt x="6520" y="7897"/>
                    </a:cubicBezTo>
                    <a:cubicBezTo>
                      <a:pt x="7024" y="9040"/>
                      <a:pt x="7360" y="10216"/>
                      <a:pt x="7528" y="11292"/>
                    </a:cubicBezTo>
                    <a:cubicBezTo>
                      <a:pt x="7629" y="12165"/>
                      <a:pt x="7629" y="12938"/>
                      <a:pt x="7561" y="13644"/>
                    </a:cubicBezTo>
                    <a:cubicBezTo>
                      <a:pt x="7528" y="13812"/>
                      <a:pt x="7729" y="14014"/>
                      <a:pt x="7897" y="14081"/>
                    </a:cubicBezTo>
                    <a:lnTo>
                      <a:pt x="7998" y="14081"/>
                    </a:lnTo>
                    <a:cubicBezTo>
                      <a:pt x="8133" y="14081"/>
                      <a:pt x="8368" y="13946"/>
                      <a:pt x="8401" y="13745"/>
                    </a:cubicBezTo>
                    <a:cubicBezTo>
                      <a:pt x="8469" y="13174"/>
                      <a:pt x="8536" y="12569"/>
                      <a:pt x="8569" y="11897"/>
                    </a:cubicBezTo>
                    <a:cubicBezTo>
                      <a:pt x="8603" y="11258"/>
                      <a:pt x="8569" y="10620"/>
                      <a:pt x="8536" y="9914"/>
                    </a:cubicBezTo>
                    <a:cubicBezTo>
                      <a:pt x="8469" y="9275"/>
                      <a:pt x="8368" y="8603"/>
                      <a:pt x="8200" y="7864"/>
                    </a:cubicBezTo>
                    <a:cubicBezTo>
                      <a:pt x="8032" y="7192"/>
                      <a:pt x="7864" y="6553"/>
                      <a:pt x="7595" y="5915"/>
                    </a:cubicBezTo>
                    <a:cubicBezTo>
                      <a:pt x="7360" y="5243"/>
                      <a:pt x="7024" y="4604"/>
                      <a:pt x="6620" y="3999"/>
                    </a:cubicBezTo>
                    <a:lnTo>
                      <a:pt x="6116" y="3226"/>
                    </a:lnTo>
                    <a:cubicBezTo>
                      <a:pt x="5881" y="2890"/>
                      <a:pt x="5579" y="2554"/>
                      <a:pt x="5276" y="2218"/>
                    </a:cubicBezTo>
                    <a:cubicBezTo>
                      <a:pt x="4839" y="1714"/>
                      <a:pt x="4268" y="1244"/>
                      <a:pt x="3562" y="840"/>
                    </a:cubicBezTo>
                    <a:cubicBezTo>
                      <a:pt x="2991" y="471"/>
                      <a:pt x="2252" y="202"/>
                      <a:pt x="1512" y="34"/>
                    </a:cubicBezTo>
                    <a:cubicBezTo>
                      <a:pt x="1479" y="0"/>
                      <a:pt x="1344" y="0"/>
                      <a:pt x="1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03" name="Google Shape;203;p11"/>
              <p:cNvSpPr/>
              <p:nvPr/>
            </p:nvSpPr>
            <p:spPr>
              <a:xfrm>
                <a:off x="4040600" y="3458175"/>
                <a:ext cx="42050" cy="39525"/>
              </a:xfrm>
              <a:custGeom>
                <a:avLst/>
                <a:gdLst/>
                <a:ahLst/>
                <a:cxnLst/>
                <a:rect l="l" t="t" r="r" b="b"/>
                <a:pathLst>
                  <a:path w="1682" h="1581" extrusionOk="0">
                    <a:moveTo>
                      <a:pt x="774" y="1"/>
                    </a:moveTo>
                    <a:cubicBezTo>
                      <a:pt x="572" y="1"/>
                      <a:pt x="337" y="169"/>
                      <a:pt x="236" y="269"/>
                    </a:cubicBezTo>
                    <a:cubicBezTo>
                      <a:pt x="102" y="437"/>
                      <a:pt x="1" y="673"/>
                      <a:pt x="68" y="874"/>
                    </a:cubicBezTo>
                    <a:cubicBezTo>
                      <a:pt x="102" y="1076"/>
                      <a:pt x="169" y="1278"/>
                      <a:pt x="337" y="1412"/>
                    </a:cubicBezTo>
                    <a:cubicBezTo>
                      <a:pt x="505" y="1546"/>
                      <a:pt x="707" y="1580"/>
                      <a:pt x="942" y="1580"/>
                    </a:cubicBezTo>
                    <a:cubicBezTo>
                      <a:pt x="1143" y="1580"/>
                      <a:pt x="1345" y="1412"/>
                      <a:pt x="1479" y="1278"/>
                    </a:cubicBezTo>
                    <a:cubicBezTo>
                      <a:pt x="1614" y="1110"/>
                      <a:pt x="1681" y="908"/>
                      <a:pt x="1647" y="706"/>
                    </a:cubicBezTo>
                    <a:cubicBezTo>
                      <a:pt x="1614" y="505"/>
                      <a:pt x="1513" y="269"/>
                      <a:pt x="1345" y="169"/>
                    </a:cubicBezTo>
                    <a:cubicBezTo>
                      <a:pt x="1177" y="34"/>
                      <a:pt x="1009"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04" name="Google Shape;204;p11"/>
              <p:cNvSpPr/>
              <p:nvPr/>
            </p:nvSpPr>
            <p:spPr>
              <a:xfrm>
                <a:off x="3424775" y="3469125"/>
                <a:ext cx="109250" cy="97425"/>
              </a:xfrm>
              <a:custGeom>
                <a:avLst/>
                <a:gdLst/>
                <a:ahLst/>
                <a:cxnLst/>
                <a:rect l="l" t="t" r="r" b="b"/>
                <a:pathLst>
                  <a:path w="4370" h="3897" extrusionOk="0">
                    <a:moveTo>
                      <a:pt x="2178" y="0"/>
                    </a:moveTo>
                    <a:cubicBezTo>
                      <a:pt x="1970" y="0"/>
                      <a:pt x="1757" y="32"/>
                      <a:pt x="1547" y="100"/>
                    </a:cubicBezTo>
                    <a:cubicBezTo>
                      <a:pt x="538" y="436"/>
                      <a:pt x="1" y="1545"/>
                      <a:pt x="337" y="2587"/>
                    </a:cubicBezTo>
                    <a:cubicBezTo>
                      <a:pt x="632" y="3392"/>
                      <a:pt x="1377" y="3897"/>
                      <a:pt x="2178" y="3897"/>
                    </a:cubicBezTo>
                    <a:cubicBezTo>
                      <a:pt x="2381" y="3897"/>
                      <a:pt x="2587" y="3865"/>
                      <a:pt x="2790" y="3797"/>
                    </a:cubicBezTo>
                    <a:cubicBezTo>
                      <a:pt x="3798" y="3461"/>
                      <a:pt x="4370" y="2385"/>
                      <a:pt x="4033" y="1310"/>
                    </a:cubicBezTo>
                    <a:cubicBezTo>
                      <a:pt x="3765" y="505"/>
                      <a:pt x="3004" y="0"/>
                      <a:pt x="217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05" name="Google Shape;205;p11"/>
              <p:cNvSpPr/>
              <p:nvPr/>
            </p:nvSpPr>
            <p:spPr>
              <a:xfrm>
                <a:off x="3849900" y="3370825"/>
                <a:ext cx="109250" cy="97025"/>
              </a:xfrm>
              <a:custGeom>
                <a:avLst/>
                <a:gdLst/>
                <a:ahLst/>
                <a:cxnLst/>
                <a:rect l="l" t="t" r="r" b="b"/>
                <a:pathLst>
                  <a:path w="4370" h="3881" extrusionOk="0">
                    <a:moveTo>
                      <a:pt x="2178" y="0"/>
                    </a:moveTo>
                    <a:cubicBezTo>
                      <a:pt x="1969" y="0"/>
                      <a:pt x="1756" y="33"/>
                      <a:pt x="1546" y="100"/>
                    </a:cubicBezTo>
                    <a:cubicBezTo>
                      <a:pt x="538" y="436"/>
                      <a:pt x="0" y="1512"/>
                      <a:pt x="336" y="2554"/>
                    </a:cubicBezTo>
                    <a:cubicBezTo>
                      <a:pt x="609" y="3372"/>
                      <a:pt x="1370" y="3881"/>
                      <a:pt x="2222" y="3881"/>
                    </a:cubicBezTo>
                    <a:cubicBezTo>
                      <a:pt x="2419" y="3881"/>
                      <a:pt x="2621" y="3854"/>
                      <a:pt x="2823" y="3797"/>
                    </a:cubicBezTo>
                    <a:cubicBezTo>
                      <a:pt x="3831" y="3461"/>
                      <a:pt x="4369" y="2352"/>
                      <a:pt x="4033" y="1310"/>
                    </a:cubicBezTo>
                    <a:cubicBezTo>
                      <a:pt x="3765" y="505"/>
                      <a:pt x="3004" y="0"/>
                      <a:pt x="217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06" name="Google Shape;206;p11"/>
              <p:cNvSpPr/>
              <p:nvPr/>
            </p:nvSpPr>
            <p:spPr>
              <a:xfrm>
                <a:off x="3597850" y="3431300"/>
                <a:ext cx="206700" cy="155450"/>
              </a:xfrm>
              <a:custGeom>
                <a:avLst/>
                <a:gdLst/>
                <a:ahLst/>
                <a:cxnLst/>
                <a:rect l="l" t="t" r="r" b="b"/>
                <a:pathLst>
                  <a:path w="8268" h="6218" extrusionOk="0">
                    <a:moveTo>
                      <a:pt x="5377" y="3999"/>
                    </a:moveTo>
                    <a:cubicBezTo>
                      <a:pt x="5512" y="3999"/>
                      <a:pt x="5680" y="3999"/>
                      <a:pt x="5781" y="4066"/>
                    </a:cubicBezTo>
                    <a:cubicBezTo>
                      <a:pt x="6016" y="4100"/>
                      <a:pt x="6184" y="4134"/>
                      <a:pt x="6352" y="4201"/>
                    </a:cubicBezTo>
                    <a:cubicBezTo>
                      <a:pt x="6520" y="4302"/>
                      <a:pt x="6621" y="4369"/>
                      <a:pt x="6789" y="4470"/>
                    </a:cubicBezTo>
                    <a:lnTo>
                      <a:pt x="6923" y="4604"/>
                    </a:lnTo>
                    <a:cubicBezTo>
                      <a:pt x="6856" y="4671"/>
                      <a:pt x="6722" y="4772"/>
                      <a:pt x="6621" y="4907"/>
                    </a:cubicBezTo>
                    <a:cubicBezTo>
                      <a:pt x="6352" y="5108"/>
                      <a:pt x="6050" y="5310"/>
                      <a:pt x="5680" y="5478"/>
                    </a:cubicBezTo>
                    <a:cubicBezTo>
                      <a:pt x="5277" y="5646"/>
                      <a:pt x="4873" y="5780"/>
                      <a:pt x="4437" y="5848"/>
                    </a:cubicBezTo>
                    <a:cubicBezTo>
                      <a:pt x="4201" y="5881"/>
                      <a:pt x="3899" y="5881"/>
                      <a:pt x="3664" y="5881"/>
                    </a:cubicBezTo>
                    <a:cubicBezTo>
                      <a:pt x="3496" y="5881"/>
                      <a:pt x="3328" y="5881"/>
                      <a:pt x="3193" y="5848"/>
                    </a:cubicBezTo>
                    <a:cubicBezTo>
                      <a:pt x="3059" y="5848"/>
                      <a:pt x="2857" y="5814"/>
                      <a:pt x="2689" y="5780"/>
                    </a:cubicBezTo>
                    <a:cubicBezTo>
                      <a:pt x="2723" y="5680"/>
                      <a:pt x="2723" y="5612"/>
                      <a:pt x="2756" y="5512"/>
                    </a:cubicBezTo>
                    <a:cubicBezTo>
                      <a:pt x="2857" y="5343"/>
                      <a:pt x="2924" y="5175"/>
                      <a:pt x="3059" y="5041"/>
                    </a:cubicBezTo>
                    <a:cubicBezTo>
                      <a:pt x="3193" y="4907"/>
                      <a:pt x="3361" y="4772"/>
                      <a:pt x="3529" y="4604"/>
                    </a:cubicBezTo>
                    <a:cubicBezTo>
                      <a:pt x="3731" y="4436"/>
                      <a:pt x="3932" y="4302"/>
                      <a:pt x="4201" y="4201"/>
                    </a:cubicBezTo>
                    <a:cubicBezTo>
                      <a:pt x="4437" y="4100"/>
                      <a:pt x="4739" y="4066"/>
                      <a:pt x="5041" y="3999"/>
                    </a:cubicBezTo>
                    <a:close/>
                    <a:moveTo>
                      <a:pt x="6755" y="0"/>
                    </a:moveTo>
                    <a:cubicBezTo>
                      <a:pt x="6634" y="61"/>
                      <a:pt x="6538" y="73"/>
                      <a:pt x="6450" y="73"/>
                    </a:cubicBezTo>
                    <a:cubicBezTo>
                      <a:pt x="6392" y="73"/>
                      <a:pt x="6339" y="67"/>
                      <a:pt x="6285" y="67"/>
                    </a:cubicBezTo>
                    <a:cubicBezTo>
                      <a:pt x="6184" y="67"/>
                      <a:pt x="6016" y="67"/>
                      <a:pt x="5814" y="101"/>
                    </a:cubicBezTo>
                    <a:cubicBezTo>
                      <a:pt x="5714" y="135"/>
                      <a:pt x="5546" y="202"/>
                      <a:pt x="5377" y="303"/>
                    </a:cubicBezTo>
                    <a:cubicBezTo>
                      <a:pt x="5209" y="403"/>
                      <a:pt x="5075" y="538"/>
                      <a:pt x="4941" y="639"/>
                    </a:cubicBezTo>
                    <a:cubicBezTo>
                      <a:pt x="4806" y="740"/>
                      <a:pt x="4739" y="874"/>
                      <a:pt x="4605" y="975"/>
                    </a:cubicBezTo>
                    <a:cubicBezTo>
                      <a:pt x="4470" y="1109"/>
                      <a:pt x="4369" y="1277"/>
                      <a:pt x="4201" y="1378"/>
                    </a:cubicBezTo>
                    <a:cubicBezTo>
                      <a:pt x="4033" y="1479"/>
                      <a:pt x="3899" y="1580"/>
                      <a:pt x="3764" y="1647"/>
                    </a:cubicBezTo>
                    <a:cubicBezTo>
                      <a:pt x="3697" y="1714"/>
                      <a:pt x="3630" y="1714"/>
                      <a:pt x="3563" y="1748"/>
                    </a:cubicBezTo>
                    <a:lnTo>
                      <a:pt x="3529" y="1748"/>
                    </a:lnTo>
                    <a:cubicBezTo>
                      <a:pt x="3193" y="1748"/>
                      <a:pt x="2891" y="1680"/>
                      <a:pt x="2689" y="1613"/>
                    </a:cubicBezTo>
                    <a:cubicBezTo>
                      <a:pt x="2521" y="1580"/>
                      <a:pt x="2353" y="1546"/>
                      <a:pt x="2118" y="1479"/>
                    </a:cubicBezTo>
                    <a:cubicBezTo>
                      <a:pt x="2050" y="1445"/>
                      <a:pt x="1950" y="1445"/>
                      <a:pt x="1882" y="1412"/>
                    </a:cubicBezTo>
                    <a:cubicBezTo>
                      <a:pt x="1748" y="1344"/>
                      <a:pt x="1614" y="1344"/>
                      <a:pt x="1513" y="1344"/>
                    </a:cubicBezTo>
                    <a:cubicBezTo>
                      <a:pt x="1244" y="1344"/>
                      <a:pt x="1042" y="1412"/>
                      <a:pt x="874" y="1479"/>
                    </a:cubicBezTo>
                    <a:cubicBezTo>
                      <a:pt x="673" y="1580"/>
                      <a:pt x="538" y="1680"/>
                      <a:pt x="370" y="1849"/>
                    </a:cubicBezTo>
                    <a:cubicBezTo>
                      <a:pt x="101" y="2117"/>
                      <a:pt x="1" y="2487"/>
                      <a:pt x="1" y="2991"/>
                    </a:cubicBezTo>
                    <a:cubicBezTo>
                      <a:pt x="1" y="3159"/>
                      <a:pt x="1" y="3361"/>
                      <a:pt x="34" y="3630"/>
                    </a:cubicBezTo>
                    <a:cubicBezTo>
                      <a:pt x="68" y="3831"/>
                      <a:pt x="101" y="4100"/>
                      <a:pt x="236" y="4268"/>
                    </a:cubicBezTo>
                    <a:cubicBezTo>
                      <a:pt x="404" y="4604"/>
                      <a:pt x="605" y="4940"/>
                      <a:pt x="908" y="5209"/>
                    </a:cubicBezTo>
                    <a:cubicBezTo>
                      <a:pt x="1177" y="5478"/>
                      <a:pt x="1446" y="5680"/>
                      <a:pt x="1849" y="5848"/>
                    </a:cubicBezTo>
                    <a:cubicBezTo>
                      <a:pt x="2387" y="6116"/>
                      <a:pt x="3025" y="6217"/>
                      <a:pt x="3731" y="6217"/>
                    </a:cubicBezTo>
                    <a:lnTo>
                      <a:pt x="4201" y="6217"/>
                    </a:lnTo>
                    <a:cubicBezTo>
                      <a:pt x="4974" y="6150"/>
                      <a:pt x="5781" y="5881"/>
                      <a:pt x="6520" y="5512"/>
                    </a:cubicBezTo>
                    <a:cubicBezTo>
                      <a:pt x="7226" y="5108"/>
                      <a:pt x="7763" y="4503"/>
                      <a:pt x="8032" y="3831"/>
                    </a:cubicBezTo>
                    <a:cubicBezTo>
                      <a:pt x="8200" y="3495"/>
                      <a:pt x="8268" y="3092"/>
                      <a:pt x="8268" y="2655"/>
                    </a:cubicBezTo>
                    <a:cubicBezTo>
                      <a:pt x="8268" y="2185"/>
                      <a:pt x="8200" y="1748"/>
                      <a:pt x="8066" y="1311"/>
                    </a:cubicBezTo>
                    <a:cubicBezTo>
                      <a:pt x="7932" y="975"/>
                      <a:pt x="7730" y="571"/>
                      <a:pt x="7293" y="269"/>
                    </a:cubicBezTo>
                    <a:cubicBezTo>
                      <a:pt x="7125" y="135"/>
                      <a:pt x="6923" y="67"/>
                      <a:pt x="6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207" name="Google Shape;207;p11"/>
            <p:cNvSpPr/>
            <p:nvPr/>
          </p:nvSpPr>
          <p:spPr>
            <a:xfrm>
              <a:off x="6933975" y="1187700"/>
              <a:ext cx="115125" cy="56325"/>
            </a:xfrm>
            <a:custGeom>
              <a:avLst/>
              <a:gdLst/>
              <a:ahLst/>
              <a:cxnLst/>
              <a:rect l="l" t="t" r="r" b="b"/>
              <a:pathLst>
                <a:path w="4605" h="2253" extrusionOk="0">
                  <a:moveTo>
                    <a:pt x="3126" y="1"/>
                  </a:moveTo>
                  <a:cubicBezTo>
                    <a:pt x="2723" y="1"/>
                    <a:pt x="2320" y="68"/>
                    <a:pt x="1883" y="202"/>
                  </a:cubicBezTo>
                  <a:cubicBezTo>
                    <a:pt x="1412" y="337"/>
                    <a:pt x="1043" y="538"/>
                    <a:pt x="673" y="807"/>
                  </a:cubicBezTo>
                  <a:cubicBezTo>
                    <a:pt x="538" y="908"/>
                    <a:pt x="404" y="1042"/>
                    <a:pt x="270" y="1210"/>
                  </a:cubicBezTo>
                  <a:cubicBezTo>
                    <a:pt x="135" y="1378"/>
                    <a:pt x="68" y="1580"/>
                    <a:pt x="1" y="1815"/>
                  </a:cubicBezTo>
                  <a:cubicBezTo>
                    <a:pt x="1" y="1849"/>
                    <a:pt x="1" y="1916"/>
                    <a:pt x="68" y="1983"/>
                  </a:cubicBezTo>
                  <a:cubicBezTo>
                    <a:pt x="102" y="2017"/>
                    <a:pt x="135" y="2051"/>
                    <a:pt x="236" y="2084"/>
                  </a:cubicBezTo>
                  <a:cubicBezTo>
                    <a:pt x="270" y="2151"/>
                    <a:pt x="303" y="2151"/>
                    <a:pt x="337" y="2151"/>
                  </a:cubicBezTo>
                  <a:cubicBezTo>
                    <a:pt x="606" y="2219"/>
                    <a:pt x="908" y="2252"/>
                    <a:pt x="1211" y="2252"/>
                  </a:cubicBezTo>
                  <a:cubicBezTo>
                    <a:pt x="1345" y="2252"/>
                    <a:pt x="1547" y="2252"/>
                    <a:pt x="1681" y="2219"/>
                  </a:cubicBezTo>
                  <a:cubicBezTo>
                    <a:pt x="2185" y="2185"/>
                    <a:pt x="2689" y="2051"/>
                    <a:pt x="3227" y="1849"/>
                  </a:cubicBezTo>
                  <a:cubicBezTo>
                    <a:pt x="3429" y="1748"/>
                    <a:pt x="3630" y="1681"/>
                    <a:pt x="3832" y="1546"/>
                  </a:cubicBezTo>
                  <a:cubicBezTo>
                    <a:pt x="4101" y="1412"/>
                    <a:pt x="4269" y="1311"/>
                    <a:pt x="4437" y="1143"/>
                  </a:cubicBezTo>
                  <a:cubicBezTo>
                    <a:pt x="4571" y="1009"/>
                    <a:pt x="4605" y="841"/>
                    <a:pt x="4605" y="673"/>
                  </a:cubicBezTo>
                  <a:cubicBezTo>
                    <a:pt x="4605" y="572"/>
                    <a:pt x="4538" y="505"/>
                    <a:pt x="4470" y="471"/>
                  </a:cubicBezTo>
                  <a:cubicBezTo>
                    <a:pt x="4437" y="370"/>
                    <a:pt x="4336" y="337"/>
                    <a:pt x="4269" y="303"/>
                  </a:cubicBezTo>
                  <a:cubicBezTo>
                    <a:pt x="4168" y="236"/>
                    <a:pt x="4101" y="202"/>
                    <a:pt x="4033" y="202"/>
                  </a:cubicBezTo>
                  <a:cubicBezTo>
                    <a:pt x="3966" y="169"/>
                    <a:pt x="3832" y="169"/>
                    <a:pt x="3765" y="135"/>
                  </a:cubicBezTo>
                  <a:cubicBezTo>
                    <a:pt x="3563" y="34"/>
                    <a:pt x="3328" y="34"/>
                    <a:pt x="312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208" name="Google Shape;208;p11"/>
          <p:cNvSpPr/>
          <p:nvPr/>
        </p:nvSpPr>
        <p:spPr>
          <a:xfrm>
            <a:off x="-692800" y="5086224"/>
            <a:ext cx="2659469" cy="2272864"/>
          </a:xfrm>
          <a:custGeom>
            <a:avLst/>
            <a:gdLst/>
            <a:ahLst/>
            <a:cxnLst/>
            <a:rect l="l" t="t" r="r" b="b"/>
            <a:pathLst>
              <a:path w="75862" h="64834" extrusionOk="0">
                <a:moveTo>
                  <a:pt x="27486" y="0"/>
                </a:moveTo>
                <a:cubicBezTo>
                  <a:pt x="14236" y="0"/>
                  <a:pt x="1" y="11922"/>
                  <a:pt x="4464" y="32119"/>
                </a:cubicBezTo>
                <a:cubicBezTo>
                  <a:pt x="7408" y="45427"/>
                  <a:pt x="22347" y="63271"/>
                  <a:pt x="37187" y="64723"/>
                </a:cubicBezTo>
                <a:cubicBezTo>
                  <a:pt x="37950" y="64797"/>
                  <a:pt x="38755" y="64834"/>
                  <a:pt x="39593" y="64834"/>
                </a:cubicBezTo>
                <a:cubicBezTo>
                  <a:pt x="53258" y="64834"/>
                  <a:pt x="75862" y="55139"/>
                  <a:pt x="69752" y="38346"/>
                </a:cubicBezTo>
                <a:cubicBezTo>
                  <a:pt x="65972" y="27962"/>
                  <a:pt x="54255" y="28240"/>
                  <a:pt x="46358" y="22849"/>
                </a:cubicBezTo>
                <a:cubicBezTo>
                  <a:pt x="38023" y="17180"/>
                  <a:pt x="46975" y="9660"/>
                  <a:pt x="39376" y="3872"/>
                </a:cubicBezTo>
                <a:cubicBezTo>
                  <a:pt x="35961" y="1249"/>
                  <a:pt x="31775" y="0"/>
                  <a:pt x="27486" y="0"/>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09" name="Google Shape;209;p11"/>
          <p:cNvSpPr/>
          <p:nvPr/>
        </p:nvSpPr>
        <p:spPr>
          <a:xfrm rot="-5400000">
            <a:off x="1418363" y="6009581"/>
            <a:ext cx="483296" cy="426177"/>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10" name="Google Shape;210;p11"/>
          <p:cNvSpPr/>
          <p:nvPr/>
        </p:nvSpPr>
        <p:spPr>
          <a:xfrm rot="-2700000">
            <a:off x="10759029" y="-656957"/>
            <a:ext cx="1869916" cy="2295644"/>
          </a:xfrm>
          <a:custGeom>
            <a:avLst/>
            <a:gdLst/>
            <a:ahLst/>
            <a:cxnLst/>
            <a:rect l="l" t="t" r="r" b="b"/>
            <a:pathLst>
              <a:path w="56098" h="68870" extrusionOk="0">
                <a:moveTo>
                  <a:pt x="27540" y="1"/>
                </a:moveTo>
                <a:cubicBezTo>
                  <a:pt x="25846" y="1"/>
                  <a:pt x="24016" y="377"/>
                  <a:pt x="22022" y="1226"/>
                </a:cubicBezTo>
                <a:cubicBezTo>
                  <a:pt x="3980" y="8924"/>
                  <a:pt x="18521" y="22730"/>
                  <a:pt x="17626" y="35302"/>
                </a:cubicBezTo>
                <a:cubicBezTo>
                  <a:pt x="16950" y="44552"/>
                  <a:pt x="1" y="49286"/>
                  <a:pt x="7799" y="60247"/>
                </a:cubicBezTo>
                <a:cubicBezTo>
                  <a:pt x="12119" y="66326"/>
                  <a:pt x="17081" y="68870"/>
                  <a:pt x="22065" y="68870"/>
                </a:cubicBezTo>
                <a:cubicBezTo>
                  <a:pt x="38955" y="68870"/>
                  <a:pt x="56098" y="39657"/>
                  <a:pt x="49355" y="19766"/>
                </a:cubicBezTo>
                <a:cubicBezTo>
                  <a:pt x="42898" y="13377"/>
                  <a:pt x="37638" y="1"/>
                  <a:pt x="27540" y="1"/>
                </a:cubicBezTo>
                <a:close/>
              </a:path>
            </a:pathLst>
          </a:cu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11" name="Google Shape;211;p11"/>
          <p:cNvSpPr/>
          <p:nvPr/>
        </p:nvSpPr>
        <p:spPr>
          <a:xfrm rot="-5400000">
            <a:off x="9868670" y="5346676"/>
            <a:ext cx="309589" cy="273003"/>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12" name="Google Shape;212;p11"/>
          <p:cNvSpPr/>
          <p:nvPr/>
        </p:nvSpPr>
        <p:spPr>
          <a:xfrm rot="-5400000">
            <a:off x="10209940" y="5649268"/>
            <a:ext cx="191061" cy="168473"/>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13" name="Google Shape;213;p11"/>
          <p:cNvSpPr/>
          <p:nvPr/>
        </p:nvSpPr>
        <p:spPr>
          <a:xfrm rot="2527600">
            <a:off x="10113237" y="662369"/>
            <a:ext cx="303820" cy="791703"/>
          </a:xfrm>
          <a:custGeom>
            <a:avLst/>
            <a:gdLst/>
            <a:ahLst/>
            <a:cxnLst/>
            <a:rect l="l" t="t" r="r" b="b"/>
            <a:pathLst>
              <a:path w="10049" h="26186" extrusionOk="0">
                <a:moveTo>
                  <a:pt x="6026" y="9334"/>
                </a:moveTo>
                <a:cubicBezTo>
                  <a:pt x="6036" y="9343"/>
                  <a:pt x="6050" y="9343"/>
                  <a:pt x="6050" y="9343"/>
                </a:cubicBezTo>
                <a:cubicBezTo>
                  <a:pt x="6042" y="9340"/>
                  <a:pt x="6034" y="9337"/>
                  <a:pt x="6026" y="9334"/>
                </a:cubicBezTo>
                <a:close/>
                <a:moveTo>
                  <a:pt x="3093" y="8839"/>
                </a:moveTo>
                <a:cubicBezTo>
                  <a:pt x="3529" y="8839"/>
                  <a:pt x="3899" y="8839"/>
                  <a:pt x="4336" y="8872"/>
                </a:cubicBezTo>
                <a:cubicBezTo>
                  <a:pt x="4899" y="8972"/>
                  <a:pt x="5494" y="9136"/>
                  <a:pt x="6026" y="9334"/>
                </a:cubicBezTo>
                <a:lnTo>
                  <a:pt x="6026" y="9334"/>
                </a:lnTo>
                <a:cubicBezTo>
                  <a:pt x="6021" y="9329"/>
                  <a:pt x="6016" y="9321"/>
                  <a:pt x="6016" y="9309"/>
                </a:cubicBezTo>
                <a:lnTo>
                  <a:pt x="6016" y="9309"/>
                </a:lnTo>
                <a:cubicBezTo>
                  <a:pt x="6016" y="9309"/>
                  <a:pt x="6050" y="9309"/>
                  <a:pt x="6050" y="9343"/>
                </a:cubicBezTo>
                <a:cubicBezTo>
                  <a:pt x="6420" y="9511"/>
                  <a:pt x="6756" y="9679"/>
                  <a:pt x="7092" y="9914"/>
                </a:cubicBezTo>
                <a:cubicBezTo>
                  <a:pt x="6554" y="10351"/>
                  <a:pt x="5983" y="10654"/>
                  <a:pt x="5344" y="10922"/>
                </a:cubicBezTo>
                <a:cubicBezTo>
                  <a:pt x="4605" y="11225"/>
                  <a:pt x="3865" y="11426"/>
                  <a:pt x="3126" y="11561"/>
                </a:cubicBezTo>
                <a:cubicBezTo>
                  <a:pt x="2925" y="11578"/>
                  <a:pt x="2731" y="11586"/>
                  <a:pt x="2542" y="11586"/>
                </a:cubicBezTo>
                <a:cubicBezTo>
                  <a:pt x="2353" y="11586"/>
                  <a:pt x="2168" y="11578"/>
                  <a:pt x="1984" y="11561"/>
                </a:cubicBezTo>
                <a:lnTo>
                  <a:pt x="1479" y="11426"/>
                </a:lnTo>
                <a:cubicBezTo>
                  <a:pt x="1379" y="11393"/>
                  <a:pt x="1345" y="11359"/>
                  <a:pt x="1244" y="11292"/>
                </a:cubicBezTo>
                <a:lnTo>
                  <a:pt x="1177" y="11225"/>
                </a:lnTo>
                <a:cubicBezTo>
                  <a:pt x="1143" y="11191"/>
                  <a:pt x="1143" y="11158"/>
                  <a:pt x="1076" y="11090"/>
                </a:cubicBezTo>
                <a:cubicBezTo>
                  <a:pt x="1076" y="11057"/>
                  <a:pt x="1043" y="11023"/>
                  <a:pt x="1043" y="10956"/>
                </a:cubicBezTo>
                <a:lnTo>
                  <a:pt x="1043" y="10721"/>
                </a:lnTo>
                <a:lnTo>
                  <a:pt x="1177" y="10217"/>
                </a:lnTo>
                <a:cubicBezTo>
                  <a:pt x="1244" y="10049"/>
                  <a:pt x="1345" y="9881"/>
                  <a:pt x="1479" y="9713"/>
                </a:cubicBezTo>
                <a:lnTo>
                  <a:pt x="1849" y="9343"/>
                </a:lnTo>
                <a:cubicBezTo>
                  <a:pt x="2017" y="9208"/>
                  <a:pt x="2185" y="9141"/>
                  <a:pt x="2353" y="9040"/>
                </a:cubicBezTo>
                <a:cubicBezTo>
                  <a:pt x="2588" y="8973"/>
                  <a:pt x="2857" y="8872"/>
                  <a:pt x="3093" y="8839"/>
                </a:cubicBezTo>
                <a:close/>
                <a:moveTo>
                  <a:pt x="6722" y="15627"/>
                </a:moveTo>
                <a:cubicBezTo>
                  <a:pt x="6722" y="15627"/>
                  <a:pt x="6756" y="15627"/>
                  <a:pt x="6756" y="15694"/>
                </a:cubicBezTo>
                <a:cubicBezTo>
                  <a:pt x="6756" y="15627"/>
                  <a:pt x="6756" y="15627"/>
                  <a:pt x="6722" y="15627"/>
                </a:cubicBezTo>
                <a:close/>
                <a:moveTo>
                  <a:pt x="2992" y="15795"/>
                </a:moveTo>
                <a:cubicBezTo>
                  <a:pt x="2958" y="15795"/>
                  <a:pt x="2958" y="15795"/>
                  <a:pt x="2891" y="15862"/>
                </a:cubicBezTo>
                <a:cubicBezTo>
                  <a:pt x="2925" y="15862"/>
                  <a:pt x="2925" y="15795"/>
                  <a:pt x="2992" y="15795"/>
                </a:cubicBezTo>
                <a:close/>
                <a:moveTo>
                  <a:pt x="4370" y="15358"/>
                </a:moveTo>
                <a:cubicBezTo>
                  <a:pt x="4874" y="15358"/>
                  <a:pt x="5344" y="15358"/>
                  <a:pt x="5815" y="15392"/>
                </a:cubicBezTo>
                <a:cubicBezTo>
                  <a:pt x="6117" y="15426"/>
                  <a:pt x="6487" y="15526"/>
                  <a:pt x="6823" y="15627"/>
                </a:cubicBezTo>
                <a:cubicBezTo>
                  <a:pt x="7024" y="15728"/>
                  <a:pt x="7260" y="15862"/>
                  <a:pt x="7428" y="16030"/>
                </a:cubicBezTo>
                <a:lnTo>
                  <a:pt x="7495" y="16064"/>
                </a:lnTo>
                <a:cubicBezTo>
                  <a:pt x="7192" y="16367"/>
                  <a:pt x="6890" y="16635"/>
                  <a:pt x="6588" y="16904"/>
                </a:cubicBezTo>
                <a:cubicBezTo>
                  <a:pt x="6184" y="17240"/>
                  <a:pt x="5714" y="17475"/>
                  <a:pt x="5210" y="17711"/>
                </a:cubicBezTo>
                <a:cubicBezTo>
                  <a:pt x="4840" y="17879"/>
                  <a:pt x="4470" y="17946"/>
                  <a:pt x="4067" y="18047"/>
                </a:cubicBezTo>
                <a:cubicBezTo>
                  <a:pt x="3916" y="18064"/>
                  <a:pt x="3773" y="18072"/>
                  <a:pt x="3626" y="18072"/>
                </a:cubicBezTo>
                <a:cubicBezTo>
                  <a:pt x="3479" y="18072"/>
                  <a:pt x="3328" y="18064"/>
                  <a:pt x="3160" y="18047"/>
                </a:cubicBezTo>
                <a:cubicBezTo>
                  <a:pt x="2891" y="17980"/>
                  <a:pt x="2656" y="17912"/>
                  <a:pt x="2387" y="17812"/>
                </a:cubicBezTo>
                <a:cubicBezTo>
                  <a:pt x="2185" y="17744"/>
                  <a:pt x="2017" y="17610"/>
                  <a:pt x="1849" y="17475"/>
                </a:cubicBezTo>
                <a:cubicBezTo>
                  <a:pt x="1782" y="17408"/>
                  <a:pt x="1681" y="17375"/>
                  <a:pt x="1647" y="17274"/>
                </a:cubicBezTo>
                <a:cubicBezTo>
                  <a:pt x="1614" y="17240"/>
                  <a:pt x="1614" y="17207"/>
                  <a:pt x="1547" y="17139"/>
                </a:cubicBezTo>
                <a:cubicBezTo>
                  <a:pt x="1547" y="17106"/>
                  <a:pt x="1513" y="17072"/>
                  <a:pt x="1513" y="17039"/>
                </a:cubicBezTo>
                <a:lnTo>
                  <a:pt x="1513" y="16938"/>
                </a:lnTo>
                <a:cubicBezTo>
                  <a:pt x="1513" y="16904"/>
                  <a:pt x="1547" y="16871"/>
                  <a:pt x="1547" y="16803"/>
                </a:cubicBezTo>
                <a:cubicBezTo>
                  <a:pt x="1614" y="16736"/>
                  <a:pt x="1647" y="16703"/>
                  <a:pt x="1681" y="16602"/>
                </a:cubicBezTo>
                <a:cubicBezTo>
                  <a:pt x="1816" y="16467"/>
                  <a:pt x="1883" y="16333"/>
                  <a:pt x="2017" y="16266"/>
                </a:cubicBezTo>
                <a:cubicBezTo>
                  <a:pt x="2252" y="16064"/>
                  <a:pt x="2555" y="15930"/>
                  <a:pt x="2857" y="15762"/>
                </a:cubicBezTo>
                <a:cubicBezTo>
                  <a:pt x="3361" y="15560"/>
                  <a:pt x="3865" y="15426"/>
                  <a:pt x="4370" y="15358"/>
                </a:cubicBezTo>
                <a:close/>
                <a:moveTo>
                  <a:pt x="4370" y="1"/>
                </a:moveTo>
                <a:cubicBezTo>
                  <a:pt x="4067" y="101"/>
                  <a:pt x="3865" y="101"/>
                  <a:pt x="3597" y="135"/>
                </a:cubicBezTo>
                <a:cubicBezTo>
                  <a:pt x="3496" y="135"/>
                  <a:pt x="3361" y="169"/>
                  <a:pt x="3294" y="269"/>
                </a:cubicBezTo>
                <a:cubicBezTo>
                  <a:pt x="3193" y="337"/>
                  <a:pt x="3160" y="471"/>
                  <a:pt x="3160" y="605"/>
                </a:cubicBezTo>
                <a:cubicBezTo>
                  <a:pt x="3160" y="740"/>
                  <a:pt x="3193" y="841"/>
                  <a:pt x="3294" y="941"/>
                </a:cubicBezTo>
                <a:cubicBezTo>
                  <a:pt x="3352" y="1000"/>
                  <a:pt x="3460" y="1083"/>
                  <a:pt x="3554" y="1083"/>
                </a:cubicBezTo>
                <a:cubicBezTo>
                  <a:pt x="3568" y="1083"/>
                  <a:pt x="3583" y="1081"/>
                  <a:pt x="3597" y="1076"/>
                </a:cubicBezTo>
                <a:cubicBezTo>
                  <a:pt x="3832" y="1042"/>
                  <a:pt x="4059" y="1026"/>
                  <a:pt x="4286" y="1026"/>
                </a:cubicBezTo>
                <a:cubicBezTo>
                  <a:pt x="4512" y="1026"/>
                  <a:pt x="4739" y="1042"/>
                  <a:pt x="4974" y="1076"/>
                </a:cubicBezTo>
                <a:cubicBezTo>
                  <a:pt x="5344" y="1110"/>
                  <a:pt x="5714" y="1244"/>
                  <a:pt x="6083" y="1345"/>
                </a:cubicBezTo>
                <a:cubicBezTo>
                  <a:pt x="6420" y="1513"/>
                  <a:pt x="6756" y="1681"/>
                  <a:pt x="7058" y="1916"/>
                </a:cubicBezTo>
                <a:cubicBezTo>
                  <a:pt x="7360" y="2151"/>
                  <a:pt x="7663" y="2454"/>
                  <a:pt x="7898" y="2756"/>
                </a:cubicBezTo>
                <a:cubicBezTo>
                  <a:pt x="8201" y="3126"/>
                  <a:pt x="8402" y="3496"/>
                  <a:pt x="8570" y="3966"/>
                </a:cubicBezTo>
                <a:cubicBezTo>
                  <a:pt x="8738" y="4436"/>
                  <a:pt x="8873" y="4873"/>
                  <a:pt x="8940" y="5377"/>
                </a:cubicBezTo>
                <a:cubicBezTo>
                  <a:pt x="9041" y="5949"/>
                  <a:pt x="9041" y="6486"/>
                  <a:pt x="8940" y="7024"/>
                </a:cubicBezTo>
                <a:cubicBezTo>
                  <a:pt x="8906" y="7394"/>
                  <a:pt x="8839" y="7730"/>
                  <a:pt x="8705" y="8066"/>
                </a:cubicBezTo>
                <a:cubicBezTo>
                  <a:pt x="8570" y="8335"/>
                  <a:pt x="8402" y="8570"/>
                  <a:pt x="8234" y="8839"/>
                </a:cubicBezTo>
                <a:cubicBezTo>
                  <a:pt x="8100" y="9007"/>
                  <a:pt x="7965" y="9141"/>
                  <a:pt x="7797" y="9309"/>
                </a:cubicBezTo>
                <a:cubicBezTo>
                  <a:pt x="7495" y="9040"/>
                  <a:pt x="7092" y="8839"/>
                  <a:pt x="6688" y="8671"/>
                </a:cubicBezTo>
                <a:cubicBezTo>
                  <a:pt x="5882" y="8301"/>
                  <a:pt x="5075" y="8032"/>
                  <a:pt x="4202" y="7965"/>
                </a:cubicBezTo>
                <a:cubicBezTo>
                  <a:pt x="4017" y="7931"/>
                  <a:pt x="3832" y="7915"/>
                  <a:pt x="3643" y="7915"/>
                </a:cubicBezTo>
                <a:cubicBezTo>
                  <a:pt x="3454" y="7915"/>
                  <a:pt x="3261" y="7931"/>
                  <a:pt x="3059" y="7965"/>
                </a:cubicBezTo>
                <a:cubicBezTo>
                  <a:pt x="2857" y="7999"/>
                  <a:pt x="2689" y="7999"/>
                  <a:pt x="2488" y="8066"/>
                </a:cubicBezTo>
                <a:cubicBezTo>
                  <a:pt x="2252" y="8133"/>
                  <a:pt x="2084" y="8200"/>
                  <a:pt x="1883" y="8301"/>
                </a:cubicBezTo>
                <a:cubicBezTo>
                  <a:pt x="1547" y="8469"/>
                  <a:pt x="1244" y="8671"/>
                  <a:pt x="975" y="8906"/>
                </a:cubicBezTo>
                <a:cubicBezTo>
                  <a:pt x="673" y="9208"/>
                  <a:pt x="471" y="9578"/>
                  <a:pt x="303" y="9981"/>
                </a:cubicBezTo>
                <a:cubicBezTo>
                  <a:pt x="68" y="10519"/>
                  <a:pt x="1" y="11090"/>
                  <a:pt x="303" y="11662"/>
                </a:cubicBezTo>
                <a:cubicBezTo>
                  <a:pt x="538" y="12099"/>
                  <a:pt x="1043" y="12367"/>
                  <a:pt x="1547" y="12435"/>
                </a:cubicBezTo>
                <a:cubicBezTo>
                  <a:pt x="1827" y="12494"/>
                  <a:pt x="2113" y="12520"/>
                  <a:pt x="2400" y="12520"/>
                </a:cubicBezTo>
                <a:cubicBezTo>
                  <a:pt x="2768" y="12520"/>
                  <a:pt x="3137" y="12477"/>
                  <a:pt x="3496" y="12401"/>
                </a:cubicBezTo>
                <a:cubicBezTo>
                  <a:pt x="4202" y="12267"/>
                  <a:pt x="4874" y="12065"/>
                  <a:pt x="5546" y="11763"/>
                </a:cubicBezTo>
                <a:cubicBezTo>
                  <a:pt x="6251" y="11494"/>
                  <a:pt x="6957" y="11090"/>
                  <a:pt x="7596" y="10654"/>
                </a:cubicBezTo>
                <a:cubicBezTo>
                  <a:pt x="7697" y="10586"/>
                  <a:pt x="7730" y="10519"/>
                  <a:pt x="7797" y="10486"/>
                </a:cubicBezTo>
                <a:cubicBezTo>
                  <a:pt x="8033" y="10654"/>
                  <a:pt x="8201" y="10855"/>
                  <a:pt x="8369" y="11057"/>
                </a:cubicBezTo>
                <a:cubicBezTo>
                  <a:pt x="8469" y="11258"/>
                  <a:pt x="8604" y="11426"/>
                  <a:pt x="8738" y="11662"/>
                </a:cubicBezTo>
                <a:cubicBezTo>
                  <a:pt x="8806" y="11863"/>
                  <a:pt x="8873" y="12099"/>
                  <a:pt x="8906" y="12334"/>
                </a:cubicBezTo>
                <a:cubicBezTo>
                  <a:pt x="8940" y="12603"/>
                  <a:pt x="8940" y="12905"/>
                  <a:pt x="8906" y="13241"/>
                </a:cubicBezTo>
                <a:cubicBezTo>
                  <a:pt x="8873" y="13611"/>
                  <a:pt x="8738" y="14014"/>
                  <a:pt x="8570" y="14384"/>
                </a:cubicBezTo>
                <a:cubicBezTo>
                  <a:pt x="8402" y="14720"/>
                  <a:pt x="8234" y="15056"/>
                  <a:pt x="8033" y="15358"/>
                </a:cubicBezTo>
                <a:lnTo>
                  <a:pt x="7932" y="15258"/>
                </a:lnTo>
                <a:cubicBezTo>
                  <a:pt x="7596" y="15022"/>
                  <a:pt x="7260" y="14854"/>
                  <a:pt x="6890" y="14686"/>
                </a:cubicBezTo>
                <a:cubicBezTo>
                  <a:pt x="6520" y="14552"/>
                  <a:pt x="6083" y="14451"/>
                  <a:pt x="5714" y="14417"/>
                </a:cubicBezTo>
                <a:cubicBezTo>
                  <a:pt x="5529" y="14401"/>
                  <a:pt x="5327" y="14392"/>
                  <a:pt x="5126" y="14392"/>
                </a:cubicBezTo>
                <a:cubicBezTo>
                  <a:pt x="4924" y="14392"/>
                  <a:pt x="4722" y="14401"/>
                  <a:pt x="4538" y="14417"/>
                </a:cubicBezTo>
                <a:cubicBezTo>
                  <a:pt x="3731" y="14518"/>
                  <a:pt x="2992" y="14720"/>
                  <a:pt x="2252" y="15056"/>
                </a:cubicBezTo>
                <a:cubicBezTo>
                  <a:pt x="1715" y="15291"/>
                  <a:pt x="1143" y="15728"/>
                  <a:pt x="807" y="16232"/>
                </a:cubicBezTo>
                <a:cubicBezTo>
                  <a:pt x="673" y="16467"/>
                  <a:pt x="538" y="16736"/>
                  <a:pt x="572" y="17039"/>
                </a:cubicBezTo>
                <a:cubicBezTo>
                  <a:pt x="572" y="17375"/>
                  <a:pt x="707" y="17644"/>
                  <a:pt x="908" y="17912"/>
                </a:cubicBezTo>
                <a:cubicBezTo>
                  <a:pt x="1143" y="18148"/>
                  <a:pt x="1412" y="18383"/>
                  <a:pt x="1715" y="18551"/>
                </a:cubicBezTo>
                <a:cubicBezTo>
                  <a:pt x="2084" y="18753"/>
                  <a:pt x="2521" y="18887"/>
                  <a:pt x="2992" y="18954"/>
                </a:cubicBezTo>
                <a:cubicBezTo>
                  <a:pt x="3193" y="18988"/>
                  <a:pt x="3429" y="18988"/>
                  <a:pt x="3664" y="18988"/>
                </a:cubicBezTo>
                <a:cubicBezTo>
                  <a:pt x="3899" y="18988"/>
                  <a:pt x="4168" y="18954"/>
                  <a:pt x="4370" y="18921"/>
                </a:cubicBezTo>
                <a:cubicBezTo>
                  <a:pt x="4840" y="18820"/>
                  <a:pt x="5243" y="18719"/>
                  <a:pt x="5680" y="18484"/>
                </a:cubicBezTo>
                <a:cubicBezTo>
                  <a:pt x="6554" y="18114"/>
                  <a:pt x="7293" y="17543"/>
                  <a:pt x="7932" y="16871"/>
                </a:cubicBezTo>
                <a:lnTo>
                  <a:pt x="8100" y="16703"/>
                </a:lnTo>
                <a:cubicBezTo>
                  <a:pt x="8369" y="17039"/>
                  <a:pt x="8570" y="17375"/>
                  <a:pt x="8738" y="17744"/>
                </a:cubicBezTo>
                <a:cubicBezTo>
                  <a:pt x="8873" y="18047"/>
                  <a:pt x="8940" y="18316"/>
                  <a:pt x="8974" y="18652"/>
                </a:cubicBezTo>
                <a:cubicBezTo>
                  <a:pt x="9041" y="18954"/>
                  <a:pt x="9041" y="19257"/>
                  <a:pt x="8974" y="19559"/>
                </a:cubicBezTo>
                <a:cubicBezTo>
                  <a:pt x="8940" y="19895"/>
                  <a:pt x="8873" y="20164"/>
                  <a:pt x="8738" y="20466"/>
                </a:cubicBezTo>
                <a:cubicBezTo>
                  <a:pt x="8570" y="20903"/>
                  <a:pt x="8301" y="21273"/>
                  <a:pt x="8066" y="21609"/>
                </a:cubicBezTo>
                <a:cubicBezTo>
                  <a:pt x="7629" y="22147"/>
                  <a:pt x="7125" y="22617"/>
                  <a:pt x="6588" y="23020"/>
                </a:cubicBezTo>
                <a:cubicBezTo>
                  <a:pt x="5755" y="23653"/>
                  <a:pt x="4857" y="24187"/>
                  <a:pt x="3892" y="24621"/>
                </a:cubicBezTo>
                <a:lnTo>
                  <a:pt x="3892" y="24621"/>
                </a:lnTo>
                <a:cubicBezTo>
                  <a:pt x="3896" y="24617"/>
                  <a:pt x="3899" y="24610"/>
                  <a:pt x="3899" y="24600"/>
                </a:cubicBezTo>
                <a:cubicBezTo>
                  <a:pt x="3865" y="24600"/>
                  <a:pt x="3865" y="24634"/>
                  <a:pt x="3832" y="24634"/>
                </a:cubicBezTo>
                <a:cubicBezTo>
                  <a:pt x="3193" y="24869"/>
                  <a:pt x="2555" y="25104"/>
                  <a:pt x="1916" y="25272"/>
                </a:cubicBezTo>
                <a:cubicBezTo>
                  <a:pt x="1681" y="25306"/>
                  <a:pt x="1547" y="25608"/>
                  <a:pt x="1580" y="25843"/>
                </a:cubicBezTo>
                <a:cubicBezTo>
                  <a:pt x="1669" y="26079"/>
                  <a:pt x="1860" y="26186"/>
                  <a:pt x="2088" y="26186"/>
                </a:cubicBezTo>
                <a:cubicBezTo>
                  <a:pt x="2119" y="26186"/>
                  <a:pt x="2152" y="26184"/>
                  <a:pt x="2185" y="26179"/>
                </a:cubicBezTo>
                <a:cubicBezTo>
                  <a:pt x="3059" y="25978"/>
                  <a:pt x="3899" y="25675"/>
                  <a:pt x="4739" y="25306"/>
                </a:cubicBezTo>
                <a:cubicBezTo>
                  <a:pt x="5613" y="24869"/>
                  <a:pt x="6453" y="24365"/>
                  <a:pt x="7260" y="23760"/>
                </a:cubicBezTo>
                <a:cubicBezTo>
                  <a:pt x="8705" y="22651"/>
                  <a:pt x="9948" y="21071"/>
                  <a:pt x="9982" y="19156"/>
                </a:cubicBezTo>
                <a:cubicBezTo>
                  <a:pt x="9982" y="18148"/>
                  <a:pt x="9612" y="17240"/>
                  <a:pt x="9074" y="16400"/>
                </a:cubicBezTo>
                <a:cubicBezTo>
                  <a:pt x="8974" y="16266"/>
                  <a:pt x="8873" y="16131"/>
                  <a:pt x="8772" y="15963"/>
                </a:cubicBezTo>
                <a:cubicBezTo>
                  <a:pt x="9108" y="15526"/>
                  <a:pt x="9377" y="15022"/>
                  <a:pt x="9578" y="14518"/>
                </a:cubicBezTo>
                <a:cubicBezTo>
                  <a:pt x="9915" y="13678"/>
                  <a:pt x="9982" y="12771"/>
                  <a:pt x="9814" y="11897"/>
                </a:cubicBezTo>
                <a:cubicBezTo>
                  <a:pt x="9646" y="11158"/>
                  <a:pt x="9242" y="10519"/>
                  <a:pt x="8738" y="9981"/>
                </a:cubicBezTo>
                <a:lnTo>
                  <a:pt x="8570" y="9813"/>
                </a:lnTo>
                <a:cubicBezTo>
                  <a:pt x="8806" y="9545"/>
                  <a:pt x="9041" y="9242"/>
                  <a:pt x="9242" y="8973"/>
                </a:cubicBezTo>
                <a:cubicBezTo>
                  <a:pt x="9444" y="8671"/>
                  <a:pt x="9578" y="8335"/>
                  <a:pt x="9713" y="7999"/>
                </a:cubicBezTo>
                <a:cubicBezTo>
                  <a:pt x="9780" y="7797"/>
                  <a:pt x="9780" y="7562"/>
                  <a:pt x="9814" y="7394"/>
                </a:cubicBezTo>
                <a:lnTo>
                  <a:pt x="9948" y="6520"/>
                </a:lnTo>
                <a:cubicBezTo>
                  <a:pt x="10049" y="5478"/>
                  <a:pt x="9814" y="4436"/>
                  <a:pt x="9410" y="3462"/>
                </a:cubicBezTo>
                <a:cubicBezTo>
                  <a:pt x="8940" y="2353"/>
                  <a:pt x="8201" y="1446"/>
                  <a:pt x="7192" y="807"/>
                </a:cubicBezTo>
                <a:cubicBezTo>
                  <a:pt x="6352" y="269"/>
                  <a:pt x="5344" y="1"/>
                  <a:pt x="4370" y="1"/>
                </a:cubicBezTo>
                <a:close/>
              </a:path>
            </a:pathLst>
          </a:cu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14" name="Google Shape;214;p11"/>
          <p:cNvSpPr/>
          <p:nvPr/>
        </p:nvSpPr>
        <p:spPr>
          <a:xfrm rot="2871926">
            <a:off x="1609320" y="5237483"/>
            <a:ext cx="287944" cy="804864"/>
          </a:xfrm>
          <a:custGeom>
            <a:avLst/>
            <a:gdLst/>
            <a:ahLst/>
            <a:cxnLst/>
            <a:rect l="l" t="t" r="r" b="b"/>
            <a:pathLst>
              <a:path w="8638" h="24145" extrusionOk="0">
                <a:moveTo>
                  <a:pt x="4604" y="2353"/>
                </a:moveTo>
                <a:lnTo>
                  <a:pt x="4537" y="2420"/>
                </a:lnTo>
                <a:cubicBezTo>
                  <a:pt x="4537" y="2420"/>
                  <a:pt x="4604" y="2420"/>
                  <a:pt x="4604" y="2353"/>
                </a:cubicBezTo>
                <a:close/>
                <a:moveTo>
                  <a:pt x="2823" y="4134"/>
                </a:moveTo>
                <a:lnTo>
                  <a:pt x="2823" y="4134"/>
                </a:lnTo>
                <a:cubicBezTo>
                  <a:pt x="2823" y="4134"/>
                  <a:pt x="2790" y="4167"/>
                  <a:pt x="2790" y="4201"/>
                </a:cubicBezTo>
                <a:lnTo>
                  <a:pt x="2790" y="4201"/>
                </a:lnTo>
                <a:cubicBezTo>
                  <a:pt x="2790" y="4168"/>
                  <a:pt x="2823" y="4168"/>
                  <a:pt x="2823" y="4134"/>
                </a:cubicBezTo>
                <a:close/>
                <a:moveTo>
                  <a:pt x="1580" y="6218"/>
                </a:moveTo>
                <a:lnTo>
                  <a:pt x="1580" y="6218"/>
                </a:lnTo>
                <a:cubicBezTo>
                  <a:pt x="1580" y="6218"/>
                  <a:pt x="1580" y="6246"/>
                  <a:pt x="1561" y="6266"/>
                </a:cubicBezTo>
                <a:lnTo>
                  <a:pt x="1561" y="6266"/>
                </a:lnTo>
                <a:cubicBezTo>
                  <a:pt x="1572" y="6256"/>
                  <a:pt x="1580" y="6241"/>
                  <a:pt x="1580" y="6218"/>
                </a:cubicBezTo>
                <a:close/>
                <a:moveTo>
                  <a:pt x="1561" y="6266"/>
                </a:moveTo>
                <a:cubicBezTo>
                  <a:pt x="1541" y="6285"/>
                  <a:pt x="1513" y="6285"/>
                  <a:pt x="1513" y="6285"/>
                </a:cubicBezTo>
                <a:cubicBezTo>
                  <a:pt x="1536" y="6285"/>
                  <a:pt x="1551" y="6277"/>
                  <a:pt x="1561" y="6266"/>
                </a:cubicBezTo>
                <a:close/>
                <a:moveTo>
                  <a:pt x="5445" y="8536"/>
                </a:moveTo>
                <a:cubicBezTo>
                  <a:pt x="5478" y="8570"/>
                  <a:pt x="5613" y="8570"/>
                  <a:pt x="5680" y="8570"/>
                </a:cubicBezTo>
                <a:cubicBezTo>
                  <a:pt x="5781" y="8570"/>
                  <a:pt x="5814" y="8637"/>
                  <a:pt x="5881" y="8637"/>
                </a:cubicBezTo>
                <a:cubicBezTo>
                  <a:pt x="5949" y="8671"/>
                  <a:pt x="5982" y="8671"/>
                  <a:pt x="6049" y="8704"/>
                </a:cubicBezTo>
                <a:cubicBezTo>
                  <a:pt x="6117" y="8738"/>
                  <a:pt x="6184" y="8805"/>
                  <a:pt x="6217" y="8872"/>
                </a:cubicBezTo>
                <a:lnTo>
                  <a:pt x="6352" y="9141"/>
                </a:lnTo>
                <a:cubicBezTo>
                  <a:pt x="6386" y="9242"/>
                  <a:pt x="6453" y="9377"/>
                  <a:pt x="6453" y="9511"/>
                </a:cubicBezTo>
                <a:lnTo>
                  <a:pt x="6453" y="9981"/>
                </a:lnTo>
                <a:cubicBezTo>
                  <a:pt x="6386" y="10149"/>
                  <a:pt x="6352" y="10318"/>
                  <a:pt x="6318" y="10418"/>
                </a:cubicBezTo>
                <a:cubicBezTo>
                  <a:pt x="6217" y="10553"/>
                  <a:pt x="6184" y="10687"/>
                  <a:pt x="6117" y="10822"/>
                </a:cubicBezTo>
                <a:lnTo>
                  <a:pt x="5848" y="11057"/>
                </a:lnTo>
                <a:cubicBezTo>
                  <a:pt x="5713" y="11158"/>
                  <a:pt x="5613" y="11225"/>
                  <a:pt x="5478" y="11258"/>
                </a:cubicBezTo>
                <a:cubicBezTo>
                  <a:pt x="5310" y="11326"/>
                  <a:pt x="5142" y="11359"/>
                  <a:pt x="5008" y="11393"/>
                </a:cubicBezTo>
                <a:cubicBezTo>
                  <a:pt x="4890" y="11410"/>
                  <a:pt x="4764" y="11418"/>
                  <a:pt x="4630" y="11418"/>
                </a:cubicBezTo>
                <a:cubicBezTo>
                  <a:pt x="4495" y="11418"/>
                  <a:pt x="4352" y="11410"/>
                  <a:pt x="4201" y="11393"/>
                </a:cubicBezTo>
                <a:cubicBezTo>
                  <a:pt x="3798" y="11359"/>
                  <a:pt x="3428" y="11225"/>
                  <a:pt x="3025" y="11057"/>
                </a:cubicBezTo>
                <a:cubicBezTo>
                  <a:pt x="2857" y="10990"/>
                  <a:pt x="2756" y="10922"/>
                  <a:pt x="2622" y="10855"/>
                </a:cubicBezTo>
                <a:cubicBezTo>
                  <a:pt x="2689" y="10654"/>
                  <a:pt x="2823" y="10486"/>
                  <a:pt x="2958" y="10318"/>
                </a:cubicBezTo>
                <a:cubicBezTo>
                  <a:pt x="3126" y="10082"/>
                  <a:pt x="3294" y="9914"/>
                  <a:pt x="3462" y="9746"/>
                </a:cubicBezTo>
                <a:cubicBezTo>
                  <a:pt x="3663" y="9545"/>
                  <a:pt x="3865" y="9343"/>
                  <a:pt x="4134" y="9175"/>
                </a:cubicBezTo>
                <a:cubicBezTo>
                  <a:pt x="4369" y="8973"/>
                  <a:pt x="4672" y="8805"/>
                  <a:pt x="4974" y="8671"/>
                </a:cubicBezTo>
                <a:cubicBezTo>
                  <a:pt x="5109" y="8637"/>
                  <a:pt x="5277" y="8570"/>
                  <a:pt x="5445" y="8536"/>
                </a:cubicBezTo>
                <a:close/>
                <a:moveTo>
                  <a:pt x="5243" y="15090"/>
                </a:moveTo>
                <a:cubicBezTo>
                  <a:pt x="5445" y="15123"/>
                  <a:pt x="5646" y="15123"/>
                  <a:pt x="5814" y="15123"/>
                </a:cubicBezTo>
                <a:cubicBezTo>
                  <a:pt x="5881" y="15123"/>
                  <a:pt x="6016" y="15190"/>
                  <a:pt x="6117" y="15224"/>
                </a:cubicBezTo>
                <a:cubicBezTo>
                  <a:pt x="6150" y="15224"/>
                  <a:pt x="6184" y="15258"/>
                  <a:pt x="6217" y="15258"/>
                </a:cubicBezTo>
                <a:cubicBezTo>
                  <a:pt x="6217" y="15291"/>
                  <a:pt x="6184" y="15358"/>
                  <a:pt x="6150" y="15392"/>
                </a:cubicBezTo>
                <a:lnTo>
                  <a:pt x="5881" y="15627"/>
                </a:lnTo>
                <a:cubicBezTo>
                  <a:pt x="5579" y="15862"/>
                  <a:pt x="5243" y="16064"/>
                  <a:pt x="4873" y="16199"/>
                </a:cubicBezTo>
                <a:cubicBezTo>
                  <a:pt x="4571" y="16299"/>
                  <a:pt x="4336" y="16400"/>
                  <a:pt x="4033" y="16434"/>
                </a:cubicBezTo>
                <a:lnTo>
                  <a:pt x="3529" y="16434"/>
                </a:lnTo>
                <a:cubicBezTo>
                  <a:pt x="3462" y="16434"/>
                  <a:pt x="3361" y="16400"/>
                  <a:pt x="3227" y="16367"/>
                </a:cubicBezTo>
                <a:cubicBezTo>
                  <a:pt x="3227" y="16299"/>
                  <a:pt x="3294" y="16299"/>
                  <a:pt x="3294" y="16266"/>
                </a:cubicBezTo>
                <a:cubicBezTo>
                  <a:pt x="3462" y="16064"/>
                  <a:pt x="3630" y="15896"/>
                  <a:pt x="3831" y="15728"/>
                </a:cubicBezTo>
                <a:cubicBezTo>
                  <a:pt x="4033" y="15560"/>
                  <a:pt x="4302" y="15426"/>
                  <a:pt x="4537" y="15291"/>
                </a:cubicBezTo>
                <a:cubicBezTo>
                  <a:pt x="4739" y="15224"/>
                  <a:pt x="5008" y="15123"/>
                  <a:pt x="5243" y="15090"/>
                </a:cubicBezTo>
                <a:close/>
                <a:moveTo>
                  <a:pt x="4235" y="22416"/>
                </a:moveTo>
                <a:lnTo>
                  <a:pt x="4302" y="22449"/>
                </a:lnTo>
                <a:cubicBezTo>
                  <a:pt x="4302" y="22449"/>
                  <a:pt x="4235" y="22449"/>
                  <a:pt x="4235" y="22416"/>
                </a:cubicBezTo>
                <a:close/>
                <a:moveTo>
                  <a:pt x="7663" y="1"/>
                </a:moveTo>
                <a:cubicBezTo>
                  <a:pt x="7058" y="34"/>
                  <a:pt x="6352" y="236"/>
                  <a:pt x="5781" y="471"/>
                </a:cubicBezTo>
                <a:cubicBezTo>
                  <a:pt x="4873" y="841"/>
                  <a:pt x="4100" y="1345"/>
                  <a:pt x="3361" y="1983"/>
                </a:cubicBezTo>
                <a:cubicBezTo>
                  <a:pt x="2655" y="2622"/>
                  <a:pt x="2017" y="3361"/>
                  <a:pt x="1479" y="4168"/>
                </a:cubicBezTo>
                <a:cubicBezTo>
                  <a:pt x="975" y="4941"/>
                  <a:pt x="538" y="5781"/>
                  <a:pt x="303" y="6654"/>
                </a:cubicBezTo>
                <a:cubicBezTo>
                  <a:pt x="168" y="7058"/>
                  <a:pt x="101" y="7495"/>
                  <a:pt x="34" y="7965"/>
                </a:cubicBezTo>
                <a:cubicBezTo>
                  <a:pt x="0" y="8368"/>
                  <a:pt x="34" y="8805"/>
                  <a:pt x="101" y="9209"/>
                </a:cubicBezTo>
                <a:cubicBezTo>
                  <a:pt x="202" y="10015"/>
                  <a:pt x="639" y="10721"/>
                  <a:pt x="1244" y="11258"/>
                </a:cubicBezTo>
                <a:cubicBezTo>
                  <a:pt x="975" y="12031"/>
                  <a:pt x="841" y="12872"/>
                  <a:pt x="841" y="13644"/>
                </a:cubicBezTo>
                <a:cubicBezTo>
                  <a:pt x="841" y="14485"/>
                  <a:pt x="1009" y="15291"/>
                  <a:pt x="1412" y="16064"/>
                </a:cubicBezTo>
                <a:cubicBezTo>
                  <a:pt x="1513" y="16266"/>
                  <a:pt x="1647" y="16467"/>
                  <a:pt x="1815" y="16669"/>
                </a:cubicBezTo>
                <a:cubicBezTo>
                  <a:pt x="1345" y="17744"/>
                  <a:pt x="1311" y="18954"/>
                  <a:pt x="1580" y="20097"/>
                </a:cubicBezTo>
                <a:cubicBezTo>
                  <a:pt x="1681" y="20668"/>
                  <a:pt x="1950" y="21273"/>
                  <a:pt x="2286" y="21777"/>
                </a:cubicBezTo>
                <a:cubicBezTo>
                  <a:pt x="2622" y="22281"/>
                  <a:pt x="3025" y="22785"/>
                  <a:pt x="3495" y="23155"/>
                </a:cubicBezTo>
                <a:cubicBezTo>
                  <a:pt x="4033" y="23592"/>
                  <a:pt x="4638" y="23928"/>
                  <a:pt x="5277" y="24129"/>
                </a:cubicBezTo>
                <a:cubicBezTo>
                  <a:pt x="5317" y="24139"/>
                  <a:pt x="5358" y="24144"/>
                  <a:pt x="5398" y="24144"/>
                </a:cubicBezTo>
                <a:cubicBezTo>
                  <a:pt x="5631" y="24144"/>
                  <a:pt x="5863" y="23989"/>
                  <a:pt x="5949" y="23760"/>
                </a:cubicBezTo>
                <a:cubicBezTo>
                  <a:pt x="6016" y="23457"/>
                  <a:pt x="5848" y="23188"/>
                  <a:pt x="5545" y="23088"/>
                </a:cubicBezTo>
                <a:cubicBezTo>
                  <a:pt x="5445" y="23020"/>
                  <a:pt x="5344" y="22987"/>
                  <a:pt x="5209" y="22953"/>
                </a:cubicBezTo>
                <a:cubicBezTo>
                  <a:pt x="4873" y="22785"/>
                  <a:pt x="4537" y="22617"/>
                  <a:pt x="4268" y="22416"/>
                </a:cubicBezTo>
                <a:cubicBezTo>
                  <a:pt x="4204" y="22416"/>
                  <a:pt x="4201" y="22416"/>
                  <a:pt x="4201" y="22356"/>
                </a:cubicBezTo>
                <a:lnTo>
                  <a:pt x="4201" y="22356"/>
                </a:lnTo>
                <a:cubicBezTo>
                  <a:pt x="4224" y="22376"/>
                  <a:pt x="4246" y="22396"/>
                  <a:pt x="4268" y="22416"/>
                </a:cubicBezTo>
                <a:lnTo>
                  <a:pt x="4201" y="22348"/>
                </a:lnTo>
                <a:lnTo>
                  <a:pt x="4201" y="22348"/>
                </a:lnTo>
                <a:cubicBezTo>
                  <a:pt x="4201" y="22351"/>
                  <a:pt x="4201" y="22354"/>
                  <a:pt x="4201" y="22356"/>
                </a:cubicBezTo>
                <a:lnTo>
                  <a:pt x="4201" y="22356"/>
                </a:lnTo>
                <a:cubicBezTo>
                  <a:pt x="3922" y="22111"/>
                  <a:pt x="3649" y="21889"/>
                  <a:pt x="3462" y="21609"/>
                </a:cubicBezTo>
                <a:cubicBezTo>
                  <a:pt x="3193" y="21273"/>
                  <a:pt x="3025" y="20937"/>
                  <a:pt x="2857" y="20601"/>
                </a:cubicBezTo>
                <a:cubicBezTo>
                  <a:pt x="2689" y="20231"/>
                  <a:pt x="2622" y="19794"/>
                  <a:pt x="2521" y="19425"/>
                </a:cubicBezTo>
                <a:cubicBezTo>
                  <a:pt x="2487" y="19055"/>
                  <a:pt x="2487" y="18618"/>
                  <a:pt x="2521" y="18248"/>
                </a:cubicBezTo>
                <a:cubicBezTo>
                  <a:pt x="2588" y="17946"/>
                  <a:pt x="2655" y="17644"/>
                  <a:pt x="2756" y="17375"/>
                </a:cubicBezTo>
                <a:cubicBezTo>
                  <a:pt x="2857" y="17408"/>
                  <a:pt x="2991" y="17442"/>
                  <a:pt x="3092" y="17476"/>
                </a:cubicBezTo>
                <a:cubicBezTo>
                  <a:pt x="3315" y="17542"/>
                  <a:pt x="3544" y="17571"/>
                  <a:pt x="3775" y="17571"/>
                </a:cubicBezTo>
                <a:cubicBezTo>
                  <a:pt x="4483" y="17571"/>
                  <a:pt x="5206" y="17293"/>
                  <a:pt x="5814" y="16938"/>
                </a:cubicBezTo>
                <a:cubicBezTo>
                  <a:pt x="6184" y="16736"/>
                  <a:pt x="6554" y="16467"/>
                  <a:pt x="6856" y="16165"/>
                </a:cubicBezTo>
                <a:cubicBezTo>
                  <a:pt x="7125" y="15930"/>
                  <a:pt x="7293" y="15627"/>
                  <a:pt x="7293" y="15258"/>
                </a:cubicBezTo>
                <a:cubicBezTo>
                  <a:pt x="7293" y="14585"/>
                  <a:pt x="6654" y="14216"/>
                  <a:pt x="6117" y="14081"/>
                </a:cubicBezTo>
                <a:cubicBezTo>
                  <a:pt x="5935" y="14050"/>
                  <a:pt x="5756" y="14035"/>
                  <a:pt x="5578" y="14035"/>
                </a:cubicBezTo>
                <a:cubicBezTo>
                  <a:pt x="4997" y="14035"/>
                  <a:pt x="4431" y="14194"/>
                  <a:pt x="3865" y="14451"/>
                </a:cubicBezTo>
                <a:cubicBezTo>
                  <a:pt x="3294" y="14753"/>
                  <a:pt x="2790" y="15157"/>
                  <a:pt x="2420" y="15661"/>
                </a:cubicBezTo>
                <a:cubicBezTo>
                  <a:pt x="2319" y="15560"/>
                  <a:pt x="2286" y="15459"/>
                  <a:pt x="2252" y="15325"/>
                </a:cubicBezTo>
                <a:cubicBezTo>
                  <a:pt x="2118" y="15056"/>
                  <a:pt x="2017" y="14720"/>
                  <a:pt x="1983" y="14384"/>
                </a:cubicBezTo>
                <a:cubicBezTo>
                  <a:pt x="1916" y="13812"/>
                  <a:pt x="1916" y="13308"/>
                  <a:pt x="1983" y="12771"/>
                </a:cubicBezTo>
                <a:cubicBezTo>
                  <a:pt x="2017" y="12468"/>
                  <a:pt x="2084" y="12199"/>
                  <a:pt x="2151" y="11897"/>
                </a:cubicBezTo>
                <a:lnTo>
                  <a:pt x="2420" y="12031"/>
                </a:lnTo>
                <a:cubicBezTo>
                  <a:pt x="2857" y="12233"/>
                  <a:pt x="3327" y="12401"/>
                  <a:pt x="3798" y="12435"/>
                </a:cubicBezTo>
                <a:cubicBezTo>
                  <a:pt x="4001" y="12490"/>
                  <a:pt x="4225" y="12515"/>
                  <a:pt x="4447" y="12515"/>
                </a:cubicBezTo>
                <a:cubicBezTo>
                  <a:pt x="4628" y="12515"/>
                  <a:pt x="4808" y="12498"/>
                  <a:pt x="4974" y="12468"/>
                </a:cubicBezTo>
                <a:cubicBezTo>
                  <a:pt x="5344" y="12435"/>
                  <a:pt x="5680" y="12367"/>
                  <a:pt x="6016" y="12199"/>
                </a:cubicBezTo>
                <a:cubicBezTo>
                  <a:pt x="6520" y="11931"/>
                  <a:pt x="6990" y="11460"/>
                  <a:pt x="7192" y="10922"/>
                </a:cubicBezTo>
                <a:cubicBezTo>
                  <a:pt x="7226" y="10788"/>
                  <a:pt x="7326" y="10620"/>
                  <a:pt x="7360" y="10519"/>
                </a:cubicBezTo>
                <a:cubicBezTo>
                  <a:pt x="7394" y="10351"/>
                  <a:pt x="7461" y="10183"/>
                  <a:pt x="7461" y="10015"/>
                </a:cubicBezTo>
                <a:cubicBezTo>
                  <a:pt x="7495" y="9713"/>
                  <a:pt x="7461" y="9444"/>
                  <a:pt x="7394" y="9209"/>
                </a:cubicBezTo>
                <a:cubicBezTo>
                  <a:pt x="7360" y="8940"/>
                  <a:pt x="7293" y="8704"/>
                  <a:pt x="7158" y="8503"/>
                </a:cubicBezTo>
                <a:cubicBezTo>
                  <a:pt x="7024" y="8234"/>
                  <a:pt x="6822" y="8032"/>
                  <a:pt x="6621" y="7864"/>
                </a:cubicBezTo>
                <a:cubicBezTo>
                  <a:pt x="6311" y="7621"/>
                  <a:pt x="5927" y="7508"/>
                  <a:pt x="5538" y="7508"/>
                </a:cubicBezTo>
                <a:cubicBezTo>
                  <a:pt x="5337" y="7508"/>
                  <a:pt x="5135" y="7538"/>
                  <a:pt x="4940" y="7595"/>
                </a:cubicBezTo>
                <a:cubicBezTo>
                  <a:pt x="4537" y="7696"/>
                  <a:pt x="4201" y="7864"/>
                  <a:pt x="3932" y="8032"/>
                </a:cubicBezTo>
                <a:cubicBezTo>
                  <a:pt x="3495" y="8268"/>
                  <a:pt x="3126" y="8604"/>
                  <a:pt x="2790" y="8906"/>
                </a:cubicBezTo>
                <a:cubicBezTo>
                  <a:pt x="2454" y="9242"/>
                  <a:pt x="2118" y="9612"/>
                  <a:pt x="1815" y="10015"/>
                </a:cubicBezTo>
                <a:cubicBezTo>
                  <a:pt x="1782" y="10082"/>
                  <a:pt x="1748" y="10149"/>
                  <a:pt x="1681" y="10217"/>
                </a:cubicBezTo>
                <a:lnTo>
                  <a:pt x="1614" y="10149"/>
                </a:lnTo>
                <a:cubicBezTo>
                  <a:pt x="1479" y="9981"/>
                  <a:pt x="1345" y="9746"/>
                  <a:pt x="1277" y="9578"/>
                </a:cubicBezTo>
                <a:cubicBezTo>
                  <a:pt x="1177" y="9343"/>
                  <a:pt x="1109" y="9074"/>
                  <a:pt x="1076" y="8839"/>
                </a:cubicBezTo>
                <a:cubicBezTo>
                  <a:pt x="1009" y="8503"/>
                  <a:pt x="1009" y="8133"/>
                  <a:pt x="1076" y="7763"/>
                </a:cubicBezTo>
                <a:cubicBezTo>
                  <a:pt x="1143" y="7226"/>
                  <a:pt x="1311" y="6688"/>
                  <a:pt x="1513" y="6184"/>
                </a:cubicBezTo>
                <a:cubicBezTo>
                  <a:pt x="1849" y="5478"/>
                  <a:pt x="2252" y="4806"/>
                  <a:pt x="2689" y="4168"/>
                </a:cubicBezTo>
                <a:cubicBezTo>
                  <a:pt x="3193" y="3496"/>
                  <a:pt x="3798" y="2891"/>
                  <a:pt x="4470" y="2387"/>
                </a:cubicBezTo>
                <a:cubicBezTo>
                  <a:pt x="4974" y="2017"/>
                  <a:pt x="5478" y="1714"/>
                  <a:pt x="6016" y="1479"/>
                </a:cubicBezTo>
                <a:cubicBezTo>
                  <a:pt x="6386" y="1311"/>
                  <a:pt x="6822" y="1210"/>
                  <a:pt x="7192" y="1143"/>
                </a:cubicBezTo>
                <a:cubicBezTo>
                  <a:pt x="7343" y="1126"/>
                  <a:pt x="7495" y="1118"/>
                  <a:pt x="7642" y="1118"/>
                </a:cubicBezTo>
                <a:cubicBezTo>
                  <a:pt x="7789" y="1118"/>
                  <a:pt x="7931" y="1126"/>
                  <a:pt x="8066" y="1143"/>
                </a:cubicBezTo>
                <a:cubicBezTo>
                  <a:pt x="8200" y="1143"/>
                  <a:pt x="8368" y="1042"/>
                  <a:pt x="8469" y="975"/>
                </a:cubicBezTo>
                <a:cubicBezTo>
                  <a:pt x="8536" y="874"/>
                  <a:pt x="8637" y="706"/>
                  <a:pt x="8637" y="605"/>
                </a:cubicBezTo>
                <a:cubicBezTo>
                  <a:pt x="8637" y="471"/>
                  <a:pt x="8570" y="303"/>
                  <a:pt x="8469" y="236"/>
                </a:cubicBezTo>
                <a:cubicBezTo>
                  <a:pt x="8335" y="101"/>
                  <a:pt x="8234" y="101"/>
                  <a:pt x="8066" y="68"/>
                </a:cubicBezTo>
                <a:cubicBezTo>
                  <a:pt x="7965" y="68"/>
                  <a:pt x="7797" y="1"/>
                  <a:pt x="7663"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215" name="Google Shape;215;p11"/>
          <p:cNvGrpSpPr/>
          <p:nvPr/>
        </p:nvGrpSpPr>
        <p:grpSpPr>
          <a:xfrm>
            <a:off x="300934" y="289634"/>
            <a:ext cx="1382333" cy="683333"/>
            <a:chOff x="4028850" y="4567175"/>
            <a:chExt cx="1036750" cy="512500"/>
          </a:xfrm>
        </p:grpSpPr>
        <p:sp>
          <p:nvSpPr>
            <p:cNvPr id="216" name="Google Shape;216;p11"/>
            <p:cNvSpPr/>
            <p:nvPr/>
          </p:nvSpPr>
          <p:spPr>
            <a:xfrm>
              <a:off x="4028850" y="4567175"/>
              <a:ext cx="1035925" cy="512500"/>
            </a:xfrm>
            <a:custGeom>
              <a:avLst/>
              <a:gdLst/>
              <a:ahLst/>
              <a:cxnLst/>
              <a:rect l="l" t="t" r="r" b="b"/>
              <a:pathLst>
                <a:path w="41437" h="20500" extrusionOk="0">
                  <a:moveTo>
                    <a:pt x="16266" y="0"/>
                  </a:moveTo>
                  <a:cubicBezTo>
                    <a:pt x="15997" y="0"/>
                    <a:pt x="15728" y="0"/>
                    <a:pt x="15425" y="34"/>
                  </a:cubicBezTo>
                  <a:cubicBezTo>
                    <a:pt x="14753" y="67"/>
                    <a:pt x="14081" y="202"/>
                    <a:pt x="13409" y="336"/>
                  </a:cubicBezTo>
                  <a:cubicBezTo>
                    <a:pt x="12804" y="504"/>
                    <a:pt x="12166" y="706"/>
                    <a:pt x="11493" y="975"/>
                  </a:cubicBezTo>
                  <a:cubicBezTo>
                    <a:pt x="10889" y="1210"/>
                    <a:pt x="10317" y="1546"/>
                    <a:pt x="9746" y="1916"/>
                  </a:cubicBezTo>
                  <a:cubicBezTo>
                    <a:pt x="9208" y="2319"/>
                    <a:pt x="8704" y="2722"/>
                    <a:pt x="8200" y="3260"/>
                  </a:cubicBezTo>
                  <a:cubicBezTo>
                    <a:pt x="7158" y="4402"/>
                    <a:pt x="6453" y="5679"/>
                    <a:pt x="6150" y="6956"/>
                  </a:cubicBezTo>
                  <a:cubicBezTo>
                    <a:pt x="5982" y="7595"/>
                    <a:pt x="5982" y="8267"/>
                    <a:pt x="6083" y="8939"/>
                  </a:cubicBezTo>
                  <a:cubicBezTo>
                    <a:pt x="6150" y="9578"/>
                    <a:pt x="6352" y="10250"/>
                    <a:pt x="6688" y="10888"/>
                  </a:cubicBezTo>
                  <a:cubicBezTo>
                    <a:pt x="6789" y="11090"/>
                    <a:pt x="6923" y="11258"/>
                    <a:pt x="7024" y="11460"/>
                  </a:cubicBezTo>
                  <a:cubicBezTo>
                    <a:pt x="6923" y="11392"/>
                    <a:pt x="6755" y="11325"/>
                    <a:pt x="6486" y="11258"/>
                  </a:cubicBezTo>
                  <a:cubicBezTo>
                    <a:pt x="6150" y="11157"/>
                    <a:pt x="5781" y="11124"/>
                    <a:pt x="5444" y="11124"/>
                  </a:cubicBezTo>
                  <a:cubicBezTo>
                    <a:pt x="5243" y="11124"/>
                    <a:pt x="4974" y="11124"/>
                    <a:pt x="4739" y="11157"/>
                  </a:cubicBezTo>
                  <a:cubicBezTo>
                    <a:pt x="3563" y="11325"/>
                    <a:pt x="2454" y="11896"/>
                    <a:pt x="1546" y="12669"/>
                  </a:cubicBezTo>
                  <a:cubicBezTo>
                    <a:pt x="1109" y="13073"/>
                    <a:pt x="740" y="13577"/>
                    <a:pt x="471" y="14081"/>
                  </a:cubicBezTo>
                  <a:cubicBezTo>
                    <a:pt x="236" y="14585"/>
                    <a:pt x="68" y="15156"/>
                    <a:pt x="0" y="15761"/>
                  </a:cubicBezTo>
                  <a:cubicBezTo>
                    <a:pt x="0" y="16030"/>
                    <a:pt x="0" y="16366"/>
                    <a:pt x="68" y="16769"/>
                  </a:cubicBezTo>
                  <a:cubicBezTo>
                    <a:pt x="101" y="17139"/>
                    <a:pt x="202" y="17475"/>
                    <a:pt x="269" y="17811"/>
                  </a:cubicBezTo>
                  <a:cubicBezTo>
                    <a:pt x="437" y="18450"/>
                    <a:pt x="773" y="19021"/>
                    <a:pt x="1177" y="19559"/>
                  </a:cubicBezTo>
                  <a:cubicBezTo>
                    <a:pt x="1445" y="19895"/>
                    <a:pt x="1748" y="20197"/>
                    <a:pt x="2084" y="20466"/>
                  </a:cubicBezTo>
                  <a:lnTo>
                    <a:pt x="7293" y="20466"/>
                  </a:lnTo>
                  <a:cubicBezTo>
                    <a:pt x="14417" y="20466"/>
                    <a:pt x="21508" y="20500"/>
                    <a:pt x="28666" y="20500"/>
                  </a:cubicBezTo>
                  <a:lnTo>
                    <a:pt x="40764" y="20500"/>
                  </a:lnTo>
                  <a:cubicBezTo>
                    <a:pt x="40899" y="20365"/>
                    <a:pt x="40966" y="20298"/>
                    <a:pt x="40999" y="20163"/>
                  </a:cubicBezTo>
                  <a:cubicBezTo>
                    <a:pt x="41167" y="19861"/>
                    <a:pt x="41302" y="19525"/>
                    <a:pt x="41335" y="19155"/>
                  </a:cubicBezTo>
                  <a:cubicBezTo>
                    <a:pt x="41436" y="18618"/>
                    <a:pt x="41403" y="18046"/>
                    <a:pt x="41235" y="17542"/>
                  </a:cubicBezTo>
                  <a:cubicBezTo>
                    <a:pt x="41100" y="17105"/>
                    <a:pt x="40899" y="16635"/>
                    <a:pt x="40562" y="16265"/>
                  </a:cubicBezTo>
                  <a:cubicBezTo>
                    <a:pt x="40294" y="15929"/>
                    <a:pt x="39924" y="15593"/>
                    <a:pt x="39487" y="15257"/>
                  </a:cubicBezTo>
                  <a:cubicBezTo>
                    <a:pt x="38748" y="14753"/>
                    <a:pt x="37773" y="14350"/>
                    <a:pt x="36631" y="14148"/>
                  </a:cubicBezTo>
                  <a:cubicBezTo>
                    <a:pt x="36093" y="14014"/>
                    <a:pt x="35522" y="13980"/>
                    <a:pt x="34917" y="13980"/>
                  </a:cubicBezTo>
                  <a:cubicBezTo>
                    <a:pt x="34681" y="13980"/>
                    <a:pt x="34379" y="13980"/>
                    <a:pt x="34110" y="14014"/>
                  </a:cubicBezTo>
                  <a:cubicBezTo>
                    <a:pt x="34278" y="13846"/>
                    <a:pt x="34413" y="13644"/>
                    <a:pt x="34547" y="13342"/>
                  </a:cubicBezTo>
                  <a:cubicBezTo>
                    <a:pt x="34614" y="13140"/>
                    <a:pt x="34715" y="12905"/>
                    <a:pt x="34782" y="12569"/>
                  </a:cubicBezTo>
                  <a:cubicBezTo>
                    <a:pt x="34850" y="12266"/>
                    <a:pt x="34850" y="11964"/>
                    <a:pt x="34782" y="11628"/>
                  </a:cubicBezTo>
                  <a:cubicBezTo>
                    <a:pt x="34749" y="11392"/>
                    <a:pt x="34715" y="11090"/>
                    <a:pt x="34581" y="10787"/>
                  </a:cubicBezTo>
                  <a:cubicBezTo>
                    <a:pt x="34446" y="10485"/>
                    <a:pt x="34278" y="10216"/>
                    <a:pt x="34177" y="9981"/>
                  </a:cubicBezTo>
                  <a:cubicBezTo>
                    <a:pt x="33875" y="9477"/>
                    <a:pt x="33404" y="9040"/>
                    <a:pt x="32867" y="8637"/>
                  </a:cubicBezTo>
                  <a:cubicBezTo>
                    <a:pt x="32396" y="8301"/>
                    <a:pt x="31825" y="8065"/>
                    <a:pt x="31220" y="7897"/>
                  </a:cubicBezTo>
                  <a:cubicBezTo>
                    <a:pt x="30850" y="7797"/>
                    <a:pt x="30481" y="7763"/>
                    <a:pt x="30145" y="7763"/>
                  </a:cubicBezTo>
                  <a:cubicBezTo>
                    <a:pt x="29909" y="7763"/>
                    <a:pt x="29674" y="7763"/>
                    <a:pt x="29405" y="7797"/>
                  </a:cubicBezTo>
                  <a:cubicBezTo>
                    <a:pt x="29137" y="7864"/>
                    <a:pt x="28868" y="7931"/>
                    <a:pt x="28532" y="8065"/>
                  </a:cubicBezTo>
                  <a:cubicBezTo>
                    <a:pt x="28229" y="8200"/>
                    <a:pt x="27960" y="8368"/>
                    <a:pt x="27691" y="8603"/>
                  </a:cubicBezTo>
                  <a:cubicBezTo>
                    <a:pt x="27389" y="8906"/>
                    <a:pt x="27154" y="9242"/>
                    <a:pt x="26952" y="9578"/>
                  </a:cubicBezTo>
                  <a:lnTo>
                    <a:pt x="26818" y="9746"/>
                  </a:lnTo>
                  <a:cubicBezTo>
                    <a:pt x="26818" y="9712"/>
                    <a:pt x="26717" y="9611"/>
                    <a:pt x="26683" y="9578"/>
                  </a:cubicBezTo>
                  <a:cubicBezTo>
                    <a:pt x="26482" y="9410"/>
                    <a:pt x="26280" y="9275"/>
                    <a:pt x="26011" y="9208"/>
                  </a:cubicBezTo>
                  <a:cubicBezTo>
                    <a:pt x="25877" y="9141"/>
                    <a:pt x="25709" y="9141"/>
                    <a:pt x="25608" y="9141"/>
                  </a:cubicBezTo>
                  <a:cubicBezTo>
                    <a:pt x="25474" y="9141"/>
                    <a:pt x="25373" y="9141"/>
                    <a:pt x="25272" y="9208"/>
                  </a:cubicBezTo>
                  <a:lnTo>
                    <a:pt x="25171" y="9242"/>
                  </a:lnTo>
                  <a:cubicBezTo>
                    <a:pt x="25272" y="8805"/>
                    <a:pt x="25272" y="8368"/>
                    <a:pt x="25272" y="7897"/>
                  </a:cubicBezTo>
                  <a:cubicBezTo>
                    <a:pt x="25272" y="7225"/>
                    <a:pt x="25137" y="6553"/>
                    <a:pt x="24936" y="5881"/>
                  </a:cubicBezTo>
                  <a:cubicBezTo>
                    <a:pt x="24533" y="4570"/>
                    <a:pt x="23827" y="3361"/>
                    <a:pt x="22852" y="2386"/>
                  </a:cubicBezTo>
                  <a:cubicBezTo>
                    <a:pt x="21978" y="1512"/>
                    <a:pt x="20802" y="840"/>
                    <a:pt x="19424" y="403"/>
                  </a:cubicBezTo>
                  <a:cubicBezTo>
                    <a:pt x="18820" y="235"/>
                    <a:pt x="18215" y="134"/>
                    <a:pt x="17442" y="34"/>
                  </a:cubicBezTo>
                  <a:cubicBezTo>
                    <a:pt x="17072" y="34"/>
                    <a:pt x="16669" y="0"/>
                    <a:pt x="16266"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17" name="Google Shape;217;p11"/>
            <p:cNvSpPr/>
            <p:nvPr/>
          </p:nvSpPr>
          <p:spPr>
            <a:xfrm>
              <a:off x="4028850" y="4567175"/>
              <a:ext cx="1036750" cy="512500"/>
            </a:xfrm>
            <a:custGeom>
              <a:avLst/>
              <a:gdLst/>
              <a:ahLst/>
              <a:cxnLst/>
              <a:rect l="l" t="t" r="r" b="b"/>
              <a:pathLst>
                <a:path w="41470" h="20500" extrusionOk="0">
                  <a:moveTo>
                    <a:pt x="14787" y="0"/>
                  </a:moveTo>
                  <a:cubicBezTo>
                    <a:pt x="14384" y="134"/>
                    <a:pt x="13880" y="202"/>
                    <a:pt x="13409" y="336"/>
                  </a:cubicBezTo>
                  <a:cubicBezTo>
                    <a:pt x="12804" y="504"/>
                    <a:pt x="12166" y="706"/>
                    <a:pt x="11493" y="975"/>
                  </a:cubicBezTo>
                  <a:cubicBezTo>
                    <a:pt x="10889" y="1210"/>
                    <a:pt x="10317" y="1546"/>
                    <a:pt x="9746" y="1916"/>
                  </a:cubicBezTo>
                  <a:cubicBezTo>
                    <a:pt x="9208" y="2252"/>
                    <a:pt x="8704" y="2722"/>
                    <a:pt x="8200" y="3260"/>
                  </a:cubicBezTo>
                  <a:cubicBezTo>
                    <a:pt x="7158" y="4402"/>
                    <a:pt x="6453" y="5679"/>
                    <a:pt x="6150" y="6956"/>
                  </a:cubicBezTo>
                  <a:cubicBezTo>
                    <a:pt x="5982" y="7595"/>
                    <a:pt x="5982" y="8267"/>
                    <a:pt x="6083" y="8939"/>
                  </a:cubicBezTo>
                  <a:cubicBezTo>
                    <a:pt x="6150" y="9578"/>
                    <a:pt x="6352" y="10250"/>
                    <a:pt x="6688" y="10888"/>
                  </a:cubicBezTo>
                  <a:cubicBezTo>
                    <a:pt x="6789" y="11056"/>
                    <a:pt x="6923" y="11258"/>
                    <a:pt x="7024" y="11460"/>
                  </a:cubicBezTo>
                  <a:cubicBezTo>
                    <a:pt x="6923" y="11392"/>
                    <a:pt x="6789" y="11292"/>
                    <a:pt x="6486" y="11258"/>
                  </a:cubicBezTo>
                  <a:cubicBezTo>
                    <a:pt x="6150" y="11157"/>
                    <a:pt x="5781" y="11124"/>
                    <a:pt x="5444" y="11124"/>
                  </a:cubicBezTo>
                  <a:cubicBezTo>
                    <a:pt x="5243" y="11124"/>
                    <a:pt x="5008" y="11124"/>
                    <a:pt x="4739" y="11157"/>
                  </a:cubicBezTo>
                  <a:cubicBezTo>
                    <a:pt x="3563" y="11325"/>
                    <a:pt x="2420" y="11896"/>
                    <a:pt x="1546" y="12669"/>
                  </a:cubicBezTo>
                  <a:cubicBezTo>
                    <a:pt x="1109" y="13073"/>
                    <a:pt x="740" y="13577"/>
                    <a:pt x="471" y="14081"/>
                  </a:cubicBezTo>
                  <a:cubicBezTo>
                    <a:pt x="236" y="14619"/>
                    <a:pt x="68" y="15156"/>
                    <a:pt x="0" y="15761"/>
                  </a:cubicBezTo>
                  <a:cubicBezTo>
                    <a:pt x="0" y="16030"/>
                    <a:pt x="0" y="16366"/>
                    <a:pt x="68" y="16769"/>
                  </a:cubicBezTo>
                  <a:cubicBezTo>
                    <a:pt x="101" y="17139"/>
                    <a:pt x="202" y="17475"/>
                    <a:pt x="269" y="17811"/>
                  </a:cubicBezTo>
                  <a:cubicBezTo>
                    <a:pt x="437" y="18450"/>
                    <a:pt x="773" y="19021"/>
                    <a:pt x="1177" y="19559"/>
                  </a:cubicBezTo>
                  <a:cubicBezTo>
                    <a:pt x="1445" y="19895"/>
                    <a:pt x="1748" y="20197"/>
                    <a:pt x="2084" y="20466"/>
                  </a:cubicBezTo>
                  <a:lnTo>
                    <a:pt x="7293" y="20466"/>
                  </a:lnTo>
                  <a:cubicBezTo>
                    <a:pt x="14417" y="20466"/>
                    <a:pt x="21575" y="20500"/>
                    <a:pt x="28666" y="20500"/>
                  </a:cubicBezTo>
                  <a:lnTo>
                    <a:pt x="40764" y="20500"/>
                  </a:lnTo>
                  <a:cubicBezTo>
                    <a:pt x="40899" y="20365"/>
                    <a:pt x="40966" y="20298"/>
                    <a:pt x="41067" y="20163"/>
                  </a:cubicBezTo>
                  <a:cubicBezTo>
                    <a:pt x="41235" y="19895"/>
                    <a:pt x="41335" y="19559"/>
                    <a:pt x="41403" y="19155"/>
                  </a:cubicBezTo>
                  <a:cubicBezTo>
                    <a:pt x="41470" y="18618"/>
                    <a:pt x="41436" y="18046"/>
                    <a:pt x="41268" y="17542"/>
                  </a:cubicBezTo>
                  <a:cubicBezTo>
                    <a:pt x="41134" y="17105"/>
                    <a:pt x="40932" y="16635"/>
                    <a:pt x="40596" y="16265"/>
                  </a:cubicBezTo>
                  <a:cubicBezTo>
                    <a:pt x="40327" y="15929"/>
                    <a:pt x="39958" y="15593"/>
                    <a:pt x="39487" y="15257"/>
                  </a:cubicBezTo>
                  <a:cubicBezTo>
                    <a:pt x="38949" y="14854"/>
                    <a:pt x="38244" y="14518"/>
                    <a:pt x="37471" y="14316"/>
                  </a:cubicBezTo>
                  <a:cubicBezTo>
                    <a:pt x="37236" y="14787"/>
                    <a:pt x="36899" y="15190"/>
                    <a:pt x="36563" y="15593"/>
                  </a:cubicBezTo>
                  <a:cubicBezTo>
                    <a:pt x="36227" y="15996"/>
                    <a:pt x="35858" y="16366"/>
                    <a:pt x="35421" y="16702"/>
                  </a:cubicBezTo>
                  <a:cubicBezTo>
                    <a:pt x="35118" y="16971"/>
                    <a:pt x="34782" y="17206"/>
                    <a:pt x="34446" y="17475"/>
                  </a:cubicBezTo>
                  <a:cubicBezTo>
                    <a:pt x="33001" y="18483"/>
                    <a:pt x="31254" y="19122"/>
                    <a:pt x="29540" y="19458"/>
                  </a:cubicBezTo>
                  <a:cubicBezTo>
                    <a:pt x="28229" y="19693"/>
                    <a:pt x="26885" y="19861"/>
                    <a:pt x="25541" y="19895"/>
                  </a:cubicBezTo>
                  <a:cubicBezTo>
                    <a:pt x="25165" y="19913"/>
                    <a:pt x="24787" y="19922"/>
                    <a:pt x="24408" y="19922"/>
                  </a:cubicBezTo>
                  <a:cubicBezTo>
                    <a:pt x="23430" y="19922"/>
                    <a:pt x="22443" y="19866"/>
                    <a:pt x="21474" y="19794"/>
                  </a:cubicBezTo>
                  <a:cubicBezTo>
                    <a:pt x="20231" y="19659"/>
                    <a:pt x="18954" y="19491"/>
                    <a:pt x="17711" y="19223"/>
                  </a:cubicBezTo>
                  <a:cubicBezTo>
                    <a:pt x="16602" y="19021"/>
                    <a:pt x="15560" y="18819"/>
                    <a:pt x="14518" y="18450"/>
                  </a:cubicBezTo>
                  <a:cubicBezTo>
                    <a:pt x="14014" y="18282"/>
                    <a:pt x="13443" y="18046"/>
                    <a:pt x="13006" y="17777"/>
                  </a:cubicBezTo>
                  <a:cubicBezTo>
                    <a:pt x="12535" y="17509"/>
                    <a:pt x="12065" y="17206"/>
                    <a:pt x="11662" y="16870"/>
                  </a:cubicBezTo>
                  <a:cubicBezTo>
                    <a:pt x="11426" y="16702"/>
                    <a:pt x="11225" y="16500"/>
                    <a:pt x="11057" y="16299"/>
                  </a:cubicBezTo>
                  <a:cubicBezTo>
                    <a:pt x="10889" y="16131"/>
                    <a:pt x="10754" y="15929"/>
                    <a:pt x="10653" y="15694"/>
                  </a:cubicBezTo>
                  <a:cubicBezTo>
                    <a:pt x="10385" y="15291"/>
                    <a:pt x="10250" y="14787"/>
                    <a:pt x="10216" y="14282"/>
                  </a:cubicBezTo>
                  <a:lnTo>
                    <a:pt x="10216" y="13812"/>
                  </a:lnTo>
                  <a:cubicBezTo>
                    <a:pt x="10216" y="13678"/>
                    <a:pt x="10250" y="13510"/>
                    <a:pt x="10250" y="13409"/>
                  </a:cubicBezTo>
                  <a:cubicBezTo>
                    <a:pt x="10317" y="13106"/>
                    <a:pt x="10385" y="12837"/>
                    <a:pt x="10519" y="12569"/>
                  </a:cubicBezTo>
                  <a:cubicBezTo>
                    <a:pt x="10754" y="12065"/>
                    <a:pt x="11157" y="11594"/>
                    <a:pt x="11594" y="11258"/>
                  </a:cubicBezTo>
                  <a:cubicBezTo>
                    <a:pt x="11863" y="11090"/>
                    <a:pt x="12098" y="10922"/>
                    <a:pt x="12367" y="10787"/>
                  </a:cubicBezTo>
                  <a:cubicBezTo>
                    <a:pt x="12602" y="10653"/>
                    <a:pt x="12871" y="10586"/>
                    <a:pt x="13174" y="10485"/>
                  </a:cubicBezTo>
                  <a:cubicBezTo>
                    <a:pt x="13443" y="10418"/>
                    <a:pt x="13779" y="10317"/>
                    <a:pt x="14081" y="10283"/>
                  </a:cubicBezTo>
                  <a:cubicBezTo>
                    <a:pt x="14216" y="10250"/>
                    <a:pt x="14384" y="10250"/>
                    <a:pt x="14518" y="10250"/>
                  </a:cubicBezTo>
                  <a:cubicBezTo>
                    <a:pt x="14115" y="9947"/>
                    <a:pt x="13779" y="9645"/>
                    <a:pt x="13543" y="9275"/>
                  </a:cubicBezTo>
                  <a:cubicBezTo>
                    <a:pt x="13207" y="8872"/>
                    <a:pt x="12939" y="8401"/>
                    <a:pt x="12737" y="7897"/>
                  </a:cubicBezTo>
                  <a:cubicBezTo>
                    <a:pt x="12670" y="7629"/>
                    <a:pt x="12569" y="7393"/>
                    <a:pt x="12502" y="7091"/>
                  </a:cubicBezTo>
                  <a:lnTo>
                    <a:pt x="12367" y="6352"/>
                  </a:lnTo>
                  <a:cubicBezTo>
                    <a:pt x="12334" y="5780"/>
                    <a:pt x="12334" y="5243"/>
                    <a:pt x="12367" y="4738"/>
                  </a:cubicBezTo>
                  <a:cubicBezTo>
                    <a:pt x="12502" y="3831"/>
                    <a:pt x="12737" y="2890"/>
                    <a:pt x="13174" y="2084"/>
                  </a:cubicBezTo>
                  <a:cubicBezTo>
                    <a:pt x="13375" y="1680"/>
                    <a:pt x="13611" y="1311"/>
                    <a:pt x="13913" y="907"/>
                  </a:cubicBezTo>
                  <a:cubicBezTo>
                    <a:pt x="14182" y="571"/>
                    <a:pt x="14451" y="303"/>
                    <a:pt x="147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18" name="Google Shape;218;p11"/>
            <p:cNvSpPr/>
            <p:nvPr/>
          </p:nvSpPr>
          <p:spPr>
            <a:xfrm>
              <a:off x="4391800" y="4604125"/>
              <a:ext cx="218450" cy="168900"/>
            </a:xfrm>
            <a:custGeom>
              <a:avLst/>
              <a:gdLst/>
              <a:ahLst/>
              <a:cxnLst/>
              <a:rect l="l" t="t" r="r" b="b"/>
              <a:pathLst>
                <a:path w="8738" h="6756" extrusionOk="0">
                  <a:moveTo>
                    <a:pt x="3397" y="1057"/>
                  </a:moveTo>
                  <a:cubicBezTo>
                    <a:pt x="3405" y="1076"/>
                    <a:pt x="3428" y="1076"/>
                    <a:pt x="3428" y="1076"/>
                  </a:cubicBezTo>
                  <a:cubicBezTo>
                    <a:pt x="3428" y="1074"/>
                    <a:pt x="3428" y="1072"/>
                    <a:pt x="3427" y="1070"/>
                  </a:cubicBezTo>
                  <a:lnTo>
                    <a:pt x="3427" y="1070"/>
                  </a:lnTo>
                  <a:cubicBezTo>
                    <a:pt x="3417" y="1066"/>
                    <a:pt x="3407" y="1061"/>
                    <a:pt x="3397" y="1057"/>
                  </a:cubicBezTo>
                  <a:close/>
                  <a:moveTo>
                    <a:pt x="1882" y="1"/>
                  </a:moveTo>
                  <a:cubicBezTo>
                    <a:pt x="1378" y="34"/>
                    <a:pt x="840" y="102"/>
                    <a:pt x="302" y="270"/>
                  </a:cubicBezTo>
                  <a:cubicBezTo>
                    <a:pt x="134" y="337"/>
                    <a:pt x="0" y="505"/>
                    <a:pt x="34" y="706"/>
                  </a:cubicBezTo>
                  <a:cubicBezTo>
                    <a:pt x="61" y="844"/>
                    <a:pt x="224" y="959"/>
                    <a:pt x="375" y="959"/>
                  </a:cubicBezTo>
                  <a:cubicBezTo>
                    <a:pt x="408" y="959"/>
                    <a:pt x="440" y="954"/>
                    <a:pt x="470" y="942"/>
                  </a:cubicBezTo>
                  <a:cubicBezTo>
                    <a:pt x="706" y="874"/>
                    <a:pt x="941" y="774"/>
                    <a:pt x="1243" y="740"/>
                  </a:cubicBezTo>
                  <a:cubicBezTo>
                    <a:pt x="1411" y="723"/>
                    <a:pt x="1571" y="715"/>
                    <a:pt x="1731" y="715"/>
                  </a:cubicBezTo>
                  <a:cubicBezTo>
                    <a:pt x="1890" y="715"/>
                    <a:pt x="2050" y="723"/>
                    <a:pt x="2218" y="740"/>
                  </a:cubicBezTo>
                  <a:cubicBezTo>
                    <a:pt x="2588" y="774"/>
                    <a:pt x="2991" y="908"/>
                    <a:pt x="3361" y="1042"/>
                  </a:cubicBezTo>
                  <a:cubicBezTo>
                    <a:pt x="3373" y="1047"/>
                    <a:pt x="3385" y="1052"/>
                    <a:pt x="3397" y="1057"/>
                  </a:cubicBezTo>
                  <a:lnTo>
                    <a:pt x="3397" y="1057"/>
                  </a:lnTo>
                  <a:cubicBezTo>
                    <a:pt x="3395" y="1053"/>
                    <a:pt x="3394" y="1048"/>
                    <a:pt x="3394" y="1042"/>
                  </a:cubicBezTo>
                  <a:lnTo>
                    <a:pt x="3394" y="1042"/>
                  </a:lnTo>
                  <a:cubicBezTo>
                    <a:pt x="3394" y="1042"/>
                    <a:pt x="3424" y="1043"/>
                    <a:pt x="3427" y="1070"/>
                  </a:cubicBezTo>
                  <a:lnTo>
                    <a:pt x="3427" y="1070"/>
                  </a:lnTo>
                  <a:cubicBezTo>
                    <a:pt x="3904" y="1271"/>
                    <a:pt x="4321" y="1562"/>
                    <a:pt x="4738" y="1883"/>
                  </a:cubicBezTo>
                  <a:cubicBezTo>
                    <a:pt x="5243" y="2286"/>
                    <a:pt x="5713" y="2756"/>
                    <a:pt x="6116" y="3260"/>
                  </a:cubicBezTo>
                  <a:cubicBezTo>
                    <a:pt x="6620" y="3933"/>
                    <a:pt x="7091" y="4638"/>
                    <a:pt x="7393" y="5411"/>
                  </a:cubicBezTo>
                  <a:cubicBezTo>
                    <a:pt x="7528" y="5714"/>
                    <a:pt x="7629" y="6050"/>
                    <a:pt x="7662" y="6386"/>
                  </a:cubicBezTo>
                  <a:cubicBezTo>
                    <a:pt x="7729" y="6621"/>
                    <a:pt x="7965" y="6755"/>
                    <a:pt x="8166" y="6755"/>
                  </a:cubicBezTo>
                  <a:cubicBezTo>
                    <a:pt x="8469" y="6755"/>
                    <a:pt x="8738" y="6487"/>
                    <a:pt x="8738" y="6218"/>
                  </a:cubicBezTo>
                  <a:cubicBezTo>
                    <a:pt x="8670" y="5747"/>
                    <a:pt x="8637" y="5310"/>
                    <a:pt x="8502" y="4907"/>
                  </a:cubicBezTo>
                  <a:cubicBezTo>
                    <a:pt x="8401" y="4437"/>
                    <a:pt x="8133" y="3933"/>
                    <a:pt x="7897" y="3529"/>
                  </a:cubicBezTo>
                  <a:cubicBezTo>
                    <a:pt x="7629" y="3059"/>
                    <a:pt x="7292" y="2689"/>
                    <a:pt x="6923" y="2286"/>
                  </a:cubicBezTo>
                  <a:cubicBezTo>
                    <a:pt x="6553" y="1916"/>
                    <a:pt x="6150" y="1580"/>
                    <a:pt x="5747" y="1278"/>
                  </a:cubicBezTo>
                  <a:cubicBezTo>
                    <a:pt x="4940" y="740"/>
                    <a:pt x="4033" y="337"/>
                    <a:pt x="3058" y="102"/>
                  </a:cubicBezTo>
                  <a:cubicBezTo>
                    <a:pt x="2688" y="34"/>
                    <a:pt x="2285" y="1"/>
                    <a:pt x="188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19" name="Google Shape;219;p11"/>
            <p:cNvSpPr/>
            <p:nvPr/>
          </p:nvSpPr>
          <p:spPr>
            <a:xfrm>
              <a:off x="4758100" y="4797575"/>
              <a:ext cx="105025" cy="119125"/>
            </a:xfrm>
            <a:custGeom>
              <a:avLst/>
              <a:gdLst/>
              <a:ahLst/>
              <a:cxnLst/>
              <a:rect l="l" t="t" r="r" b="b"/>
              <a:pathLst>
                <a:path w="4201" h="4765" extrusionOk="0">
                  <a:moveTo>
                    <a:pt x="433" y="0"/>
                  </a:moveTo>
                  <a:cubicBezTo>
                    <a:pt x="378" y="0"/>
                    <a:pt x="336" y="9"/>
                    <a:pt x="303" y="26"/>
                  </a:cubicBezTo>
                  <a:cubicBezTo>
                    <a:pt x="202" y="26"/>
                    <a:pt x="168" y="59"/>
                    <a:pt x="101" y="93"/>
                  </a:cubicBezTo>
                  <a:cubicBezTo>
                    <a:pt x="34" y="160"/>
                    <a:pt x="0" y="227"/>
                    <a:pt x="0" y="328"/>
                  </a:cubicBezTo>
                  <a:cubicBezTo>
                    <a:pt x="0" y="429"/>
                    <a:pt x="135" y="597"/>
                    <a:pt x="303" y="597"/>
                  </a:cubicBezTo>
                  <a:lnTo>
                    <a:pt x="840" y="597"/>
                  </a:lnTo>
                  <a:cubicBezTo>
                    <a:pt x="1008" y="664"/>
                    <a:pt x="1210" y="698"/>
                    <a:pt x="1378" y="731"/>
                  </a:cubicBezTo>
                  <a:cubicBezTo>
                    <a:pt x="1546" y="832"/>
                    <a:pt x="1680" y="899"/>
                    <a:pt x="1815" y="1000"/>
                  </a:cubicBezTo>
                  <a:cubicBezTo>
                    <a:pt x="1983" y="1101"/>
                    <a:pt x="2151" y="1269"/>
                    <a:pt x="2319" y="1504"/>
                  </a:cubicBezTo>
                  <a:cubicBezTo>
                    <a:pt x="2487" y="1740"/>
                    <a:pt x="2655" y="2008"/>
                    <a:pt x="2789" y="2277"/>
                  </a:cubicBezTo>
                  <a:cubicBezTo>
                    <a:pt x="2890" y="2647"/>
                    <a:pt x="3025" y="3050"/>
                    <a:pt x="3058" y="3420"/>
                  </a:cubicBezTo>
                  <a:cubicBezTo>
                    <a:pt x="3125" y="3722"/>
                    <a:pt x="3125" y="3991"/>
                    <a:pt x="3058" y="4294"/>
                  </a:cubicBezTo>
                  <a:cubicBezTo>
                    <a:pt x="3058" y="4428"/>
                    <a:pt x="3125" y="4562"/>
                    <a:pt x="3193" y="4630"/>
                  </a:cubicBezTo>
                  <a:cubicBezTo>
                    <a:pt x="3294" y="4730"/>
                    <a:pt x="3394" y="4764"/>
                    <a:pt x="3529" y="4764"/>
                  </a:cubicBezTo>
                  <a:cubicBezTo>
                    <a:pt x="3663" y="4764"/>
                    <a:pt x="3798" y="4730"/>
                    <a:pt x="3865" y="4630"/>
                  </a:cubicBezTo>
                  <a:cubicBezTo>
                    <a:pt x="3966" y="4562"/>
                    <a:pt x="3999" y="4428"/>
                    <a:pt x="3999" y="4294"/>
                  </a:cubicBezTo>
                  <a:cubicBezTo>
                    <a:pt x="4201" y="2344"/>
                    <a:pt x="2722" y="26"/>
                    <a:pt x="639" y="26"/>
                  </a:cubicBezTo>
                  <a:cubicBezTo>
                    <a:pt x="555" y="9"/>
                    <a:pt x="487" y="0"/>
                    <a:pt x="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220" name="Google Shape;220;p11"/>
          <p:cNvGrpSpPr/>
          <p:nvPr/>
        </p:nvGrpSpPr>
        <p:grpSpPr>
          <a:xfrm>
            <a:off x="1356967" y="1540518"/>
            <a:ext cx="1818133" cy="1005967"/>
            <a:chOff x="3068550" y="1094025"/>
            <a:chExt cx="1363600" cy="754475"/>
          </a:xfrm>
        </p:grpSpPr>
        <p:sp>
          <p:nvSpPr>
            <p:cNvPr id="221" name="Google Shape;221;p11"/>
            <p:cNvSpPr/>
            <p:nvPr/>
          </p:nvSpPr>
          <p:spPr>
            <a:xfrm>
              <a:off x="3070250" y="1094025"/>
              <a:ext cx="1361900" cy="754475"/>
            </a:xfrm>
            <a:custGeom>
              <a:avLst/>
              <a:gdLst/>
              <a:ahLst/>
              <a:cxnLst/>
              <a:rect l="l" t="t" r="r" b="b"/>
              <a:pathLst>
                <a:path w="54476" h="30179" extrusionOk="0">
                  <a:moveTo>
                    <a:pt x="41234" y="18114"/>
                  </a:moveTo>
                  <a:cubicBezTo>
                    <a:pt x="42579" y="18114"/>
                    <a:pt x="43620" y="19189"/>
                    <a:pt x="43654" y="20500"/>
                  </a:cubicBezTo>
                  <a:cubicBezTo>
                    <a:pt x="43654" y="21138"/>
                    <a:pt x="43419" y="21777"/>
                    <a:pt x="42948" y="22214"/>
                  </a:cubicBezTo>
                  <a:cubicBezTo>
                    <a:pt x="42478" y="22684"/>
                    <a:pt x="41907" y="22953"/>
                    <a:pt x="41234" y="22953"/>
                  </a:cubicBezTo>
                  <a:cubicBezTo>
                    <a:pt x="41215" y="22953"/>
                    <a:pt x="41196" y="22954"/>
                    <a:pt x="41176" y="22954"/>
                  </a:cubicBezTo>
                  <a:cubicBezTo>
                    <a:pt x="39891" y="22954"/>
                    <a:pt x="38815" y="21858"/>
                    <a:pt x="38815" y="20533"/>
                  </a:cubicBezTo>
                  <a:cubicBezTo>
                    <a:pt x="38815" y="19189"/>
                    <a:pt x="39924" y="18114"/>
                    <a:pt x="41234" y="18114"/>
                  </a:cubicBezTo>
                  <a:close/>
                  <a:moveTo>
                    <a:pt x="14619" y="18349"/>
                  </a:moveTo>
                  <a:cubicBezTo>
                    <a:pt x="15963" y="18349"/>
                    <a:pt x="17038" y="19458"/>
                    <a:pt x="17072" y="20768"/>
                  </a:cubicBezTo>
                  <a:cubicBezTo>
                    <a:pt x="17072" y="21373"/>
                    <a:pt x="16803" y="22012"/>
                    <a:pt x="16366" y="22482"/>
                  </a:cubicBezTo>
                  <a:cubicBezTo>
                    <a:pt x="15896" y="22953"/>
                    <a:pt x="15291" y="23188"/>
                    <a:pt x="14619" y="23188"/>
                  </a:cubicBezTo>
                  <a:cubicBezTo>
                    <a:pt x="14598" y="23189"/>
                    <a:pt x="14578" y="23189"/>
                    <a:pt x="14557" y="23189"/>
                  </a:cubicBezTo>
                  <a:cubicBezTo>
                    <a:pt x="13242" y="23189"/>
                    <a:pt x="12199" y="22126"/>
                    <a:pt x="12199" y="20802"/>
                  </a:cubicBezTo>
                  <a:cubicBezTo>
                    <a:pt x="12199" y="20164"/>
                    <a:pt x="12434" y="19525"/>
                    <a:pt x="12905" y="19088"/>
                  </a:cubicBezTo>
                  <a:cubicBezTo>
                    <a:pt x="13375" y="18618"/>
                    <a:pt x="13947" y="18349"/>
                    <a:pt x="14619" y="18349"/>
                  </a:cubicBezTo>
                  <a:close/>
                  <a:moveTo>
                    <a:pt x="31926" y="0"/>
                  </a:moveTo>
                  <a:cubicBezTo>
                    <a:pt x="30346" y="101"/>
                    <a:pt x="28867" y="370"/>
                    <a:pt x="27523" y="874"/>
                  </a:cubicBezTo>
                  <a:cubicBezTo>
                    <a:pt x="26650" y="1210"/>
                    <a:pt x="25809" y="1680"/>
                    <a:pt x="25104" y="2285"/>
                  </a:cubicBezTo>
                  <a:cubicBezTo>
                    <a:pt x="24230" y="2890"/>
                    <a:pt x="23524" y="3663"/>
                    <a:pt x="22953" y="4503"/>
                  </a:cubicBezTo>
                  <a:cubicBezTo>
                    <a:pt x="22348" y="5343"/>
                    <a:pt x="21978" y="6251"/>
                    <a:pt x="21810" y="7225"/>
                  </a:cubicBezTo>
                  <a:cubicBezTo>
                    <a:pt x="21642" y="8066"/>
                    <a:pt x="21676" y="8906"/>
                    <a:pt x="21877" y="9712"/>
                  </a:cubicBezTo>
                  <a:cubicBezTo>
                    <a:pt x="21441" y="9712"/>
                    <a:pt x="21004" y="9880"/>
                    <a:pt x="20668" y="10183"/>
                  </a:cubicBezTo>
                  <a:cubicBezTo>
                    <a:pt x="20466" y="10351"/>
                    <a:pt x="20298" y="10552"/>
                    <a:pt x="20164" y="10788"/>
                  </a:cubicBezTo>
                  <a:lnTo>
                    <a:pt x="20164" y="10754"/>
                  </a:lnTo>
                  <a:cubicBezTo>
                    <a:pt x="19996" y="10552"/>
                    <a:pt x="19828" y="10351"/>
                    <a:pt x="19626" y="10082"/>
                  </a:cubicBezTo>
                  <a:cubicBezTo>
                    <a:pt x="19323" y="9779"/>
                    <a:pt x="19055" y="9511"/>
                    <a:pt x="18651" y="9242"/>
                  </a:cubicBezTo>
                  <a:cubicBezTo>
                    <a:pt x="18013" y="8771"/>
                    <a:pt x="17307" y="8502"/>
                    <a:pt x="16568" y="8334"/>
                  </a:cubicBezTo>
                  <a:cubicBezTo>
                    <a:pt x="16198" y="8234"/>
                    <a:pt x="15795" y="8200"/>
                    <a:pt x="15425" y="8200"/>
                  </a:cubicBezTo>
                  <a:cubicBezTo>
                    <a:pt x="15056" y="8200"/>
                    <a:pt x="14652" y="8234"/>
                    <a:pt x="14249" y="8334"/>
                  </a:cubicBezTo>
                  <a:cubicBezTo>
                    <a:pt x="13543" y="8435"/>
                    <a:pt x="12770" y="8704"/>
                    <a:pt x="12031" y="9074"/>
                  </a:cubicBezTo>
                  <a:cubicBezTo>
                    <a:pt x="11359" y="9410"/>
                    <a:pt x="10687" y="9880"/>
                    <a:pt x="10015" y="10452"/>
                  </a:cubicBezTo>
                  <a:cubicBezTo>
                    <a:pt x="9410" y="11023"/>
                    <a:pt x="8872" y="11628"/>
                    <a:pt x="8368" y="12300"/>
                  </a:cubicBezTo>
                  <a:cubicBezTo>
                    <a:pt x="7393" y="13711"/>
                    <a:pt x="6889" y="15324"/>
                    <a:pt x="6957" y="16837"/>
                  </a:cubicBezTo>
                  <a:cubicBezTo>
                    <a:pt x="6957" y="17475"/>
                    <a:pt x="7057" y="18114"/>
                    <a:pt x="7293" y="18752"/>
                  </a:cubicBezTo>
                  <a:cubicBezTo>
                    <a:pt x="7158" y="18651"/>
                    <a:pt x="7024" y="18618"/>
                    <a:pt x="6957" y="18584"/>
                  </a:cubicBezTo>
                  <a:cubicBezTo>
                    <a:pt x="6587" y="18450"/>
                    <a:pt x="6217" y="18349"/>
                    <a:pt x="5848" y="18349"/>
                  </a:cubicBezTo>
                  <a:lnTo>
                    <a:pt x="5545" y="18349"/>
                  </a:lnTo>
                  <a:cubicBezTo>
                    <a:pt x="4638" y="18450"/>
                    <a:pt x="3697" y="18819"/>
                    <a:pt x="2789" y="19491"/>
                  </a:cubicBezTo>
                  <a:cubicBezTo>
                    <a:pt x="1949" y="20130"/>
                    <a:pt x="1210" y="20869"/>
                    <a:pt x="773" y="21777"/>
                  </a:cubicBezTo>
                  <a:cubicBezTo>
                    <a:pt x="269" y="22617"/>
                    <a:pt x="0" y="23659"/>
                    <a:pt x="34" y="24700"/>
                  </a:cubicBezTo>
                  <a:cubicBezTo>
                    <a:pt x="101" y="25809"/>
                    <a:pt x="437" y="26986"/>
                    <a:pt x="1042" y="28027"/>
                  </a:cubicBezTo>
                  <a:cubicBezTo>
                    <a:pt x="1546" y="28901"/>
                    <a:pt x="2285" y="29607"/>
                    <a:pt x="3058" y="30178"/>
                  </a:cubicBezTo>
                  <a:lnTo>
                    <a:pt x="53904" y="30178"/>
                  </a:lnTo>
                  <a:lnTo>
                    <a:pt x="53971" y="30044"/>
                  </a:lnTo>
                  <a:cubicBezTo>
                    <a:pt x="54072" y="29909"/>
                    <a:pt x="54105" y="29842"/>
                    <a:pt x="54139" y="29708"/>
                  </a:cubicBezTo>
                  <a:cubicBezTo>
                    <a:pt x="54240" y="29506"/>
                    <a:pt x="54273" y="29237"/>
                    <a:pt x="54374" y="28935"/>
                  </a:cubicBezTo>
                  <a:cubicBezTo>
                    <a:pt x="54441" y="28431"/>
                    <a:pt x="54475" y="27893"/>
                    <a:pt x="54441" y="27254"/>
                  </a:cubicBezTo>
                  <a:cubicBezTo>
                    <a:pt x="54408" y="26683"/>
                    <a:pt x="54307" y="26145"/>
                    <a:pt x="54139" y="25540"/>
                  </a:cubicBezTo>
                  <a:cubicBezTo>
                    <a:pt x="53971" y="25003"/>
                    <a:pt x="53803" y="24532"/>
                    <a:pt x="53568" y="24062"/>
                  </a:cubicBezTo>
                  <a:cubicBezTo>
                    <a:pt x="53400" y="23793"/>
                    <a:pt x="53198" y="23524"/>
                    <a:pt x="52896" y="23188"/>
                  </a:cubicBezTo>
                  <a:cubicBezTo>
                    <a:pt x="52627" y="22886"/>
                    <a:pt x="52291" y="22617"/>
                    <a:pt x="51955" y="22314"/>
                  </a:cubicBezTo>
                  <a:cubicBezTo>
                    <a:pt x="51182" y="21642"/>
                    <a:pt x="50375" y="21172"/>
                    <a:pt x="49535" y="20869"/>
                  </a:cubicBezTo>
                  <a:cubicBezTo>
                    <a:pt x="49266" y="20802"/>
                    <a:pt x="48997" y="20701"/>
                    <a:pt x="48661" y="20668"/>
                  </a:cubicBezTo>
                  <a:lnTo>
                    <a:pt x="48359" y="20668"/>
                  </a:lnTo>
                  <a:cubicBezTo>
                    <a:pt x="48191" y="20668"/>
                    <a:pt x="48023" y="20668"/>
                    <a:pt x="47821" y="20701"/>
                  </a:cubicBezTo>
                  <a:cubicBezTo>
                    <a:pt x="47687" y="20768"/>
                    <a:pt x="47519" y="20802"/>
                    <a:pt x="47384" y="20836"/>
                  </a:cubicBezTo>
                  <a:cubicBezTo>
                    <a:pt x="47687" y="20164"/>
                    <a:pt x="47821" y="19424"/>
                    <a:pt x="47754" y="18584"/>
                  </a:cubicBezTo>
                  <a:cubicBezTo>
                    <a:pt x="47754" y="17979"/>
                    <a:pt x="47653" y="17408"/>
                    <a:pt x="47485" y="16803"/>
                  </a:cubicBezTo>
                  <a:cubicBezTo>
                    <a:pt x="47384" y="16568"/>
                    <a:pt x="47317" y="16299"/>
                    <a:pt x="47149" y="15996"/>
                  </a:cubicBezTo>
                  <a:cubicBezTo>
                    <a:pt x="47015" y="15761"/>
                    <a:pt x="46880" y="15492"/>
                    <a:pt x="46712" y="15291"/>
                  </a:cubicBezTo>
                  <a:cubicBezTo>
                    <a:pt x="46511" y="14955"/>
                    <a:pt x="46208" y="14652"/>
                    <a:pt x="45872" y="14350"/>
                  </a:cubicBezTo>
                  <a:cubicBezTo>
                    <a:pt x="45536" y="14081"/>
                    <a:pt x="45166" y="13812"/>
                    <a:pt x="44729" y="13610"/>
                  </a:cubicBezTo>
                  <a:cubicBezTo>
                    <a:pt x="44326" y="13409"/>
                    <a:pt x="43889" y="13241"/>
                    <a:pt x="43486" y="13140"/>
                  </a:cubicBezTo>
                  <a:cubicBezTo>
                    <a:pt x="43217" y="13106"/>
                    <a:pt x="43016" y="13073"/>
                    <a:pt x="42780" y="13073"/>
                  </a:cubicBezTo>
                  <a:cubicBezTo>
                    <a:pt x="42545" y="13073"/>
                    <a:pt x="42377" y="13073"/>
                    <a:pt x="42175" y="13106"/>
                  </a:cubicBezTo>
                  <a:cubicBezTo>
                    <a:pt x="42041" y="13106"/>
                    <a:pt x="41974" y="13140"/>
                    <a:pt x="41839" y="13174"/>
                  </a:cubicBezTo>
                  <a:cubicBezTo>
                    <a:pt x="42007" y="12905"/>
                    <a:pt x="42142" y="12535"/>
                    <a:pt x="42209" y="12132"/>
                  </a:cubicBezTo>
                  <a:cubicBezTo>
                    <a:pt x="42478" y="11191"/>
                    <a:pt x="42545" y="10082"/>
                    <a:pt x="42444" y="8973"/>
                  </a:cubicBezTo>
                  <a:cubicBezTo>
                    <a:pt x="42175" y="6856"/>
                    <a:pt x="41268" y="4772"/>
                    <a:pt x="39857" y="3226"/>
                  </a:cubicBezTo>
                  <a:cubicBezTo>
                    <a:pt x="39521" y="2857"/>
                    <a:pt x="39151" y="2521"/>
                    <a:pt x="38680" y="2185"/>
                  </a:cubicBezTo>
                  <a:cubicBezTo>
                    <a:pt x="38277" y="1848"/>
                    <a:pt x="37807" y="1546"/>
                    <a:pt x="37303" y="1311"/>
                  </a:cubicBezTo>
                  <a:cubicBezTo>
                    <a:pt x="36328" y="807"/>
                    <a:pt x="35286" y="403"/>
                    <a:pt x="34211" y="202"/>
                  </a:cubicBezTo>
                  <a:cubicBezTo>
                    <a:pt x="33438" y="67"/>
                    <a:pt x="32699" y="0"/>
                    <a:pt x="31926"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2" name="Google Shape;222;p11"/>
            <p:cNvSpPr/>
            <p:nvPr/>
          </p:nvSpPr>
          <p:spPr>
            <a:xfrm>
              <a:off x="3068550" y="1299000"/>
              <a:ext cx="1361900" cy="547800"/>
            </a:xfrm>
            <a:custGeom>
              <a:avLst/>
              <a:gdLst/>
              <a:ahLst/>
              <a:cxnLst/>
              <a:rect l="l" t="t" r="r" b="b"/>
              <a:pathLst>
                <a:path w="54476" h="21912" extrusionOk="0">
                  <a:moveTo>
                    <a:pt x="15493" y="1"/>
                  </a:moveTo>
                  <a:cubicBezTo>
                    <a:pt x="15056" y="1"/>
                    <a:pt x="14687" y="35"/>
                    <a:pt x="14283" y="68"/>
                  </a:cubicBezTo>
                  <a:cubicBezTo>
                    <a:pt x="13578" y="203"/>
                    <a:pt x="12805" y="471"/>
                    <a:pt x="12065" y="875"/>
                  </a:cubicBezTo>
                  <a:cubicBezTo>
                    <a:pt x="11360" y="1211"/>
                    <a:pt x="10721" y="1681"/>
                    <a:pt x="10015" y="2253"/>
                  </a:cubicBezTo>
                  <a:cubicBezTo>
                    <a:pt x="9444" y="2824"/>
                    <a:pt x="8906" y="3395"/>
                    <a:pt x="8402" y="4101"/>
                  </a:cubicBezTo>
                  <a:cubicBezTo>
                    <a:pt x="7428" y="5512"/>
                    <a:pt x="6924" y="7125"/>
                    <a:pt x="6957" y="8638"/>
                  </a:cubicBezTo>
                  <a:cubicBezTo>
                    <a:pt x="6957" y="9276"/>
                    <a:pt x="7092" y="9915"/>
                    <a:pt x="7293" y="10553"/>
                  </a:cubicBezTo>
                  <a:cubicBezTo>
                    <a:pt x="7226" y="10452"/>
                    <a:pt x="7092" y="10385"/>
                    <a:pt x="6957" y="10318"/>
                  </a:cubicBezTo>
                  <a:cubicBezTo>
                    <a:pt x="6621" y="10217"/>
                    <a:pt x="6252" y="10116"/>
                    <a:pt x="5882" y="10116"/>
                  </a:cubicBezTo>
                  <a:lnTo>
                    <a:pt x="5579" y="10116"/>
                  </a:lnTo>
                  <a:cubicBezTo>
                    <a:pt x="4672" y="10217"/>
                    <a:pt x="3731" y="10587"/>
                    <a:pt x="2824" y="11259"/>
                  </a:cubicBezTo>
                  <a:cubicBezTo>
                    <a:pt x="1984" y="11897"/>
                    <a:pt x="1244" y="12637"/>
                    <a:pt x="740" y="13510"/>
                  </a:cubicBezTo>
                  <a:cubicBezTo>
                    <a:pt x="236" y="14418"/>
                    <a:pt x="1" y="15426"/>
                    <a:pt x="35" y="16468"/>
                  </a:cubicBezTo>
                  <a:cubicBezTo>
                    <a:pt x="68" y="17610"/>
                    <a:pt x="404" y="18719"/>
                    <a:pt x="1043" y="19795"/>
                  </a:cubicBezTo>
                  <a:cubicBezTo>
                    <a:pt x="1547" y="20668"/>
                    <a:pt x="2252" y="21374"/>
                    <a:pt x="3059" y="21912"/>
                  </a:cubicBezTo>
                  <a:lnTo>
                    <a:pt x="53905" y="21912"/>
                  </a:lnTo>
                  <a:lnTo>
                    <a:pt x="53972" y="21811"/>
                  </a:lnTo>
                  <a:cubicBezTo>
                    <a:pt x="54073" y="21677"/>
                    <a:pt x="54106" y="21576"/>
                    <a:pt x="54140" y="21475"/>
                  </a:cubicBezTo>
                  <a:cubicBezTo>
                    <a:pt x="54241" y="21240"/>
                    <a:pt x="54274" y="21005"/>
                    <a:pt x="54341" y="20702"/>
                  </a:cubicBezTo>
                  <a:cubicBezTo>
                    <a:pt x="54442" y="20198"/>
                    <a:pt x="54476" y="19660"/>
                    <a:pt x="54442" y="19022"/>
                  </a:cubicBezTo>
                  <a:cubicBezTo>
                    <a:pt x="54375" y="18450"/>
                    <a:pt x="54308" y="17879"/>
                    <a:pt x="54140" y="17308"/>
                  </a:cubicBezTo>
                  <a:cubicBezTo>
                    <a:pt x="53972" y="16770"/>
                    <a:pt x="53804" y="16266"/>
                    <a:pt x="53569" y="15829"/>
                  </a:cubicBezTo>
                  <a:cubicBezTo>
                    <a:pt x="53400" y="15527"/>
                    <a:pt x="53165" y="15292"/>
                    <a:pt x="52896" y="14955"/>
                  </a:cubicBezTo>
                  <a:cubicBezTo>
                    <a:pt x="52628" y="14653"/>
                    <a:pt x="52325" y="14418"/>
                    <a:pt x="51955" y="14082"/>
                  </a:cubicBezTo>
                  <a:lnTo>
                    <a:pt x="51888" y="13981"/>
                  </a:lnTo>
                  <a:lnTo>
                    <a:pt x="51115" y="14754"/>
                  </a:lnTo>
                  <a:cubicBezTo>
                    <a:pt x="50376" y="15426"/>
                    <a:pt x="49536" y="15930"/>
                    <a:pt x="48628" y="16367"/>
                  </a:cubicBezTo>
                  <a:cubicBezTo>
                    <a:pt x="47721" y="16837"/>
                    <a:pt x="46780" y="17207"/>
                    <a:pt x="45873" y="17610"/>
                  </a:cubicBezTo>
                  <a:cubicBezTo>
                    <a:pt x="45402" y="17778"/>
                    <a:pt x="44932" y="17980"/>
                    <a:pt x="44495" y="18148"/>
                  </a:cubicBezTo>
                  <a:cubicBezTo>
                    <a:pt x="44024" y="18316"/>
                    <a:pt x="43520" y="18484"/>
                    <a:pt x="43050" y="18652"/>
                  </a:cubicBezTo>
                  <a:cubicBezTo>
                    <a:pt x="40832" y="19358"/>
                    <a:pt x="38513" y="19828"/>
                    <a:pt x="36194" y="20131"/>
                  </a:cubicBezTo>
                  <a:cubicBezTo>
                    <a:pt x="34190" y="20353"/>
                    <a:pt x="32139" y="20484"/>
                    <a:pt x="30081" y="20484"/>
                  </a:cubicBezTo>
                  <a:cubicBezTo>
                    <a:pt x="29654" y="20484"/>
                    <a:pt x="29228" y="20478"/>
                    <a:pt x="28801" y="20467"/>
                  </a:cubicBezTo>
                  <a:cubicBezTo>
                    <a:pt x="27591" y="20400"/>
                    <a:pt x="26381" y="20332"/>
                    <a:pt x="25172" y="20164"/>
                  </a:cubicBezTo>
                  <a:cubicBezTo>
                    <a:pt x="23962" y="19996"/>
                    <a:pt x="22853" y="19828"/>
                    <a:pt x="21677" y="19526"/>
                  </a:cubicBezTo>
                  <a:cubicBezTo>
                    <a:pt x="20568" y="19291"/>
                    <a:pt x="19425" y="18955"/>
                    <a:pt x="18383" y="18551"/>
                  </a:cubicBezTo>
                  <a:cubicBezTo>
                    <a:pt x="17476" y="18215"/>
                    <a:pt x="16535" y="17846"/>
                    <a:pt x="15695" y="17341"/>
                  </a:cubicBezTo>
                  <a:cubicBezTo>
                    <a:pt x="15292" y="17106"/>
                    <a:pt x="14855" y="16837"/>
                    <a:pt x="14451" y="16535"/>
                  </a:cubicBezTo>
                  <a:cubicBezTo>
                    <a:pt x="14082" y="16266"/>
                    <a:pt x="13678" y="15964"/>
                    <a:pt x="13342" y="15594"/>
                  </a:cubicBezTo>
                  <a:cubicBezTo>
                    <a:pt x="13006" y="15258"/>
                    <a:pt x="12704" y="14855"/>
                    <a:pt x="12502" y="14451"/>
                  </a:cubicBezTo>
                  <a:cubicBezTo>
                    <a:pt x="12301" y="14015"/>
                    <a:pt x="12133" y="13611"/>
                    <a:pt x="12032" y="13141"/>
                  </a:cubicBezTo>
                  <a:cubicBezTo>
                    <a:pt x="11998" y="12906"/>
                    <a:pt x="11998" y="12670"/>
                    <a:pt x="11998" y="12435"/>
                  </a:cubicBezTo>
                  <a:cubicBezTo>
                    <a:pt x="11998" y="12166"/>
                    <a:pt x="12032" y="11965"/>
                    <a:pt x="12099" y="11763"/>
                  </a:cubicBezTo>
                  <a:cubicBezTo>
                    <a:pt x="12133" y="11494"/>
                    <a:pt x="12200" y="11259"/>
                    <a:pt x="12334" y="10990"/>
                  </a:cubicBezTo>
                  <a:cubicBezTo>
                    <a:pt x="12469" y="10788"/>
                    <a:pt x="12603" y="10620"/>
                    <a:pt x="12704" y="10452"/>
                  </a:cubicBezTo>
                  <a:cubicBezTo>
                    <a:pt x="12872" y="10284"/>
                    <a:pt x="13040" y="10116"/>
                    <a:pt x="13275" y="9982"/>
                  </a:cubicBezTo>
                  <a:cubicBezTo>
                    <a:pt x="13443" y="9881"/>
                    <a:pt x="13645" y="9780"/>
                    <a:pt x="13846" y="9713"/>
                  </a:cubicBezTo>
                  <a:cubicBezTo>
                    <a:pt x="14115" y="9612"/>
                    <a:pt x="14351" y="9545"/>
                    <a:pt x="14619" y="9478"/>
                  </a:cubicBezTo>
                  <a:cubicBezTo>
                    <a:pt x="14720" y="9444"/>
                    <a:pt x="14855" y="9444"/>
                    <a:pt x="14989" y="9444"/>
                  </a:cubicBezTo>
                  <a:cubicBezTo>
                    <a:pt x="14687" y="9243"/>
                    <a:pt x="14451" y="8974"/>
                    <a:pt x="14216" y="8705"/>
                  </a:cubicBezTo>
                  <a:cubicBezTo>
                    <a:pt x="13947" y="8369"/>
                    <a:pt x="13712" y="7966"/>
                    <a:pt x="13510" y="7562"/>
                  </a:cubicBezTo>
                  <a:cubicBezTo>
                    <a:pt x="13342" y="7125"/>
                    <a:pt x="13208" y="6722"/>
                    <a:pt x="13141" y="6285"/>
                  </a:cubicBezTo>
                  <a:cubicBezTo>
                    <a:pt x="13040" y="5882"/>
                    <a:pt x="13040" y="5445"/>
                    <a:pt x="13040" y="5042"/>
                  </a:cubicBezTo>
                  <a:cubicBezTo>
                    <a:pt x="13107" y="4336"/>
                    <a:pt x="13275" y="3597"/>
                    <a:pt x="13544" y="2925"/>
                  </a:cubicBezTo>
                  <a:cubicBezTo>
                    <a:pt x="13678" y="2589"/>
                    <a:pt x="13880" y="2320"/>
                    <a:pt x="14048" y="2017"/>
                  </a:cubicBezTo>
                  <a:cubicBezTo>
                    <a:pt x="14283" y="1715"/>
                    <a:pt x="14485" y="1480"/>
                    <a:pt x="14720" y="1211"/>
                  </a:cubicBezTo>
                  <a:cubicBezTo>
                    <a:pt x="14989" y="976"/>
                    <a:pt x="15292" y="808"/>
                    <a:pt x="15560" y="639"/>
                  </a:cubicBezTo>
                  <a:cubicBezTo>
                    <a:pt x="15863" y="471"/>
                    <a:pt x="16199" y="337"/>
                    <a:pt x="16535" y="236"/>
                  </a:cubicBezTo>
                  <a:cubicBezTo>
                    <a:pt x="16669" y="203"/>
                    <a:pt x="16737" y="203"/>
                    <a:pt x="16871" y="169"/>
                  </a:cubicBezTo>
                  <a:cubicBezTo>
                    <a:pt x="16804" y="135"/>
                    <a:pt x="16703" y="135"/>
                    <a:pt x="16636" y="135"/>
                  </a:cubicBezTo>
                  <a:cubicBezTo>
                    <a:pt x="16232" y="35"/>
                    <a:pt x="15863" y="1"/>
                    <a:pt x="1549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3" name="Google Shape;223;p11"/>
            <p:cNvSpPr/>
            <p:nvPr/>
          </p:nvSpPr>
          <p:spPr>
            <a:xfrm>
              <a:off x="3917950" y="1443525"/>
              <a:ext cx="137800" cy="116800"/>
            </a:xfrm>
            <a:custGeom>
              <a:avLst/>
              <a:gdLst/>
              <a:ahLst/>
              <a:cxnLst/>
              <a:rect l="l" t="t" r="r" b="b"/>
              <a:pathLst>
                <a:path w="5512" h="4672" extrusionOk="0">
                  <a:moveTo>
                    <a:pt x="2722" y="0"/>
                  </a:moveTo>
                  <a:cubicBezTo>
                    <a:pt x="2655" y="101"/>
                    <a:pt x="2487" y="101"/>
                    <a:pt x="2319" y="135"/>
                  </a:cubicBezTo>
                  <a:cubicBezTo>
                    <a:pt x="1882" y="235"/>
                    <a:pt x="1513" y="471"/>
                    <a:pt x="1210" y="773"/>
                  </a:cubicBezTo>
                  <a:cubicBezTo>
                    <a:pt x="874" y="1076"/>
                    <a:pt x="639" y="1479"/>
                    <a:pt x="471" y="1916"/>
                  </a:cubicBezTo>
                  <a:cubicBezTo>
                    <a:pt x="135" y="2655"/>
                    <a:pt x="0" y="3495"/>
                    <a:pt x="101" y="4335"/>
                  </a:cubicBezTo>
                  <a:cubicBezTo>
                    <a:pt x="101" y="4436"/>
                    <a:pt x="135" y="4503"/>
                    <a:pt x="168" y="4604"/>
                  </a:cubicBezTo>
                  <a:cubicBezTo>
                    <a:pt x="236" y="4671"/>
                    <a:pt x="336" y="4671"/>
                    <a:pt x="437" y="4671"/>
                  </a:cubicBezTo>
                  <a:cubicBezTo>
                    <a:pt x="504" y="4671"/>
                    <a:pt x="572" y="4638"/>
                    <a:pt x="672" y="4604"/>
                  </a:cubicBezTo>
                  <a:cubicBezTo>
                    <a:pt x="706" y="4537"/>
                    <a:pt x="807" y="4436"/>
                    <a:pt x="773" y="4335"/>
                  </a:cubicBezTo>
                  <a:cubicBezTo>
                    <a:pt x="706" y="3966"/>
                    <a:pt x="706" y="3529"/>
                    <a:pt x="773" y="3159"/>
                  </a:cubicBezTo>
                  <a:lnTo>
                    <a:pt x="773" y="3260"/>
                  </a:lnTo>
                  <a:cubicBezTo>
                    <a:pt x="807" y="2924"/>
                    <a:pt x="874" y="2588"/>
                    <a:pt x="1009" y="2252"/>
                  </a:cubicBezTo>
                  <a:cubicBezTo>
                    <a:pt x="1143" y="1983"/>
                    <a:pt x="1277" y="1781"/>
                    <a:pt x="1378" y="1580"/>
                  </a:cubicBezTo>
                  <a:cubicBezTo>
                    <a:pt x="1513" y="1412"/>
                    <a:pt x="1647" y="1277"/>
                    <a:pt x="1815" y="1143"/>
                  </a:cubicBezTo>
                  <a:cubicBezTo>
                    <a:pt x="1949" y="1076"/>
                    <a:pt x="2050" y="975"/>
                    <a:pt x="2218" y="907"/>
                  </a:cubicBezTo>
                  <a:cubicBezTo>
                    <a:pt x="2353" y="840"/>
                    <a:pt x="2487" y="807"/>
                    <a:pt x="2622" y="807"/>
                  </a:cubicBezTo>
                  <a:lnTo>
                    <a:pt x="2991" y="807"/>
                  </a:lnTo>
                  <a:cubicBezTo>
                    <a:pt x="3092" y="840"/>
                    <a:pt x="3227" y="840"/>
                    <a:pt x="3361" y="907"/>
                  </a:cubicBezTo>
                  <a:cubicBezTo>
                    <a:pt x="3495" y="975"/>
                    <a:pt x="3596" y="1008"/>
                    <a:pt x="3731" y="1109"/>
                  </a:cubicBezTo>
                  <a:cubicBezTo>
                    <a:pt x="3899" y="1244"/>
                    <a:pt x="4033" y="1412"/>
                    <a:pt x="4167" y="1512"/>
                  </a:cubicBezTo>
                  <a:cubicBezTo>
                    <a:pt x="4335" y="1748"/>
                    <a:pt x="4436" y="1949"/>
                    <a:pt x="4537" y="2185"/>
                  </a:cubicBezTo>
                  <a:cubicBezTo>
                    <a:pt x="4672" y="2453"/>
                    <a:pt x="4739" y="2756"/>
                    <a:pt x="4772" y="3025"/>
                  </a:cubicBezTo>
                  <a:cubicBezTo>
                    <a:pt x="4772" y="3092"/>
                    <a:pt x="4772" y="3159"/>
                    <a:pt x="4840" y="3193"/>
                  </a:cubicBezTo>
                  <a:lnTo>
                    <a:pt x="4840" y="3260"/>
                  </a:lnTo>
                  <a:lnTo>
                    <a:pt x="4840" y="3462"/>
                  </a:lnTo>
                  <a:lnTo>
                    <a:pt x="4840" y="3697"/>
                  </a:lnTo>
                  <a:lnTo>
                    <a:pt x="4840" y="3831"/>
                  </a:lnTo>
                  <a:lnTo>
                    <a:pt x="4840" y="3932"/>
                  </a:lnTo>
                  <a:lnTo>
                    <a:pt x="4840" y="3966"/>
                  </a:lnTo>
                  <a:lnTo>
                    <a:pt x="4840" y="3999"/>
                  </a:lnTo>
                  <a:lnTo>
                    <a:pt x="4840" y="4134"/>
                  </a:lnTo>
                  <a:cubicBezTo>
                    <a:pt x="4840" y="4335"/>
                    <a:pt x="5008" y="4470"/>
                    <a:pt x="5176" y="4470"/>
                  </a:cubicBezTo>
                  <a:cubicBezTo>
                    <a:pt x="5377" y="4470"/>
                    <a:pt x="5512" y="4302"/>
                    <a:pt x="5512" y="4134"/>
                  </a:cubicBezTo>
                  <a:lnTo>
                    <a:pt x="5512" y="3999"/>
                  </a:lnTo>
                  <a:lnTo>
                    <a:pt x="5512" y="3966"/>
                  </a:lnTo>
                  <a:lnTo>
                    <a:pt x="5512" y="3932"/>
                  </a:lnTo>
                  <a:lnTo>
                    <a:pt x="5512" y="3831"/>
                  </a:lnTo>
                  <a:lnTo>
                    <a:pt x="5512" y="3798"/>
                  </a:lnTo>
                  <a:lnTo>
                    <a:pt x="5512" y="3697"/>
                  </a:lnTo>
                  <a:lnTo>
                    <a:pt x="5512" y="3663"/>
                  </a:lnTo>
                  <a:lnTo>
                    <a:pt x="5512" y="3495"/>
                  </a:lnTo>
                  <a:lnTo>
                    <a:pt x="5512" y="3462"/>
                  </a:lnTo>
                  <a:cubicBezTo>
                    <a:pt x="5512" y="3361"/>
                    <a:pt x="5512" y="3293"/>
                    <a:pt x="5444" y="3193"/>
                  </a:cubicBezTo>
                  <a:lnTo>
                    <a:pt x="5444" y="3159"/>
                  </a:lnTo>
                  <a:cubicBezTo>
                    <a:pt x="5444" y="3092"/>
                    <a:pt x="5411" y="2957"/>
                    <a:pt x="5411" y="2857"/>
                  </a:cubicBezTo>
                  <a:lnTo>
                    <a:pt x="5411" y="2823"/>
                  </a:lnTo>
                  <a:cubicBezTo>
                    <a:pt x="5276" y="2084"/>
                    <a:pt x="4940" y="1344"/>
                    <a:pt x="4403" y="807"/>
                  </a:cubicBezTo>
                  <a:cubicBezTo>
                    <a:pt x="4268" y="672"/>
                    <a:pt x="4167" y="571"/>
                    <a:pt x="3999" y="437"/>
                  </a:cubicBezTo>
                  <a:cubicBezTo>
                    <a:pt x="3831" y="303"/>
                    <a:pt x="3596" y="235"/>
                    <a:pt x="3395" y="135"/>
                  </a:cubicBezTo>
                  <a:cubicBezTo>
                    <a:pt x="3193" y="67"/>
                    <a:pt x="2924" y="0"/>
                    <a:pt x="272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4" name="Google Shape;224;p11"/>
            <p:cNvSpPr/>
            <p:nvPr/>
          </p:nvSpPr>
          <p:spPr>
            <a:xfrm>
              <a:off x="3468475" y="1442675"/>
              <a:ext cx="137800" cy="116800"/>
            </a:xfrm>
            <a:custGeom>
              <a:avLst/>
              <a:gdLst/>
              <a:ahLst/>
              <a:cxnLst/>
              <a:rect l="l" t="t" r="r" b="b"/>
              <a:pathLst>
                <a:path w="5512" h="4672" extrusionOk="0">
                  <a:moveTo>
                    <a:pt x="2722" y="1"/>
                  </a:moveTo>
                  <a:cubicBezTo>
                    <a:pt x="2689" y="34"/>
                    <a:pt x="2487" y="101"/>
                    <a:pt x="2319" y="135"/>
                  </a:cubicBezTo>
                  <a:cubicBezTo>
                    <a:pt x="1882" y="202"/>
                    <a:pt x="1513" y="471"/>
                    <a:pt x="1210" y="773"/>
                  </a:cubicBezTo>
                  <a:cubicBezTo>
                    <a:pt x="874" y="1042"/>
                    <a:pt x="639" y="1479"/>
                    <a:pt x="471" y="1882"/>
                  </a:cubicBezTo>
                  <a:cubicBezTo>
                    <a:pt x="135" y="2655"/>
                    <a:pt x="0" y="3496"/>
                    <a:pt x="101" y="4336"/>
                  </a:cubicBezTo>
                  <a:cubicBezTo>
                    <a:pt x="101" y="4403"/>
                    <a:pt x="135" y="4504"/>
                    <a:pt x="168" y="4571"/>
                  </a:cubicBezTo>
                  <a:cubicBezTo>
                    <a:pt x="269" y="4672"/>
                    <a:pt x="336" y="4672"/>
                    <a:pt x="437" y="4672"/>
                  </a:cubicBezTo>
                  <a:cubicBezTo>
                    <a:pt x="504" y="4672"/>
                    <a:pt x="605" y="4638"/>
                    <a:pt x="672" y="4571"/>
                  </a:cubicBezTo>
                  <a:cubicBezTo>
                    <a:pt x="706" y="4537"/>
                    <a:pt x="807" y="4403"/>
                    <a:pt x="773" y="4336"/>
                  </a:cubicBezTo>
                  <a:cubicBezTo>
                    <a:pt x="706" y="3966"/>
                    <a:pt x="706" y="3529"/>
                    <a:pt x="773" y="3159"/>
                  </a:cubicBezTo>
                  <a:lnTo>
                    <a:pt x="773" y="3227"/>
                  </a:lnTo>
                  <a:cubicBezTo>
                    <a:pt x="807" y="2891"/>
                    <a:pt x="874" y="2555"/>
                    <a:pt x="1008" y="2219"/>
                  </a:cubicBezTo>
                  <a:cubicBezTo>
                    <a:pt x="1143" y="1983"/>
                    <a:pt x="1277" y="1782"/>
                    <a:pt x="1378" y="1546"/>
                  </a:cubicBezTo>
                  <a:cubicBezTo>
                    <a:pt x="1513" y="1378"/>
                    <a:pt x="1647" y="1278"/>
                    <a:pt x="1815" y="1143"/>
                  </a:cubicBezTo>
                  <a:cubicBezTo>
                    <a:pt x="1949" y="1042"/>
                    <a:pt x="2050" y="975"/>
                    <a:pt x="2218" y="874"/>
                  </a:cubicBezTo>
                  <a:cubicBezTo>
                    <a:pt x="2353" y="841"/>
                    <a:pt x="2487" y="807"/>
                    <a:pt x="2622" y="807"/>
                  </a:cubicBezTo>
                  <a:lnTo>
                    <a:pt x="2991" y="807"/>
                  </a:lnTo>
                  <a:cubicBezTo>
                    <a:pt x="3126" y="841"/>
                    <a:pt x="3226" y="841"/>
                    <a:pt x="3361" y="874"/>
                  </a:cubicBezTo>
                  <a:cubicBezTo>
                    <a:pt x="3495" y="975"/>
                    <a:pt x="3630" y="1009"/>
                    <a:pt x="3730" y="1110"/>
                  </a:cubicBezTo>
                  <a:cubicBezTo>
                    <a:pt x="3899" y="1210"/>
                    <a:pt x="4033" y="1378"/>
                    <a:pt x="4167" y="1513"/>
                  </a:cubicBezTo>
                  <a:cubicBezTo>
                    <a:pt x="4335" y="1714"/>
                    <a:pt x="4436" y="1950"/>
                    <a:pt x="4537" y="2185"/>
                  </a:cubicBezTo>
                  <a:cubicBezTo>
                    <a:pt x="4671" y="2454"/>
                    <a:pt x="4739" y="2723"/>
                    <a:pt x="4772" y="3025"/>
                  </a:cubicBezTo>
                  <a:cubicBezTo>
                    <a:pt x="4772" y="3059"/>
                    <a:pt x="4772" y="3159"/>
                    <a:pt x="4839" y="3193"/>
                  </a:cubicBezTo>
                  <a:lnTo>
                    <a:pt x="4839" y="3227"/>
                  </a:lnTo>
                  <a:lnTo>
                    <a:pt x="4839" y="3462"/>
                  </a:lnTo>
                  <a:lnTo>
                    <a:pt x="4839" y="3697"/>
                  </a:lnTo>
                  <a:lnTo>
                    <a:pt x="4839" y="3832"/>
                  </a:lnTo>
                  <a:lnTo>
                    <a:pt x="4839" y="3899"/>
                  </a:lnTo>
                  <a:lnTo>
                    <a:pt x="4839" y="3966"/>
                  </a:lnTo>
                  <a:lnTo>
                    <a:pt x="4839" y="4000"/>
                  </a:lnTo>
                  <a:lnTo>
                    <a:pt x="4839" y="4100"/>
                  </a:lnTo>
                  <a:cubicBezTo>
                    <a:pt x="4839" y="4336"/>
                    <a:pt x="5008" y="4436"/>
                    <a:pt x="5176" y="4436"/>
                  </a:cubicBezTo>
                  <a:cubicBezTo>
                    <a:pt x="5377" y="4436"/>
                    <a:pt x="5512" y="4268"/>
                    <a:pt x="5512" y="4100"/>
                  </a:cubicBezTo>
                  <a:lnTo>
                    <a:pt x="5512" y="4000"/>
                  </a:lnTo>
                  <a:lnTo>
                    <a:pt x="5512" y="3966"/>
                  </a:lnTo>
                  <a:lnTo>
                    <a:pt x="5512" y="3899"/>
                  </a:lnTo>
                  <a:lnTo>
                    <a:pt x="5512" y="3832"/>
                  </a:lnTo>
                  <a:lnTo>
                    <a:pt x="5512" y="3798"/>
                  </a:lnTo>
                  <a:lnTo>
                    <a:pt x="5512" y="3697"/>
                  </a:lnTo>
                  <a:lnTo>
                    <a:pt x="5512" y="3664"/>
                  </a:lnTo>
                  <a:lnTo>
                    <a:pt x="5512" y="3496"/>
                  </a:lnTo>
                  <a:lnTo>
                    <a:pt x="5512" y="3462"/>
                  </a:lnTo>
                  <a:cubicBezTo>
                    <a:pt x="5512" y="3361"/>
                    <a:pt x="5512" y="3294"/>
                    <a:pt x="5444" y="3193"/>
                  </a:cubicBezTo>
                  <a:lnTo>
                    <a:pt x="5444" y="3159"/>
                  </a:lnTo>
                  <a:cubicBezTo>
                    <a:pt x="5444" y="3059"/>
                    <a:pt x="5411" y="2958"/>
                    <a:pt x="5411" y="2857"/>
                  </a:cubicBezTo>
                  <a:lnTo>
                    <a:pt x="5411" y="2823"/>
                  </a:lnTo>
                  <a:cubicBezTo>
                    <a:pt x="5276" y="2050"/>
                    <a:pt x="4940" y="1345"/>
                    <a:pt x="4403" y="807"/>
                  </a:cubicBezTo>
                  <a:cubicBezTo>
                    <a:pt x="4268" y="673"/>
                    <a:pt x="4167" y="538"/>
                    <a:pt x="3999" y="437"/>
                  </a:cubicBezTo>
                  <a:cubicBezTo>
                    <a:pt x="3831" y="303"/>
                    <a:pt x="3630" y="202"/>
                    <a:pt x="3394" y="135"/>
                  </a:cubicBezTo>
                  <a:cubicBezTo>
                    <a:pt x="3193" y="34"/>
                    <a:pt x="2924" y="1"/>
                    <a:pt x="272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5" name="Google Shape;225;p11"/>
            <p:cNvSpPr/>
            <p:nvPr/>
          </p:nvSpPr>
          <p:spPr>
            <a:xfrm>
              <a:off x="3709600" y="1471725"/>
              <a:ext cx="140325" cy="104625"/>
            </a:xfrm>
            <a:custGeom>
              <a:avLst/>
              <a:gdLst/>
              <a:ahLst/>
              <a:cxnLst/>
              <a:rect l="l" t="t" r="r" b="b"/>
              <a:pathLst>
                <a:path w="5613" h="4185" extrusionOk="0">
                  <a:moveTo>
                    <a:pt x="405" y="1"/>
                  </a:moveTo>
                  <a:cubicBezTo>
                    <a:pt x="347" y="1"/>
                    <a:pt x="283" y="25"/>
                    <a:pt x="235" y="48"/>
                  </a:cubicBezTo>
                  <a:cubicBezTo>
                    <a:pt x="135" y="82"/>
                    <a:pt x="101" y="183"/>
                    <a:pt x="67" y="284"/>
                  </a:cubicBezTo>
                  <a:cubicBezTo>
                    <a:pt x="0" y="519"/>
                    <a:pt x="0" y="720"/>
                    <a:pt x="0" y="989"/>
                  </a:cubicBezTo>
                  <a:cubicBezTo>
                    <a:pt x="0" y="1157"/>
                    <a:pt x="0" y="1325"/>
                    <a:pt x="67" y="1493"/>
                  </a:cubicBezTo>
                  <a:cubicBezTo>
                    <a:pt x="101" y="1897"/>
                    <a:pt x="235" y="2300"/>
                    <a:pt x="437" y="2670"/>
                  </a:cubicBezTo>
                  <a:cubicBezTo>
                    <a:pt x="672" y="3106"/>
                    <a:pt x="1008" y="3510"/>
                    <a:pt x="1479" y="3812"/>
                  </a:cubicBezTo>
                  <a:cubicBezTo>
                    <a:pt x="1848" y="4047"/>
                    <a:pt x="2285" y="4182"/>
                    <a:pt x="2756" y="4182"/>
                  </a:cubicBezTo>
                  <a:cubicBezTo>
                    <a:pt x="2790" y="4183"/>
                    <a:pt x="2824" y="4184"/>
                    <a:pt x="2857" y="4184"/>
                  </a:cubicBezTo>
                  <a:cubicBezTo>
                    <a:pt x="3560" y="4184"/>
                    <a:pt x="4224" y="3855"/>
                    <a:pt x="4705" y="3342"/>
                  </a:cubicBezTo>
                  <a:cubicBezTo>
                    <a:pt x="4940" y="3140"/>
                    <a:pt x="5108" y="2871"/>
                    <a:pt x="5209" y="2636"/>
                  </a:cubicBezTo>
                  <a:cubicBezTo>
                    <a:pt x="5343" y="2401"/>
                    <a:pt x="5444" y="2199"/>
                    <a:pt x="5478" y="1964"/>
                  </a:cubicBezTo>
                  <a:cubicBezTo>
                    <a:pt x="5511" y="1796"/>
                    <a:pt x="5545" y="1628"/>
                    <a:pt x="5545" y="1393"/>
                  </a:cubicBezTo>
                  <a:lnTo>
                    <a:pt x="5545" y="1359"/>
                  </a:lnTo>
                  <a:cubicBezTo>
                    <a:pt x="5545" y="1191"/>
                    <a:pt x="5612" y="1057"/>
                    <a:pt x="5612" y="888"/>
                  </a:cubicBezTo>
                  <a:lnTo>
                    <a:pt x="5612" y="653"/>
                  </a:lnTo>
                  <a:lnTo>
                    <a:pt x="5612" y="620"/>
                  </a:lnTo>
                  <a:cubicBezTo>
                    <a:pt x="5612" y="519"/>
                    <a:pt x="5612" y="452"/>
                    <a:pt x="5545" y="317"/>
                  </a:cubicBezTo>
                  <a:lnTo>
                    <a:pt x="5545" y="284"/>
                  </a:lnTo>
                  <a:cubicBezTo>
                    <a:pt x="5511" y="116"/>
                    <a:pt x="5343" y="15"/>
                    <a:pt x="5209" y="15"/>
                  </a:cubicBezTo>
                  <a:cubicBezTo>
                    <a:pt x="5142" y="48"/>
                    <a:pt x="5108" y="48"/>
                    <a:pt x="5108" y="116"/>
                  </a:cubicBezTo>
                  <a:cubicBezTo>
                    <a:pt x="5007" y="149"/>
                    <a:pt x="4940" y="183"/>
                    <a:pt x="4907" y="284"/>
                  </a:cubicBezTo>
                  <a:cubicBezTo>
                    <a:pt x="4839" y="351"/>
                    <a:pt x="4839" y="452"/>
                    <a:pt x="4839" y="519"/>
                  </a:cubicBezTo>
                  <a:lnTo>
                    <a:pt x="4839" y="552"/>
                  </a:lnTo>
                  <a:lnTo>
                    <a:pt x="4839" y="720"/>
                  </a:lnTo>
                  <a:lnTo>
                    <a:pt x="4839" y="956"/>
                  </a:lnTo>
                  <a:lnTo>
                    <a:pt x="4839" y="1359"/>
                  </a:lnTo>
                  <a:lnTo>
                    <a:pt x="4839" y="1393"/>
                  </a:lnTo>
                  <a:cubicBezTo>
                    <a:pt x="4806" y="1661"/>
                    <a:pt x="4705" y="1897"/>
                    <a:pt x="4638" y="2165"/>
                  </a:cubicBezTo>
                  <a:cubicBezTo>
                    <a:pt x="4571" y="2367"/>
                    <a:pt x="4436" y="2535"/>
                    <a:pt x="4302" y="2703"/>
                  </a:cubicBezTo>
                  <a:lnTo>
                    <a:pt x="3932" y="3073"/>
                  </a:lnTo>
                  <a:cubicBezTo>
                    <a:pt x="3798" y="3174"/>
                    <a:pt x="3663" y="3241"/>
                    <a:pt x="3495" y="3342"/>
                  </a:cubicBezTo>
                  <a:cubicBezTo>
                    <a:pt x="3327" y="3375"/>
                    <a:pt x="3226" y="3443"/>
                    <a:pt x="3025" y="3443"/>
                  </a:cubicBezTo>
                  <a:lnTo>
                    <a:pt x="2588" y="3443"/>
                  </a:lnTo>
                  <a:cubicBezTo>
                    <a:pt x="2420" y="3409"/>
                    <a:pt x="2252" y="3375"/>
                    <a:pt x="2117" y="3342"/>
                  </a:cubicBezTo>
                  <a:cubicBezTo>
                    <a:pt x="1949" y="3241"/>
                    <a:pt x="1815" y="3174"/>
                    <a:pt x="1680" y="3073"/>
                  </a:cubicBezTo>
                  <a:cubicBezTo>
                    <a:pt x="1512" y="2972"/>
                    <a:pt x="1412" y="2838"/>
                    <a:pt x="1277" y="2670"/>
                  </a:cubicBezTo>
                  <a:cubicBezTo>
                    <a:pt x="1143" y="2502"/>
                    <a:pt x="1008" y="2266"/>
                    <a:pt x="941" y="2132"/>
                  </a:cubicBezTo>
                  <a:cubicBezTo>
                    <a:pt x="840" y="1863"/>
                    <a:pt x="773" y="1628"/>
                    <a:pt x="739" y="1325"/>
                  </a:cubicBezTo>
                  <a:cubicBezTo>
                    <a:pt x="672" y="1023"/>
                    <a:pt x="672" y="720"/>
                    <a:pt x="739" y="452"/>
                  </a:cubicBezTo>
                  <a:cubicBezTo>
                    <a:pt x="739" y="351"/>
                    <a:pt x="739" y="284"/>
                    <a:pt x="672" y="183"/>
                  </a:cubicBezTo>
                  <a:cubicBezTo>
                    <a:pt x="639" y="116"/>
                    <a:pt x="571" y="48"/>
                    <a:pt x="471" y="15"/>
                  </a:cubicBezTo>
                  <a:cubicBezTo>
                    <a:pt x="451" y="5"/>
                    <a:pt x="428" y="1"/>
                    <a:pt x="40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6" name="Google Shape;226;p11"/>
            <p:cNvSpPr/>
            <p:nvPr/>
          </p:nvSpPr>
          <p:spPr>
            <a:xfrm>
              <a:off x="3665900" y="1130150"/>
              <a:ext cx="393225" cy="178975"/>
            </a:xfrm>
            <a:custGeom>
              <a:avLst/>
              <a:gdLst/>
              <a:ahLst/>
              <a:cxnLst/>
              <a:rect l="l" t="t" r="r" b="b"/>
              <a:pathLst>
                <a:path w="15729" h="7159" extrusionOk="0">
                  <a:moveTo>
                    <a:pt x="8335" y="0"/>
                  </a:moveTo>
                  <a:cubicBezTo>
                    <a:pt x="7259" y="34"/>
                    <a:pt x="6319" y="202"/>
                    <a:pt x="5344" y="504"/>
                  </a:cubicBezTo>
                  <a:cubicBezTo>
                    <a:pt x="4235" y="840"/>
                    <a:pt x="3227" y="1412"/>
                    <a:pt x="2319" y="2117"/>
                  </a:cubicBezTo>
                  <a:cubicBezTo>
                    <a:pt x="1647" y="2655"/>
                    <a:pt x="1042" y="3394"/>
                    <a:pt x="673" y="4201"/>
                  </a:cubicBezTo>
                  <a:cubicBezTo>
                    <a:pt x="269" y="5041"/>
                    <a:pt x="34" y="5915"/>
                    <a:pt x="1" y="6822"/>
                  </a:cubicBezTo>
                  <a:cubicBezTo>
                    <a:pt x="1" y="6990"/>
                    <a:pt x="169" y="7158"/>
                    <a:pt x="337" y="7158"/>
                  </a:cubicBezTo>
                  <a:cubicBezTo>
                    <a:pt x="505" y="7158"/>
                    <a:pt x="673" y="6990"/>
                    <a:pt x="673" y="6822"/>
                  </a:cubicBezTo>
                  <a:cubicBezTo>
                    <a:pt x="673" y="6654"/>
                    <a:pt x="673" y="6486"/>
                    <a:pt x="706" y="6318"/>
                  </a:cubicBezTo>
                  <a:cubicBezTo>
                    <a:pt x="774" y="5915"/>
                    <a:pt x="874" y="5512"/>
                    <a:pt x="1009" y="5142"/>
                  </a:cubicBezTo>
                  <a:cubicBezTo>
                    <a:pt x="1177" y="4739"/>
                    <a:pt x="1378" y="4403"/>
                    <a:pt x="1681" y="4033"/>
                  </a:cubicBezTo>
                  <a:lnTo>
                    <a:pt x="1681" y="4033"/>
                  </a:lnTo>
                  <a:lnTo>
                    <a:pt x="1614" y="4100"/>
                  </a:lnTo>
                  <a:cubicBezTo>
                    <a:pt x="1883" y="3730"/>
                    <a:pt x="2286" y="3361"/>
                    <a:pt x="2655" y="3058"/>
                  </a:cubicBezTo>
                  <a:cubicBezTo>
                    <a:pt x="3126" y="2722"/>
                    <a:pt x="3630" y="2420"/>
                    <a:pt x="4134" y="2185"/>
                  </a:cubicBezTo>
                  <a:cubicBezTo>
                    <a:pt x="4840" y="1882"/>
                    <a:pt x="5579" y="1681"/>
                    <a:pt x="6352" y="1546"/>
                  </a:cubicBezTo>
                  <a:cubicBezTo>
                    <a:pt x="6784" y="1492"/>
                    <a:pt x="7206" y="1457"/>
                    <a:pt x="7628" y="1457"/>
                  </a:cubicBezTo>
                  <a:cubicBezTo>
                    <a:pt x="7996" y="1457"/>
                    <a:pt x="8363" y="1484"/>
                    <a:pt x="8738" y="1546"/>
                  </a:cubicBezTo>
                  <a:cubicBezTo>
                    <a:pt x="9377" y="1613"/>
                    <a:pt x="10015" y="1781"/>
                    <a:pt x="10586" y="2050"/>
                  </a:cubicBezTo>
                  <a:cubicBezTo>
                    <a:pt x="11057" y="2252"/>
                    <a:pt x="11460" y="2521"/>
                    <a:pt x="11863" y="2756"/>
                  </a:cubicBezTo>
                  <a:cubicBezTo>
                    <a:pt x="12267" y="3092"/>
                    <a:pt x="12603" y="3462"/>
                    <a:pt x="12939" y="3898"/>
                  </a:cubicBezTo>
                  <a:lnTo>
                    <a:pt x="14081" y="5411"/>
                  </a:lnTo>
                  <a:cubicBezTo>
                    <a:pt x="14216" y="5545"/>
                    <a:pt x="14317" y="5612"/>
                    <a:pt x="14485" y="5646"/>
                  </a:cubicBezTo>
                  <a:cubicBezTo>
                    <a:pt x="14591" y="5686"/>
                    <a:pt x="14692" y="5705"/>
                    <a:pt x="14789" y="5705"/>
                  </a:cubicBezTo>
                  <a:cubicBezTo>
                    <a:pt x="14939" y="5705"/>
                    <a:pt x="15082" y="5660"/>
                    <a:pt x="15224" y="5579"/>
                  </a:cubicBezTo>
                  <a:cubicBezTo>
                    <a:pt x="15426" y="5444"/>
                    <a:pt x="15560" y="5243"/>
                    <a:pt x="15627" y="5041"/>
                  </a:cubicBezTo>
                  <a:cubicBezTo>
                    <a:pt x="15728" y="4772"/>
                    <a:pt x="15627" y="4571"/>
                    <a:pt x="15560" y="4302"/>
                  </a:cubicBezTo>
                  <a:cubicBezTo>
                    <a:pt x="15123" y="3428"/>
                    <a:pt x="14485" y="2722"/>
                    <a:pt x="13813" y="2050"/>
                  </a:cubicBezTo>
                  <a:cubicBezTo>
                    <a:pt x="13376" y="1580"/>
                    <a:pt x="12804" y="1210"/>
                    <a:pt x="12233" y="874"/>
                  </a:cubicBezTo>
                  <a:cubicBezTo>
                    <a:pt x="11191" y="336"/>
                    <a:pt x="10015" y="67"/>
                    <a:pt x="883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7" name="Google Shape;227;p11"/>
            <p:cNvSpPr/>
            <p:nvPr/>
          </p:nvSpPr>
          <p:spPr>
            <a:xfrm>
              <a:off x="4133025" y="1464525"/>
              <a:ext cx="105050" cy="144900"/>
            </a:xfrm>
            <a:custGeom>
              <a:avLst/>
              <a:gdLst/>
              <a:ahLst/>
              <a:cxnLst/>
              <a:rect l="l" t="t" r="r" b="b"/>
              <a:pathLst>
                <a:path w="4202" h="5796" extrusionOk="0">
                  <a:moveTo>
                    <a:pt x="1513" y="908"/>
                  </a:moveTo>
                  <a:cubicBezTo>
                    <a:pt x="1513" y="924"/>
                    <a:pt x="1513" y="933"/>
                    <a:pt x="1508" y="933"/>
                  </a:cubicBezTo>
                  <a:cubicBezTo>
                    <a:pt x="1504" y="933"/>
                    <a:pt x="1496" y="924"/>
                    <a:pt x="1479" y="908"/>
                  </a:cubicBezTo>
                  <a:close/>
                  <a:moveTo>
                    <a:pt x="841" y="0"/>
                  </a:moveTo>
                  <a:cubicBezTo>
                    <a:pt x="673" y="0"/>
                    <a:pt x="505" y="0"/>
                    <a:pt x="336" y="67"/>
                  </a:cubicBezTo>
                  <a:cubicBezTo>
                    <a:pt x="269" y="67"/>
                    <a:pt x="168" y="135"/>
                    <a:pt x="101" y="236"/>
                  </a:cubicBezTo>
                  <a:cubicBezTo>
                    <a:pt x="34" y="303"/>
                    <a:pt x="0" y="437"/>
                    <a:pt x="34" y="504"/>
                  </a:cubicBezTo>
                  <a:cubicBezTo>
                    <a:pt x="101" y="605"/>
                    <a:pt x="135" y="672"/>
                    <a:pt x="202" y="773"/>
                  </a:cubicBezTo>
                  <a:cubicBezTo>
                    <a:pt x="303" y="807"/>
                    <a:pt x="370" y="807"/>
                    <a:pt x="471" y="807"/>
                  </a:cubicBezTo>
                  <a:cubicBezTo>
                    <a:pt x="583" y="807"/>
                    <a:pt x="710" y="792"/>
                    <a:pt x="832" y="792"/>
                  </a:cubicBezTo>
                  <a:cubicBezTo>
                    <a:pt x="893" y="792"/>
                    <a:pt x="953" y="796"/>
                    <a:pt x="1009" y="807"/>
                  </a:cubicBezTo>
                  <a:cubicBezTo>
                    <a:pt x="1143" y="840"/>
                    <a:pt x="1311" y="840"/>
                    <a:pt x="1445" y="941"/>
                  </a:cubicBezTo>
                  <a:cubicBezTo>
                    <a:pt x="1580" y="1008"/>
                    <a:pt x="1681" y="1076"/>
                    <a:pt x="1815" y="1143"/>
                  </a:cubicBezTo>
                  <a:cubicBezTo>
                    <a:pt x="1983" y="1277"/>
                    <a:pt x="2118" y="1412"/>
                    <a:pt x="2218" y="1580"/>
                  </a:cubicBezTo>
                  <a:cubicBezTo>
                    <a:pt x="2386" y="1781"/>
                    <a:pt x="2521" y="2017"/>
                    <a:pt x="2655" y="2285"/>
                  </a:cubicBezTo>
                  <a:cubicBezTo>
                    <a:pt x="2823" y="2655"/>
                    <a:pt x="2891" y="3092"/>
                    <a:pt x="2991" y="3462"/>
                  </a:cubicBezTo>
                  <a:cubicBezTo>
                    <a:pt x="3025" y="3831"/>
                    <a:pt x="3025" y="4201"/>
                    <a:pt x="2991" y="4604"/>
                  </a:cubicBezTo>
                  <a:cubicBezTo>
                    <a:pt x="2958" y="4772"/>
                    <a:pt x="2958" y="4873"/>
                    <a:pt x="2891" y="5041"/>
                  </a:cubicBezTo>
                  <a:cubicBezTo>
                    <a:pt x="2823" y="5344"/>
                    <a:pt x="3025" y="5680"/>
                    <a:pt x="3327" y="5780"/>
                  </a:cubicBezTo>
                  <a:cubicBezTo>
                    <a:pt x="3372" y="5790"/>
                    <a:pt x="3416" y="5795"/>
                    <a:pt x="3461" y="5795"/>
                  </a:cubicBezTo>
                  <a:cubicBezTo>
                    <a:pt x="3722" y="5795"/>
                    <a:pt x="3976" y="5631"/>
                    <a:pt x="4033" y="5344"/>
                  </a:cubicBezTo>
                  <a:cubicBezTo>
                    <a:pt x="4201" y="4705"/>
                    <a:pt x="4201" y="4100"/>
                    <a:pt x="4134" y="3462"/>
                  </a:cubicBezTo>
                  <a:cubicBezTo>
                    <a:pt x="4033" y="2823"/>
                    <a:pt x="3831" y="2185"/>
                    <a:pt x="3495" y="1647"/>
                  </a:cubicBezTo>
                  <a:cubicBezTo>
                    <a:pt x="3193" y="1143"/>
                    <a:pt x="2723" y="672"/>
                    <a:pt x="2218" y="336"/>
                  </a:cubicBezTo>
                  <a:cubicBezTo>
                    <a:pt x="1983" y="236"/>
                    <a:pt x="1681" y="101"/>
                    <a:pt x="1378" y="67"/>
                  </a:cubicBezTo>
                  <a:cubicBezTo>
                    <a:pt x="1210" y="0"/>
                    <a:pt x="1009" y="0"/>
                    <a:pt x="8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8" name="Google Shape;228;p11"/>
            <p:cNvSpPr/>
            <p:nvPr/>
          </p:nvSpPr>
          <p:spPr>
            <a:xfrm>
              <a:off x="4042300" y="1296450"/>
              <a:ext cx="43700" cy="44600"/>
            </a:xfrm>
            <a:custGeom>
              <a:avLst/>
              <a:gdLst/>
              <a:ahLst/>
              <a:cxnLst/>
              <a:rect l="l" t="t" r="r" b="b"/>
              <a:pathLst>
                <a:path w="1748" h="1784" extrusionOk="0">
                  <a:moveTo>
                    <a:pt x="823" y="0"/>
                  </a:moveTo>
                  <a:cubicBezTo>
                    <a:pt x="375" y="0"/>
                    <a:pt x="0" y="424"/>
                    <a:pt x="0" y="910"/>
                  </a:cubicBezTo>
                  <a:cubicBezTo>
                    <a:pt x="0" y="1414"/>
                    <a:pt x="403" y="1783"/>
                    <a:pt x="874" y="1783"/>
                  </a:cubicBezTo>
                  <a:cubicBezTo>
                    <a:pt x="1378" y="1783"/>
                    <a:pt x="1748" y="1346"/>
                    <a:pt x="1748" y="910"/>
                  </a:cubicBezTo>
                  <a:cubicBezTo>
                    <a:pt x="1748" y="405"/>
                    <a:pt x="1344" y="2"/>
                    <a:pt x="874" y="2"/>
                  </a:cubicBezTo>
                  <a:cubicBezTo>
                    <a:pt x="857" y="1"/>
                    <a:pt x="840" y="0"/>
                    <a:pt x="82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9" name="Google Shape;229;p11"/>
            <p:cNvSpPr/>
            <p:nvPr/>
          </p:nvSpPr>
          <p:spPr>
            <a:xfrm>
              <a:off x="4036425" y="1543013"/>
              <a:ext cx="128698" cy="127824"/>
            </a:xfrm>
            <a:custGeom>
              <a:avLst/>
              <a:gdLst/>
              <a:ahLst/>
              <a:cxnLst/>
              <a:rect l="l" t="t" r="r" b="b"/>
              <a:pathLst>
                <a:path w="4874" h="4840" extrusionOk="0">
                  <a:moveTo>
                    <a:pt x="2454" y="1"/>
                  </a:moveTo>
                  <a:cubicBezTo>
                    <a:pt x="1110" y="1"/>
                    <a:pt x="1" y="1076"/>
                    <a:pt x="1" y="2420"/>
                  </a:cubicBezTo>
                  <a:cubicBezTo>
                    <a:pt x="1" y="3764"/>
                    <a:pt x="1110" y="4840"/>
                    <a:pt x="2454" y="4840"/>
                  </a:cubicBezTo>
                  <a:cubicBezTo>
                    <a:pt x="3093" y="4840"/>
                    <a:pt x="3697" y="4571"/>
                    <a:pt x="4168" y="4101"/>
                  </a:cubicBezTo>
                  <a:cubicBezTo>
                    <a:pt x="4638" y="3664"/>
                    <a:pt x="4874" y="3059"/>
                    <a:pt x="4874" y="2387"/>
                  </a:cubicBezTo>
                  <a:cubicBezTo>
                    <a:pt x="4840" y="1076"/>
                    <a:pt x="3765" y="1"/>
                    <a:pt x="245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0" name="Google Shape;230;p11"/>
            <p:cNvSpPr/>
            <p:nvPr/>
          </p:nvSpPr>
          <p:spPr>
            <a:xfrm>
              <a:off x="3371600" y="1548595"/>
              <a:ext cx="128700" cy="126943"/>
            </a:xfrm>
            <a:custGeom>
              <a:avLst/>
              <a:gdLst/>
              <a:ahLst/>
              <a:cxnLst/>
              <a:rect l="l" t="t" r="r" b="b"/>
              <a:pathLst>
                <a:path w="4908" h="4841" extrusionOk="0">
                  <a:moveTo>
                    <a:pt x="2454" y="1"/>
                  </a:moveTo>
                  <a:cubicBezTo>
                    <a:pt x="1782" y="1"/>
                    <a:pt x="1177" y="270"/>
                    <a:pt x="740" y="740"/>
                  </a:cubicBezTo>
                  <a:cubicBezTo>
                    <a:pt x="270" y="1177"/>
                    <a:pt x="1" y="1782"/>
                    <a:pt x="1" y="2454"/>
                  </a:cubicBezTo>
                  <a:cubicBezTo>
                    <a:pt x="1" y="3798"/>
                    <a:pt x="1110" y="4840"/>
                    <a:pt x="2454" y="4840"/>
                  </a:cubicBezTo>
                  <a:cubicBezTo>
                    <a:pt x="3093" y="4840"/>
                    <a:pt x="3697" y="4605"/>
                    <a:pt x="4168" y="4134"/>
                  </a:cubicBezTo>
                  <a:cubicBezTo>
                    <a:pt x="4638" y="3664"/>
                    <a:pt x="4907" y="3093"/>
                    <a:pt x="4907" y="2420"/>
                  </a:cubicBezTo>
                  <a:cubicBezTo>
                    <a:pt x="4907" y="1110"/>
                    <a:pt x="3798" y="1"/>
                    <a:pt x="245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3890769197"/>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5C2BE83-86BE-4041-850C-D674172D4711}"/>
              </a:ext>
            </a:extLst>
          </p:cNvPr>
          <p:cNvSpPr>
            <a:spLocks noGrp="1"/>
          </p:cNvSpPr>
          <p:nvPr>
            <p:ph type="dt" sz="half" idx="10"/>
          </p:nvPr>
        </p:nvSpPr>
        <p:spPr/>
        <p:txBody>
          <a:bodyPr/>
          <a:lstStyle/>
          <a:p>
            <a:fld id="{E152F814-A5A9-4915-BA2C-D498CBB3B7CE}" type="datetimeFigureOut">
              <a:rPr lang="en-MY" smtClean="0"/>
              <a:t>13/1/2023</a:t>
            </a:fld>
            <a:endParaRPr lang="en-MY"/>
          </a:p>
        </p:txBody>
      </p:sp>
      <p:sp>
        <p:nvSpPr>
          <p:cNvPr id="3" name="Footer Placeholder 2">
            <a:extLst>
              <a:ext uri="{FF2B5EF4-FFF2-40B4-BE49-F238E27FC236}">
                <a16:creationId xmlns:a16="http://schemas.microsoft.com/office/drawing/2014/main" id="{3862D319-8AD0-40D0-804C-A36BD6C443F9}"/>
              </a:ext>
            </a:extLst>
          </p:cNvPr>
          <p:cNvSpPr>
            <a:spLocks noGrp="1"/>
          </p:cNvSpPr>
          <p:nvPr>
            <p:ph type="ftr" sz="quarter" idx="11"/>
          </p:nvPr>
        </p:nvSpPr>
        <p:spPr/>
        <p:txBody>
          <a:bodyPr/>
          <a:lstStyle/>
          <a:p>
            <a:endParaRPr lang="en-MY"/>
          </a:p>
        </p:txBody>
      </p:sp>
      <p:sp>
        <p:nvSpPr>
          <p:cNvPr id="4" name="Slide Number Placeholder 3">
            <a:extLst>
              <a:ext uri="{FF2B5EF4-FFF2-40B4-BE49-F238E27FC236}">
                <a16:creationId xmlns:a16="http://schemas.microsoft.com/office/drawing/2014/main" id="{18C3EA55-5DDC-449A-8EC9-092B3E5984BC}"/>
              </a:ext>
            </a:extLst>
          </p:cNvPr>
          <p:cNvSpPr>
            <a:spLocks noGrp="1"/>
          </p:cNvSpPr>
          <p:nvPr>
            <p:ph type="sldNum" sz="quarter" idx="12"/>
          </p:nvPr>
        </p:nvSpPr>
        <p:spPr/>
        <p:txBody>
          <a:bodyPr/>
          <a:lstStyle/>
          <a:p>
            <a:fld id="{3854563D-E486-48D4-A129-56097E180FBF}" type="slidenum">
              <a:rPr lang="en-MY" smtClean="0"/>
              <a:t>‹#›</a:t>
            </a:fld>
            <a:endParaRPr lang="en-MY"/>
          </a:p>
        </p:txBody>
      </p:sp>
    </p:spTree>
    <p:extLst>
      <p:ext uri="{BB962C8B-B14F-4D97-AF65-F5344CB8AC3E}">
        <p14:creationId xmlns:p14="http://schemas.microsoft.com/office/powerpoint/2010/main" val="18585851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Blank" type="blank">
  <p:cSld name="Blank">
    <p:bg>
      <p:bgPr>
        <a:solidFill>
          <a:schemeClr val="accent1"/>
        </a:solidFill>
        <a:effectLst/>
      </p:bgPr>
    </p:bg>
    <p:spTree>
      <p:nvGrpSpPr>
        <p:cNvPr id="1" name="Shape 231"/>
        <p:cNvGrpSpPr/>
        <p:nvPr/>
      </p:nvGrpSpPr>
      <p:grpSpPr>
        <a:xfrm>
          <a:off x="0" y="0"/>
          <a:ext cx="0" cy="0"/>
          <a:chOff x="0" y="0"/>
          <a:chExt cx="0" cy="0"/>
        </a:xfrm>
      </p:grpSpPr>
    </p:spTree>
    <p:extLst>
      <p:ext uri="{BB962C8B-B14F-4D97-AF65-F5344CB8AC3E}">
        <p14:creationId xmlns:p14="http://schemas.microsoft.com/office/powerpoint/2010/main" val="35870752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Table of Contents">
  <p:cSld name="Table of Contents">
    <p:bg>
      <p:bgPr>
        <a:blipFill>
          <a:blip r:embed="rId2">
            <a:alphaModFix/>
          </a:blip>
          <a:stretch>
            <a:fillRect/>
          </a:stretch>
        </a:blipFill>
        <a:effectLst/>
      </p:bgPr>
    </p:bg>
    <p:spTree>
      <p:nvGrpSpPr>
        <p:cNvPr id="1" name="Shape 232"/>
        <p:cNvGrpSpPr/>
        <p:nvPr/>
      </p:nvGrpSpPr>
      <p:grpSpPr>
        <a:xfrm>
          <a:off x="0" y="0"/>
          <a:ext cx="0" cy="0"/>
          <a:chOff x="0" y="0"/>
          <a:chExt cx="0" cy="0"/>
        </a:xfrm>
      </p:grpSpPr>
      <p:sp>
        <p:nvSpPr>
          <p:cNvPr id="233" name="Google Shape;233;p13"/>
          <p:cNvSpPr txBox="1">
            <a:spLocks noGrp="1"/>
          </p:cNvSpPr>
          <p:nvPr>
            <p:ph type="title"/>
          </p:nvPr>
        </p:nvSpPr>
        <p:spPr>
          <a:xfrm>
            <a:off x="831200" y="593367"/>
            <a:ext cx="10400800" cy="763600"/>
          </a:xfrm>
          <a:prstGeom prst="rect">
            <a:avLst/>
          </a:prstGeom>
        </p:spPr>
        <p:txBody>
          <a:bodyPr spcFirstLastPara="1" wrap="square" lIns="91425" tIns="91425" rIns="91425" bIns="91425" anchor="t" anchorCtr="0">
            <a:normAutofit/>
          </a:bodyPr>
          <a:lstStyle>
            <a:lvl1pPr lvl="0" rtl="0">
              <a:spcBef>
                <a:spcPts val="0"/>
              </a:spcBef>
              <a:spcAft>
                <a:spcPts val="0"/>
              </a:spcAft>
              <a:buSzPts val="2800"/>
              <a:buNone/>
              <a:defRPr sz="4267"/>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234" name="Google Shape;234;p13"/>
          <p:cNvSpPr txBox="1">
            <a:spLocks noGrp="1"/>
          </p:cNvSpPr>
          <p:nvPr>
            <p:ph type="title" idx="2" hasCustomPrompt="1"/>
          </p:nvPr>
        </p:nvSpPr>
        <p:spPr>
          <a:xfrm flipH="1">
            <a:off x="5934871" y="1898300"/>
            <a:ext cx="3924800" cy="770400"/>
          </a:xfrm>
          <a:prstGeom prst="rect">
            <a:avLst/>
          </a:prstGeom>
          <a:noFill/>
        </p:spPr>
        <p:txBody>
          <a:bodyPr spcFirstLastPara="1" wrap="square" lIns="91425" tIns="91425" rIns="91425" bIns="91425" anchor="ctr" anchorCtr="0">
            <a:normAutofit/>
          </a:bodyPr>
          <a:lstStyle>
            <a:lvl1pPr lvl="0" algn="ctr" rtl="0">
              <a:spcBef>
                <a:spcPts val="0"/>
              </a:spcBef>
              <a:spcAft>
                <a:spcPts val="0"/>
              </a:spcAft>
              <a:buSzPts val="3600"/>
              <a:buNone/>
              <a:defRPr sz="4800"/>
            </a:lvl1pPr>
            <a:lvl2pPr lvl="1"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2pPr>
            <a:lvl3pPr lvl="2"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3pPr>
            <a:lvl4pPr lvl="3"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4pPr>
            <a:lvl5pPr lvl="4"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5pPr>
            <a:lvl6pPr lvl="5"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6pPr>
            <a:lvl7pPr lvl="6"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7pPr>
            <a:lvl8pPr lvl="7"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8pPr>
            <a:lvl9pPr lvl="8"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9pPr>
          </a:lstStyle>
          <a:p>
            <a:r>
              <a:t>xx%</a:t>
            </a:r>
          </a:p>
        </p:txBody>
      </p:sp>
      <p:sp>
        <p:nvSpPr>
          <p:cNvPr id="235" name="Google Shape;235;p13"/>
          <p:cNvSpPr txBox="1">
            <a:spLocks noGrp="1"/>
          </p:cNvSpPr>
          <p:nvPr>
            <p:ph type="title" idx="3" hasCustomPrompt="1"/>
          </p:nvPr>
        </p:nvSpPr>
        <p:spPr>
          <a:xfrm flipH="1">
            <a:off x="5934871" y="4135000"/>
            <a:ext cx="3924800" cy="770400"/>
          </a:xfrm>
          <a:prstGeom prst="rect">
            <a:avLst/>
          </a:prstGeom>
          <a:noFill/>
        </p:spPr>
        <p:txBody>
          <a:bodyPr spcFirstLastPara="1" wrap="square" lIns="91425" tIns="91425" rIns="91425" bIns="91425" anchor="ctr" anchorCtr="0">
            <a:normAutofit/>
          </a:bodyPr>
          <a:lstStyle>
            <a:lvl1pPr lvl="0" algn="ctr" rtl="0">
              <a:spcBef>
                <a:spcPts val="0"/>
              </a:spcBef>
              <a:spcAft>
                <a:spcPts val="0"/>
              </a:spcAft>
              <a:buSzPts val="3600"/>
              <a:buNone/>
              <a:defRPr sz="4800"/>
            </a:lvl1pPr>
            <a:lvl2pPr lvl="1"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2pPr>
            <a:lvl3pPr lvl="2"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3pPr>
            <a:lvl4pPr lvl="3"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4pPr>
            <a:lvl5pPr lvl="4"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5pPr>
            <a:lvl6pPr lvl="5"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6pPr>
            <a:lvl7pPr lvl="6"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7pPr>
            <a:lvl8pPr lvl="7"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8pPr>
            <a:lvl9pPr lvl="8"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9pPr>
          </a:lstStyle>
          <a:p>
            <a:r>
              <a:t>xx%</a:t>
            </a:r>
          </a:p>
        </p:txBody>
      </p:sp>
      <p:sp>
        <p:nvSpPr>
          <p:cNvPr id="236" name="Google Shape;236;p13"/>
          <p:cNvSpPr txBox="1">
            <a:spLocks noGrp="1"/>
          </p:cNvSpPr>
          <p:nvPr>
            <p:ph type="title" idx="4" hasCustomPrompt="1"/>
          </p:nvPr>
        </p:nvSpPr>
        <p:spPr>
          <a:xfrm flipH="1">
            <a:off x="2203503" y="1898300"/>
            <a:ext cx="3924800" cy="770400"/>
          </a:xfrm>
          <a:prstGeom prst="rect">
            <a:avLst/>
          </a:prstGeom>
          <a:noFill/>
        </p:spPr>
        <p:txBody>
          <a:bodyPr spcFirstLastPara="1" wrap="square" lIns="91425" tIns="91425" rIns="91425" bIns="91425" anchor="ctr" anchorCtr="0">
            <a:normAutofit/>
          </a:bodyPr>
          <a:lstStyle>
            <a:lvl1pPr lvl="0" algn="ctr" rtl="0">
              <a:spcBef>
                <a:spcPts val="0"/>
              </a:spcBef>
              <a:spcAft>
                <a:spcPts val="0"/>
              </a:spcAft>
              <a:buSzPts val="3600"/>
              <a:buNone/>
              <a:defRPr sz="4800"/>
            </a:lvl1pPr>
            <a:lvl2pPr lvl="1"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2pPr>
            <a:lvl3pPr lvl="2"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3pPr>
            <a:lvl4pPr lvl="3"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4pPr>
            <a:lvl5pPr lvl="4"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5pPr>
            <a:lvl6pPr lvl="5"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6pPr>
            <a:lvl7pPr lvl="6"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7pPr>
            <a:lvl8pPr lvl="7"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8pPr>
            <a:lvl9pPr lvl="8"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9pPr>
          </a:lstStyle>
          <a:p>
            <a:r>
              <a:t>xx%</a:t>
            </a:r>
          </a:p>
        </p:txBody>
      </p:sp>
      <p:sp>
        <p:nvSpPr>
          <p:cNvPr id="237" name="Google Shape;237;p13"/>
          <p:cNvSpPr txBox="1">
            <a:spLocks noGrp="1"/>
          </p:cNvSpPr>
          <p:nvPr>
            <p:ph type="title" idx="5" hasCustomPrompt="1"/>
          </p:nvPr>
        </p:nvSpPr>
        <p:spPr>
          <a:xfrm flipH="1">
            <a:off x="2203503" y="4135000"/>
            <a:ext cx="3924800" cy="770400"/>
          </a:xfrm>
          <a:prstGeom prst="rect">
            <a:avLst/>
          </a:prstGeom>
          <a:noFill/>
        </p:spPr>
        <p:txBody>
          <a:bodyPr spcFirstLastPara="1" wrap="square" lIns="91425" tIns="91425" rIns="91425" bIns="91425" anchor="ctr" anchorCtr="0">
            <a:normAutofit/>
          </a:bodyPr>
          <a:lstStyle>
            <a:lvl1pPr lvl="0" algn="ctr" rtl="0">
              <a:spcBef>
                <a:spcPts val="0"/>
              </a:spcBef>
              <a:spcAft>
                <a:spcPts val="0"/>
              </a:spcAft>
              <a:buSzPts val="3600"/>
              <a:buNone/>
              <a:defRPr sz="4800"/>
            </a:lvl1pPr>
            <a:lvl2pPr lvl="1"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2pPr>
            <a:lvl3pPr lvl="2"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3pPr>
            <a:lvl4pPr lvl="3"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4pPr>
            <a:lvl5pPr lvl="4"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5pPr>
            <a:lvl6pPr lvl="5"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6pPr>
            <a:lvl7pPr lvl="6"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7pPr>
            <a:lvl8pPr lvl="7"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8pPr>
            <a:lvl9pPr lvl="8"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9pPr>
          </a:lstStyle>
          <a:p>
            <a:r>
              <a:t>xx%</a:t>
            </a:r>
          </a:p>
        </p:txBody>
      </p:sp>
      <p:sp>
        <p:nvSpPr>
          <p:cNvPr id="238" name="Google Shape;238;p13"/>
          <p:cNvSpPr txBox="1">
            <a:spLocks noGrp="1"/>
          </p:cNvSpPr>
          <p:nvPr>
            <p:ph type="subTitle" idx="1"/>
          </p:nvPr>
        </p:nvSpPr>
        <p:spPr>
          <a:xfrm flipH="1">
            <a:off x="2559003" y="2995900"/>
            <a:ext cx="3214000" cy="7704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1000"/>
              <a:buNone/>
              <a:defRPr sz="1867" b="0"/>
            </a:lvl1pPr>
            <a:lvl2pPr lvl="1" algn="ctr" rtl="0">
              <a:lnSpc>
                <a:spcPct val="100000"/>
              </a:lnSpc>
              <a:spcBef>
                <a:spcPts val="0"/>
              </a:spcBef>
              <a:spcAft>
                <a:spcPts val="0"/>
              </a:spcAft>
              <a:buSzPts val="1000"/>
              <a:buNone/>
              <a:defRPr sz="1333"/>
            </a:lvl2pPr>
            <a:lvl3pPr lvl="2" algn="ctr" rtl="0">
              <a:lnSpc>
                <a:spcPct val="100000"/>
              </a:lnSpc>
              <a:spcBef>
                <a:spcPts val="0"/>
              </a:spcBef>
              <a:spcAft>
                <a:spcPts val="0"/>
              </a:spcAft>
              <a:buSzPts val="1000"/>
              <a:buNone/>
              <a:defRPr sz="1333"/>
            </a:lvl3pPr>
            <a:lvl4pPr lvl="3" algn="ctr" rtl="0">
              <a:lnSpc>
                <a:spcPct val="100000"/>
              </a:lnSpc>
              <a:spcBef>
                <a:spcPts val="0"/>
              </a:spcBef>
              <a:spcAft>
                <a:spcPts val="0"/>
              </a:spcAft>
              <a:buSzPts val="1000"/>
              <a:buNone/>
              <a:defRPr sz="1333"/>
            </a:lvl4pPr>
            <a:lvl5pPr lvl="4" algn="ctr" rtl="0">
              <a:lnSpc>
                <a:spcPct val="100000"/>
              </a:lnSpc>
              <a:spcBef>
                <a:spcPts val="0"/>
              </a:spcBef>
              <a:spcAft>
                <a:spcPts val="0"/>
              </a:spcAft>
              <a:buSzPts val="1000"/>
              <a:buNone/>
              <a:defRPr sz="1333"/>
            </a:lvl5pPr>
            <a:lvl6pPr lvl="5" algn="ctr" rtl="0">
              <a:lnSpc>
                <a:spcPct val="100000"/>
              </a:lnSpc>
              <a:spcBef>
                <a:spcPts val="0"/>
              </a:spcBef>
              <a:spcAft>
                <a:spcPts val="0"/>
              </a:spcAft>
              <a:buSzPts val="1000"/>
              <a:buNone/>
              <a:defRPr sz="1333"/>
            </a:lvl6pPr>
            <a:lvl7pPr lvl="6" algn="ctr" rtl="0">
              <a:lnSpc>
                <a:spcPct val="100000"/>
              </a:lnSpc>
              <a:spcBef>
                <a:spcPts val="0"/>
              </a:spcBef>
              <a:spcAft>
                <a:spcPts val="0"/>
              </a:spcAft>
              <a:buSzPts val="1000"/>
              <a:buNone/>
              <a:defRPr sz="1333"/>
            </a:lvl7pPr>
            <a:lvl8pPr lvl="7" algn="ctr" rtl="0">
              <a:lnSpc>
                <a:spcPct val="100000"/>
              </a:lnSpc>
              <a:spcBef>
                <a:spcPts val="0"/>
              </a:spcBef>
              <a:spcAft>
                <a:spcPts val="0"/>
              </a:spcAft>
              <a:buSzPts val="1000"/>
              <a:buNone/>
              <a:defRPr sz="1333"/>
            </a:lvl8pPr>
            <a:lvl9pPr lvl="8" algn="ctr" rtl="0">
              <a:lnSpc>
                <a:spcPct val="100000"/>
              </a:lnSpc>
              <a:spcBef>
                <a:spcPts val="0"/>
              </a:spcBef>
              <a:spcAft>
                <a:spcPts val="0"/>
              </a:spcAft>
              <a:buSzPts val="1000"/>
              <a:buNone/>
              <a:defRPr sz="1333"/>
            </a:lvl9pPr>
          </a:lstStyle>
          <a:p>
            <a:endParaRPr/>
          </a:p>
        </p:txBody>
      </p:sp>
      <p:sp>
        <p:nvSpPr>
          <p:cNvPr id="239" name="Google Shape;239;p13"/>
          <p:cNvSpPr txBox="1">
            <a:spLocks noGrp="1"/>
          </p:cNvSpPr>
          <p:nvPr>
            <p:ph type="subTitle" idx="6"/>
          </p:nvPr>
        </p:nvSpPr>
        <p:spPr>
          <a:xfrm flipH="1">
            <a:off x="6290371" y="2995900"/>
            <a:ext cx="3214000" cy="7704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1000"/>
              <a:buNone/>
              <a:defRPr sz="1867" b="0"/>
            </a:lvl1pPr>
            <a:lvl2pPr lvl="1" algn="ctr" rtl="0">
              <a:lnSpc>
                <a:spcPct val="100000"/>
              </a:lnSpc>
              <a:spcBef>
                <a:spcPts val="0"/>
              </a:spcBef>
              <a:spcAft>
                <a:spcPts val="0"/>
              </a:spcAft>
              <a:buSzPts val="1000"/>
              <a:buNone/>
              <a:defRPr sz="1333"/>
            </a:lvl2pPr>
            <a:lvl3pPr lvl="2" algn="ctr" rtl="0">
              <a:lnSpc>
                <a:spcPct val="100000"/>
              </a:lnSpc>
              <a:spcBef>
                <a:spcPts val="0"/>
              </a:spcBef>
              <a:spcAft>
                <a:spcPts val="0"/>
              </a:spcAft>
              <a:buSzPts val="1000"/>
              <a:buNone/>
              <a:defRPr sz="1333"/>
            </a:lvl3pPr>
            <a:lvl4pPr lvl="3" algn="ctr" rtl="0">
              <a:lnSpc>
                <a:spcPct val="100000"/>
              </a:lnSpc>
              <a:spcBef>
                <a:spcPts val="0"/>
              </a:spcBef>
              <a:spcAft>
                <a:spcPts val="0"/>
              </a:spcAft>
              <a:buSzPts val="1000"/>
              <a:buNone/>
              <a:defRPr sz="1333"/>
            </a:lvl4pPr>
            <a:lvl5pPr lvl="4" algn="ctr" rtl="0">
              <a:lnSpc>
                <a:spcPct val="100000"/>
              </a:lnSpc>
              <a:spcBef>
                <a:spcPts val="0"/>
              </a:spcBef>
              <a:spcAft>
                <a:spcPts val="0"/>
              </a:spcAft>
              <a:buSzPts val="1000"/>
              <a:buNone/>
              <a:defRPr sz="1333"/>
            </a:lvl5pPr>
            <a:lvl6pPr lvl="5" algn="ctr" rtl="0">
              <a:lnSpc>
                <a:spcPct val="100000"/>
              </a:lnSpc>
              <a:spcBef>
                <a:spcPts val="0"/>
              </a:spcBef>
              <a:spcAft>
                <a:spcPts val="0"/>
              </a:spcAft>
              <a:buSzPts val="1000"/>
              <a:buNone/>
              <a:defRPr sz="1333"/>
            </a:lvl6pPr>
            <a:lvl7pPr lvl="6" algn="ctr" rtl="0">
              <a:lnSpc>
                <a:spcPct val="100000"/>
              </a:lnSpc>
              <a:spcBef>
                <a:spcPts val="0"/>
              </a:spcBef>
              <a:spcAft>
                <a:spcPts val="0"/>
              </a:spcAft>
              <a:buSzPts val="1000"/>
              <a:buNone/>
              <a:defRPr sz="1333"/>
            </a:lvl7pPr>
            <a:lvl8pPr lvl="7" algn="ctr" rtl="0">
              <a:lnSpc>
                <a:spcPct val="100000"/>
              </a:lnSpc>
              <a:spcBef>
                <a:spcPts val="0"/>
              </a:spcBef>
              <a:spcAft>
                <a:spcPts val="0"/>
              </a:spcAft>
              <a:buSzPts val="1000"/>
              <a:buNone/>
              <a:defRPr sz="1333"/>
            </a:lvl8pPr>
            <a:lvl9pPr lvl="8" algn="ctr" rtl="0">
              <a:lnSpc>
                <a:spcPct val="100000"/>
              </a:lnSpc>
              <a:spcBef>
                <a:spcPts val="0"/>
              </a:spcBef>
              <a:spcAft>
                <a:spcPts val="0"/>
              </a:spcAft>
              <a:buSzPts val="1000"/>
              <a:buNone/>
              <a:defRPr sz="1333"/>
            </a:lvl9pPr>
          </a:lstStyle>
          <a:p>
            <a:endParaRPr/>
          </a:p>
        </p:txBody>
      </p:sp>
      <p:sp>
        <p:nvSpPr>
          <p:cNvPr id="240" name="Google Shape;240;p13"/>
          <p:cNvSpPr txBox="1">
            <a:spLocks noGrp="1"/>
          </p:cNvSpPr>
          <p:nvPr>
            <p:ph type="subTitle" idx="7"/>
          </p:nvPr>
        </p:nvSpPr>
        <p:spPr>
          <a:xfrm flipH="1">
            <a:off x="2559003" y="5266400"/>
            <a:ext cx="3214000" cy="7704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1000"/>
              <a:buNone/>
              <a:defRPr sz="1867" b="0"/>
            </a:lvl1pPr>
            <a:lvl2pPr lvl="1" algn="ctr" rtl="0">
              <a:lnSpc>
                <a:spcPct val="100000"/>
              </a:lnSpc>
              <a:spcBef>
                <a:spcPts val="0"/>
              </a:spcBef>
              <a:spcAft>
                <a:spcPts val="0"/>
              </a:spcAft>
              <a:buSzPts val="1000"/>
              <a:buNone/>
              <a:defRPr sz="1333"/>
            </a:lvl2pPr>
            <a:lvl3pPr lvl="2" algn="ctr" rtl="0">
              <a:lnSpc>
                <a:spcPct val="100000"/>
              </a:lnSpc>
              <a:spcBef>
                <a:spcPts val="0"/>
              </a:spcBef>
              <a:spcAft>
                <a:spcPts val="0"/>
              </a:spcAft>
              <a:buSzPts val="1000"/>
              <a:buNone/>
              <a:defRPr sz="1333"/>
            </a:lvl3pPr>
            <a:lvl4pPr lvl="3" algn="ctr" rtl="0">
              <a:lnSpc>
                <a:spcPct val="100000"/>
              </a:lnSpc>
              <a:spcBef>
                <a:spcPts val="0"/>
              </a:spcBef>
              <a:spcAft>
                <a:spcPts val="0"/>
              </a:spcAft>
              <a:buSzPts val="1000"/>
              <a:buNone/>
              <a:defRPr sz="1333"/>
            </a:lvl4pPr>
            <a:lvl5pPr lvl="4" algn="ctr" rtl="0">
              <a:lnSpc>
                <a:spcPct val="100000"/>
              </a:lnSpc>
              <a:spcBef>
                <a:spcPts val="0"/>
              </a:spcBef>
              <a:spcAft>
                <a:spcPts val="0"/>
              </a:spcAft>
              <a:buSzPts val="1000"/>
              <a:buNone/>
              <a:defRPr sz="1333"/>
            </a:lvl5pPr>
            <a:lvl6pPr lvl="5" algn="ctr" rtl="0">
              <a:lnSpc>
                <a:spcPct val="100000"/>
              </a:lnSpc>
              <a:spcBef>
                <a:spcPts val="0"/>
              </a:spcBef>
              <a:spcAft>
                <a:spcPts val="0"/>
              </a:spcAft>
              <a:buSzPts val="1000"/>
              <a:buNone/>
              <a:defRPr sz="1333"/>
            </a:lvl6pPr>
            <a:lvl7pPr lvl="6" algn="ctr" rtl="0">
              <a:lnSpc>
                <a:spcPct val="100000"/>
              </a:lnSpc>
              <a:spcBef>
                <a:spcPts val="0"/>
              </a:spcBef>
              <a:spcAft>
                <a:spcPts val="0"/>
              </a:spcAft>
              <a:buSzPts val="1000"/>
              <a:buNone/>
              <a:defRPr sz="1333"/>
            </a:lvl7pPr>
            <a:lvl8pPr lvl="7" algn="ctr" rtl="0">
              <a:lnSpc>
                <a:spcPct val="100000"/>
              </a:lnSpc>
              <a:spcBef>
                <a:spcPts val="0"/>
              </a:spcBef>
              <a:spcAft>
                <a:spcPts val="0"/>
              </a:spcAft>
              <a:buSzPts val="1000"/>
              <a:buNone/>
              <a:defRPr sz="1333"/>
            </a:lvl8pPr>
            <a:lvl9pPr lvl="8" algn="ctr" rtl="0">
              <a:lnSpc>
                <a:spcPct val="100000"/>
              </a:lnSpc>
              <a:spcBef>
                <a:spcPts val="0"/>
              </a:spcBef>
              <a:spcAft>
                <a:spcPts val="0"/>
              </a:spcAft>
              <a:buSzPts val="1000"/>
              <a:buNone/>
              <a:defRPr sz="1333"/>
            </a:lvl9pPr>
          </a:lstStyle>
          <a:p>
            <a:endParaRPr/>
          </a:p>
        </p:txBody>
      </p:sp>
      <p:sp>
        <p:nvSpPr>
          <p:cNvPr id="241" name="Google Shape;241;p13"/>
          <p:cNvSpPr txBox="1">
            <a:spLocks noGrp="1"/>
          </p:cNvSpPr>
          <p:nvPr>
            <p:ph type="subTitle" idx="8"/>
          </p:nvPr>
        </p:nvSpPr>
        <p:spPr>
          <a:xfrm flipH="1">
            <a:off x="6290371" y="5266400"/>
            <a:ext cx="3214000" cy="7704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1000"/>
              <a:buNone/>
              <a:defRPr sz="1867" b="0"/>
            </a:lvl1pPr>
            <a:lvl2pPr lvl="1" algn="ctr" rtl="0">
              <a:lnSpc>
                <a:spcPct val="100000"/>
              </a:lnSpc>
              <a:spcBef>
                <a:spcPts val="0"/>
              </a:spcBef>
              <a:spcAft>
                <a:spcPts val="0"/>
              </a:spcAft>
              <a:buSzPts val="1000"/>
              <a:buNone/>
              <a:defRPr sz="1333"/>
            </a:lvl2pPr>
            <a:lvl3pPr lvl="2" algn="ctr" rtl="0">
              <a:lnSpc>
                <a:spcPct val="100000"/>
              </a:lnSpc>
              <a:spcBef>
                <a:spcPts val="0"/>
              </a:spcBef>
              <a:spcAft>
                <a:spcPts val="0"/>
              </a:spcAft>
              <a:buSzPts val="1000"/>
              <a:buNone/>
              <a:defRPr sz="1333"/>
            </a:lvl3pPr>
            <a:lvl4pPr lvl="3" algn="ctr" rtl="0">
              <a:lnSpc>
                <a:spcPct val="100000"/>
              </a:lnSpc>
              <a:spcBef>
                <a:spcPts val="0"/>
              </a:spcBef>
              <a:spcAft>
                <a:spcPts val="0"/>
              </a:spcAft>
              <a:buSzPts val="1000"/>
              <a:buNone/>
              <a:defRPr sz="1333"/>
            </a:lvl4pPr>
            <a:lvl5pPr lvl="4" algn="ctr" rtl="0">
              <a:lnSpc>
                <a:spcPct val="100000"/>
              </a:lnSpc>
              <a:spcBef>
                <a:spcPts val="0"/>
              </a:spcBef>
              <a:spcAft>
                <a:spcPts val="0"/>
              </a:spcAft>
              <a:buSzPts val="1000"/>
              <a:buNone/>
              <a:defRPr sz="1333"/>
            </a:lvl5pPr>
            <a:lvl6pPr lvl="5" algn="ctr" rtl="0">
              <a:lnSpc>
                <a:spcPct val="100000"/>
              </a:lnSpc>
              <a:spcBef>
                <a:spcPts val="0"/>
              </a:spcBef>
              <a:spcAft>
                <a:spcPts val="0"/>
              </a:spcAft>
              <a:buSzPts val="1000"/>
              <a:buNone/>
              <a:defRPr sz="1333"/>
            </a:lvl6pPr>
            <a:lvl7pPr lvl="6" algn="ctr" rtl="0">
              <a:lnSpc>
                <a:spcPct val="100000"/>
              </a:lnSpc>
              <a:spcBef>
                <a:spcPts val="0"/>
              </a:spcBef>
              <a:spcAft>
                <a:spcPts val="0"/>
              </a:spcAft>
              <a:buSzPts val="1000"/>
              <a:buNone/>
              <a:defRPr sz="1333"/>
            </a:lvl7pPr>
            <a:lvl8pPr lvl="7" algn="ctr" rtl="0">
              <a:lnSpc>
                <a:spcPct val="100000"/>
              </a:lnSpc>
              <a:spcBef>
                <a:spcPts val="0"/>
              </a:spcBef>
              <a:spcAft>
                <a:spcPts val="0"/>
              </a:spcAft>
              <a:buSzPts val="1000"/>
              <a:buNone/>
              <a:defRPr sz="1333"/>
            </a:lvl8pPr>
            <a:lvl9pPr lvl="8" algn="ctr" rtl="0">
              <a:lnSpc>
                <a:spcPct val="100000"/>
              </a:lnSpc>
              <a:spcBef>
                <a:spcPts val="0"/>
              </a:spcBef>
              <a:spcAft>
                <a:spcPts val="0"/>
              </a:spcAft>
              <a:buSzPts val="1000"/>
              <a:buNone/>
              <a:defRPr sz="1333"/>
            </a:lvl9pPr>
          </a:lstStyle>
          <a:p>
            <a:endParaRPr/>
          </a:p>
        </p:txBody>
      </p:sp>
      <p:sp>
        <p:nvSpPr>
          <p:cNvPr id="242" name="Google Shape;242;p13"/>
          <p:cNvSpPr txBox="1">
            <a:spLocks noGrp="1"/>
          </p:cNvSpPr>
          <p:nvPr>
            <p:ph type="title" idx="9"/>
          </p:nvPr>
        </p:nvSpPr>
        <p:spPr>
          <a:xfrm>
            <a:off x="2847517" y="2384433"/>
            <a:ext cx="2636800" cy="562000"/>
          </a:xfrm>
          <a:prstGeom prst="rect">
            <a:avLst/>
          </a:prstGeom>
          <a:noFill/>
          <a:ln>
            <a:noFill/>
          </a:ln>
        </p:spPr>
        <p:txBody>
          <a:bodyPr spcFirstLastPara="1" wrap="square" lIns="0" tIns="0" rIns="0" bIns="0" anchor="ctr" anchorCtr="0">
            <a:normAutofit/>
          </a:bodyPr>
          <a:lstStyle>
            <a:lvl1pPr lvl="0" algn="ctr" rtl="0">
              <a:spcBef>
                <a:spcPts val="0"/>
              </a:spcBef>
              <a:spcAft>
                <a:spcPts val="0"/>
              </a:spcAft>
              <a:buSzPts val="1400"/>
              <a:buNone/>
              <a:defRPr sz="2933" i="0"/>
            </a:lvl1pPr>
            <a:lvl2pPr lvl="1" algn="r" rtl="0">
              <a:spcBef>
                <a:spcPts val="0"/>
              </a:spcBef>
              <a:spcAft>
                <a:spcPts val="0"/>
              </a:spcAft>
              <a:buSzPts val="1400"/>
              <a:buNone/>
              <a:defRPr sz="1867"/>
            </a:lvl2pPr>
            <a:lvl3pPr lvl="2" algn="r" rtl="0">
              <a:spcBef>
                <a:spcPts val="0"/>
              </a:spcBef>
              <a:spcAft>
                <a:spcPts val="0"/>
              </a:spcAft>
              <a:buSzPts val="1400"/>
              <a:buNone/>
              <a:defRPr sz="1867"/>
            </a:lvl3pPr>
            <a:lvl4pPr lvl="3" algn="r" rtl="0">
              <a:spcBef>
                <a:spcPts val="0"/>
              </a:spcBef>
              <a:spcAft>
                <a:spcPts val="0"/>
              </a:spcAft>
              <a:buSzPts val="1400"/>
              <a:buNone/>
              <a:defRPr sz="1867"/>
            </a:lvl4pPr>
            <a:lvl5pPr lvl="4" algn="r" rtl="0">
              <a:spcBef>
                <a:spcPts val="0"/>
              </a:spcBef>
              <a:spcAft>
                <a:spcPts val="0"/>
              </a:spcAft>
              <a:buSzPts val="1400"/>
              <a:buNone/>
              <a:defRPr sz="1867"/>
            </a:lvl5pPr>
            <a:lvl6pPr lvl="5" algn="r" rtl="0">
              <a:spcBef>
                <a:spcPts val="0"/>
              </a:spcBef>
              <a:spcAft>
                <a:spcPts val="0"/>
              </a:spcAft>
              <a:buSzPts val="1400"/>
              <a:buNone/>
              <a:defRPr sz="1867"/>
            </a:lvl6pPr>
            <a:lvl7pPr lvl="6" algn="r" rtl="0">
              <a:spcBef>
                <a:spcPts val="0"/>
              </a:spcBef>
              <a:spcAft>
                <a:spcPts val="0"/>
              </a:spcAft>
              <a:buSzPts val="1400"/>
              <a:buNone/>
              <a:defRPr sz="1867"/>
            </a:lvl7pPr>
            <a:lvl8pPr lvl="7" algn="r" rtl="0">
              <a:spcBef>
                <a:spcPts val="0"/>
              </a:spcBef>
              <a:spcAft>
                <a:spcPts val="0"/>
              </a:spcAft>
              <a:buSzPts val="1400"/>
              <a:buNone/>
              <a:defRPr sz="1867"/>
            </a:lvl8pPr>
            <a:lvl9pPr lvl="8" algn="r" rtl="0">
              <a:spcBef>
                <a:spcPts val="0"/>
              </a:spcBef>
              <a:spcAft>
                <a:spcPts val="0"/>
              </a:spcAft>
              <a:buSzPts val="1400"/>
              <a:buNone/>
              <a:defRPr sz="1867"/>
            </a:lvl9pPr>
          </a:lstStyle>
          <a:p>
            <a:endParaRPr/>
          </a:p>
        </p:txBody>
      </p:sp>
      <p:sp>
        <p:nvSpPr>
          <p:cNvPr id="243" name="Google Shape;243;p13"/>
          <p:cNvSpPr txBox="1">
            <a:spLocks noGrp="1"/>
          </p:cNvSpPr>
          <p:nvPr>
            <p:ph type="title" idx="13"/>
          </p:nvPr>
        </p:nvSpPr>
        <p:spPr>
          <a:xfrm>
            <a:off x="6578973" y="2384423"/>
            <a:ext cx="2636800" cy="562000"/>
          </a:xfrm>
          <a:prstGeom prst="rect">
            <a:avLst/>
          </a:prstGeom>
          <a:noFill/>
          <a:ln>
            <a:noFill/>
          </a:ln>
        </p:spPr>
        <p:txBody>
          <a:bodyPr spcFirstLastPara="1" wrap="square" lIns="0" tIns="0" rIns="0" bIns="0" anchor="ctr" anchorCtr="0">
            <a:normAutofit/>
          </a:bodyPr>
          <a:lstStyle>
            <a:lvl1pPr lvl="0" algn="ctr" rtl="0">
              <a:spcBef>
                <a:spcPts val="0"/>
              </a:spcBef>
              <a:spcAft>
                <a:spcPts val="0"/>
              </a:spcAft>
              <a:buSzPts val="1400"/>
              <a:buNone/>
              <a:defRPr sz="2933" i="0"/>
            </a:lvl1pPr>
            <a:lvl2pPr lvl="1" rtl="0">
              <a:spcBef>
                <a:spcPts val="0"/>
              </a:spcBef>
              <a:spcAft>
                <a:spcPts val="0"/>
              </a:spcAft>
              <a:buSzPts val="1400"/>
              <a:buNone/>
              <a:defRPr sz="1867"/>
            </a:lvl2pPr>
            <a:lvl3pPr lvl="2" rtl="0">
              <a:spcBef>
                <a:spcPts val="0"/>
              </a:spcBef>
              <a:spcAft>
                <a:spcPts val="0"/>
              </a:spcAft>
              <a:buSzPts val="1400"/>
              <a:buNone/>
              <a:defRPr sz="1867"/>
            </a:lvl3pPr>
            <a:lvl4pPr lvl="3" rtl="0">
              <a:spcBef>
                <a:spcPts val="0"/>
              </a:spcBef>
              <a:spcAft>
                <a:spcPts val="0"/>
              </a:spcAft>
              <a:buSzPts val="1400"/>
              <a:buNone/>
              <a:defRPr sz="1867"/>
            </a:lvl4pPr>
            <a:lvl5pPr lvl="4" rtl="0">
              <a:spcBef>
                <a:spcPts val="0"/>
              </a:spcBef>
              <a:spcAft>
                <a:spcPts val="0"/>
              </a:spcAft>
              <a:buSzPts val="1400"/>
              <a:buNone/>
              <a:defRPr sz="1867"/>
            </a:lvl5pPr>
            <a:lvl6pPr lvl="5" rtl="0">
              <a:spcBef>
                <a:spcPts val="0"/>
              </a:spcBef>
              <a:spcAft>
                <a:spcPts val="0"/>
              </a:spcAft>
              <a:buSzPts val="1400"/>
              <a:buNone/>
              <a:defRPr sz="1867"/>
            </a:lvl6pPr>
            <a:lvl7pPr lvl="6" rtl="0">
              <a:spcBef>
                <a:spcPts val="0"/>
              </a:spcBef>
              <a:spcAft>
                <a:spcPts val="0"/>
              </a:spcAft>
              <a:buSzPts val="1400"/>
              <a:buNone/>
              <a:defRPr sz="1867"/>
            </a:lvl7pPr>
            <a:lvl8pPr lvl="7" rtl="0">
              <a:spcBef>
                <a:spcPts val="0"/>
              </a:spcBef>
              <a:spcAft>
                <a:spcPts val="0"/>
              </a:spcAft>
              <a:buSzPts val="1400"/>
              <a:buNone/>
              <a:defRPr sz="1867"/>
            </a:lvl8pPr>
            <a:lvl9pPr lvl="8" rtl="0">
              <a:spcBef>
                <a:spcPts val="0"/>
              </a:spcBef>
              <a:spcAft>
                <a:spcPts val="0"/>
              </a:spcAft>
              <a:buSzPts val="1400"/>
              <a:buNone/>
              <a:defRPr sz="1867"/>
            </a:lvl9pPr>
          </a:lstStyle>
          <a:p>
            <a:endParaRPr/>
          </a:p>
        </p:txBody>
      </p:sp>
      <p:sp>
        <p:nvSpPr>
          <p:cNvPr id="244" name="Google Shape;244;p13"/>
          <p:cNvSpPr txBox="1">
            <a:spLocks noGrp="1"/>
          </p:cNvSpPr>
          <p:nvPr>
            <p:ph type="title" idx="14"/>
          </p:nvPr>
        </p:nvSpPr>
        <p:spPr>
          <a:xfrm>
            <a:off x="6578873" y="4617000"/>
            <a:ext cx="2636800" cy="562000"/>
          </a:xfrm>
          <a:prstGeom prst="rect">
            <a:avLst/>
          </a:prstGeom>
          <a:noFill/>
          <a:ln>
            <a:noFill/>
          </a:ln>
        </p:spPr>
        <p:txBody>
          <a:bodyPr spcFirstLastPara="1" wrap="square" lIns="0" tIns="0" rIns="0" bIns="0" anchor="ctr" anchorCtr="0">
            <a:normAutofit/>
          </a:bodyPr>
          <a:lstStyle>
            <a:lvl1pPr lvl="0" algn="ctr" rtl="0">
              <a:spcBef>
                <a:spcPts val="0"/>
              </a:spcBef>
              <a:spcAft>
                <a:spcPts val="0"/>
              </a:spcAft>
              <a:buSzPts val="1400"/>
              <a:buNone/>
              <a:defRPr sz="2933" i="0"/>
            </a:lvl1pPr>
            <a:lvl2pPr lvl="1" rtl="0">
              <a:spcBef>
                <a:spcPts val="0"/>
              </a:spcBef>
              <a:spcAft>
                <a:spcPts val="0"/>
              </a:spcAft>
              <a:buSzPts val="1400"/>
              <a:buNone/>
              <a:defRPr sz="1867"/>
            </a:lvl2pPr>
            <a:lvl3pPr lvl="2" rtl="0">
              <a:spcBef>
                <a:spcPts val="0"/>
              </a:spcBef>
              <a:spcAft>
                <a:spcPts val="0"/>
              </a:spcAft>
              <a:buSzPts val="1400"/>
              <a:buNone/>
              <a:defRPr sz="1867"/>
            </a:lvl3pPr>
            <a:lvl4pPr lvl="3" rtl="0">
              <a:spcBef>
                <a:spcPts val="0"/>
              </a:spcBef>
              <a:spcAft>
                <a:spcPts val="0"/>
              </a:spcAft>
              <a:buSzPts val="1400"/>
              <a:buNone/>
              <a:defRPr sz="1867"/>
            </a:lvl4pPr>
            <a:lvl5pPr lvl="4" rtl="0">
              <a:spcBef>
                <a:spcPts val="0"/>
              </a:spcBef>
              <a:spcAft>
                <a:spcPts val="0"/>
              </a:spcAft>
              <a:buSzPts val="1400"/>
              <a:buNone/>
              <a:defRPr sz="1867"/>
            </a:lvl5pPr>
            <a:lvl6pPr lvl="5" rtl="0">
              <a:spcBef>
                <a:spcPts val="0"/>
              </a:spcBef>
              <a:spcAft>
                <a:spcPts val="0"/>
              </a:spcAft>
              <a:buSzPts val="1400"/>
              <a:buNone/>
              <a:defRPr sz="1867"/>
            </a:lvl6pPr>
            <a:lvl7pPr lvl="6" rtl="0">
              <a:spcBef>
                <a:spcPts val="0"/>
              </a:spcBef>
              <a:spcAft>
                <a:spcPts val="0"/>
              </a:spcAft>
              <a:buSzPts val="1400"/>
              <a:buNone/>
              <a:defRPr sz="1867"/>
            </a:lvl7pPr>
            <a:lvl8pPr lvl="7" rtl="0">
              <a:spcBef>
                <a:spcPts val="0"/>
              </a:spcBef>
              <a:spcAft>
                <a:spcPts val="0"/>
              </a:spcAft>
              <a:buSzPts val="1400"/>
              <a:buNone/>
              <a:defRPr sz="1867"/>
            </a:lvl8pPr>
            <a:lvl9pPr lvl="8" rtl="0">
              <a:spcBef>
                <a:spcPts val="0"/>
              </a:spcBef>
              <a:spcAft>
                <a:spcPts val="0"/>
              </a:spcAft>
              <a:buSzPts val="1400"/>
              <a:buNone/>
              <a:defRPr sz="1867"/>
            </a:lvl9pPr>
          </a:lstStyle>
          <a:p>
            <a:endParaRPr/>
          </a:p>
        </p:txBody>
      </p:sp>
      <p:sp>
        <p:nvSpPr>
          <p:cNvPr id="245" name="Google Shape;245;p13"/>
          <p:cNvSpPr txBox="1">
            <a:spLocks noGrp="1"/>
          </p:cNvSpPr>
          <p:nvPr>
            <p:ph type="title" idx="15"/>
          </p:nvPr>
        </p:nvSpPr>
        <p:spPr>
          <a:xfrm>
            <a:off x="2847517" y="4617000"/>
            <a:ext cx="2636800" cy="562000"/>
          </a:xfrm>
          <a:prstGeom prst="rect">
            <a:avLst/>
          </a:prstGeom>
          <a:noFill/>
          <a:ln>
            <a:noFill/>
          </a:ln>
        </p:spPr>
        <p:txBody>
          <a:bodyPr spcFirstLastPara="1" wrap="square" lIns="0" tIns="0" rIns="0" bIns="0" anchor="ctr" anchorCtr="0">
            <a:normAutofit/>
          </a:bodyPr>
          <a:lstStyle>
            <a:lvl1pPr lvl="0" algn="ctr" rtl="0">
              <a:spcBef>
                <a:spcPts val="0"/>
              </a:spcBef>
              <a:spcAft>
                <a:spcPts val="0"/>
              </a:spcAft>
              <a:buSzPts val="1400"/>
              <a:buNone/>
              <a:defRPr sz="2933" i="0"/>
            </a:lvl1pPr>
            <a:lvl2pPr lvl="1" algn="r" rtl="0">
              <a:spcBef>
                <a:spcPts val="0"/>
              </a:spcBef>
              <a:spcAft>
                <a:spcPts val="0"/>
              </a:spcAft>
              <a:buSzPts val="1400"/>
              <a:buNone/>
              <a:defRPr sz="1867"/>
            </a:lvl2pPr>
            <a:lvl3pPr lvl="2" algn="r" rtl="0">
              <a:spcBef>
                <a:spcPts val="0"/>
              </a:spcBef>
              <a:spcAft>
                <a:spcPts val="0"/>
              </a:spcAft>
              <a:buSzPts val="1400"/>
              <a:buNone/>
              <a:defRPr sz="1867"/>
            </a:lvl3pPr>
            <a:lvl4pPr lvl="3" algn="r" rtl="0">
              <a:spcBef>
                <a:spcPts val="0"/>
              </a:spcBef>
              <a:spcAft>
                <a:spcPts val="0"/>
              </a:spcAft>
              <a:buSzPts val="1400"/>
              <a:buNone/>
              <a:defRPr sz="1867"/>
            </a:lvl4pPr>
            <a:lvl5pPr lvl="4" algn="r" rtl="0">
              <a:spcBef>
                <a:spcPts val="0"/>
              </a:spcBef>
              <a:spcAft>
                <a:spcPts val="0"/>
              </a:spcAft>
              <a:buSzPts val="1400"/>
              <a:buNone/>
              <a:defRPr sz="1867"/>
            </a:lvl5pPr>
            <a:lvl6pPr lvl="5" algn="r" rtl="0">
              <a:spcBef>
                <a:spcPts val="0"/>
              </a:spcBef>
              <a:spcAft>
                <a:spcPts val="0"/>
              </a:spcAft>
              <a:buSzPts val="1400"/>
              <a:buNone/>
              <a:defRPr sz="1867"/>
            </a:lvl6pPr>
            <a:lvl7pPr lvl="6" algn="r" rtl="0">
              <a:spcBef>
                <a:spcPts val="0"/>
              </a:spcBef>
              <a:spcAft>
                <a:spcPts val="0"/>
              </a:spcAft>
              <a:buSzPts val="1400"/>
              <a:buNone/>
              <a:defRPr sz="1867"/>
            </a:lvl7pPr>
            <a:lvl8pPr lvl="7" algn="r" rtl="0">
              <a:spcBef>
                <a:spcPts val="0"/>
              </a:spcBef>
              <a:spcAft>
                <a:spcPts val="0"/>
              </a:spcAft>
              <a:buSzPts val="1400"/>
              <a:buNone/>
              <a:defRPr sz="1867"/>
            </a:lvl8pPr>
            <a:lvl9pPr lvl="8" algn="r" rtl="0">
              <a:spcBef>
                <a:spcPts val="0"/>
              </a:spcBef>
              <a:spcAft>
                <a:spcPts val="0"/>
              </a:spcAft>
              <a:buSzPts val="1400"/>
              <a:buNone/>
              <a:defRPr sz="1867"/>
            </a:lvl9pPr>
          </a:lstStyle>
          <a:p>
            <a:endParaRPr/>
          </a:p>
        </p:txBody>
      </p:sp>
      <p:sp>
        <p:nvSpPr>
          <p:cNvPr id="246" name="Google Shape;246;p13"/>
          <p:cNvSpPr/>
          <p:nvPr/>
        </p:nvSpPr>
        <p:spPr>
          <a:xfrm>
            <a:off x="11368634" y="-272167"/>
            <a:ext cx="858761" cy="4839955"/>
          </a:xfrm>
          <a:custGeom>
            <a:avLst/>
            <a:gdLst/>
            <a:ahLst/>
            <a:cxnLst/>
            <a:rect l="l" t="t" r="r" b="b"/>
            <a:pathLst>
              <a:path w="18600" h="104829" extrusionOk="0">
                <a:moveTo>
                  <a:pt x="16360" y="1"/>
                </a:moveTo>
                <a:cubicBezTo>
                  <a:pt x="9962" y="1"/>
                  <a:pt x="4427" y="11283"/>
                  <a:pt x="3561" y="15670"/>
                </a:cubicBezTo>
                <a:cubicBezTo>
                  <a:pt x="1512" y="25875"/>
                  <a:pt x="9370" y="33772"/>
                  <a:pt x="10762" y="43341"/>
                </a:cubicBezTo>
                <a:cubicBezTo>
                  <a:pt x="11936" y="51337"/>
                  <a:pt x="10921" y="59692"/>
                  <a:pt x="7719" y="67132"/>
                </a:cubicBezTo>
                <a:cubicBezTo>
                  <a:pt x="5172" y="73120"/>
                  <a:pt x="1214" y="78750"/>
                  <a:pt x="657" y="85254"/>
                </a:cubicBezTo>
                <a:cubicBezTo>
                  <a:pt x="0" y="93609"/>
                  <a:pt x="9111" y="104590"/>
                  <a:pt x="18560" y="104829"/>
                </a:cubicBezTo>
                <a:lnTo>
                  <a:pt x="18560" y="104829"/>
                </a:lnTo>
                <a:cubicBezTo>
                  <a:pt x="18600" y="104809"/>
                  <a:pt x="18341" y="372"/>
                  <a:pt x="18341" y="372"/>
                </a:cubicBezTo>
                <a:cubicBezTo>
                  <a:pt x="17675" y="118"/>
                  <a:pt x="17013" y="1"/>
                  <a:pt x="16360" y="1"/>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247" name="Google Shape;247;p13"/>
          <p:cNvGrpSpPr/>
          <p:nvPr/>
        </p:nvGrpSpPr>
        <p:grpSpPr>
          <a:xfrm rot="1260113">
            <a:off x="415218" y="1615246"/>
            <a:ext cx="693623" cy="561939"/>
            <a:chOff x="5375600" y="1117425"/>
            <a:chExt cx="608900" cy="493300"/>
          </a:xfrm>
        </p:grpSpPr>
        <p:sp>
          <p:nvSpPr>
            <p:cNvPr id="248" name="Google Shape;248;p13"/>
            <p:cNvSpPr/>
            <p:nvPr/>
          </p:nvSpPr>
          <p:spPr>
            <a:xfrm>
              <a:off x="5466600" y="1312025"/>
              <a:ext cx="517900" cy="298700"/>
            </a:xfrm>
            <a:custGeom>
              <a:avLst/>
              <a:gdLst/>
              <a:ahLst/>
              <a:cxnLst/>
              <a:rect l="l" t="t" r="r" b="b"/>
              <a:pathLst>
                <a:path w="20716" h="11948" fill="none" extrusionOk="0">
                  <a:moveTo>
                    <a:pt x="6864" y="3034"/>
                  </a:moveTo>
                  <a:cubicBezTo>
                    <a:pt x="5357" y="2574"/>
                    <a:pt x="3851" y="1360"/>
                    <a:pt x="2114" y="2155"/>
                  </a:cubicBezTo>
                  <a:cubicBezTo>
                    <a:pt x="566" y="2867"/>
                    <a:pt x="1" y="4771"/>
                    <a:pt x="22" y="6319"/>
                  </a:cubicBezTo>
                  <a:cubicBezTo>
                    <a:pt x="85" y="10608"/>
                    <a:pt x="3872" y="10357"/>
                    <a:pt x="7010" y="10483"/>
                  </a:cubicBezTo>
                  <a:cubicBezTo>
                    <a:pt x="8600" y="10567"/>
                    <a:pt x="9709" y="11822"/>
                    <a:pt x="11572" y="11864"/>
                  </a:cubicBezTo>
                  <a:cubicBezTo>
                    <a:pt x="13518" y="11948"/>
                    <a:pt x="15694" y="11006"/>
                    <a:pt x="17116" y="9625"/>
                  </a:cubicBezTo>
                  <a:cubicBezTo>
                    <a:pt x="20715" y="6089"/>
                    <a:pt x="16028" y="733"/>
                    <a:pt x="12116" y="230"/>
                  </a:cubicBezTo>
                  <a:cubicBezTo>
                    <a:pt x="10212" y="0"/>
                    <a:pt x="6717" y="900"/>
                    <a:pt x="6655" y="3306"/>
                  </a:cubicBezTo>
                  <a:cubicBezTo>
                    <a:pt x="6717" y="3076"/>
                    <a:pt x="6885" y="2888"/>
                    <a:pt x="7010" y="2657"/>
                  </a:cubicBezTo>
                </a:path>
              </a:pathLst>
            </a:cu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9" name="Google Shape;249;p13"/>
            <p:cNvSpPr/>
            <p:nvPr/>
          </p:nvSpPr>
          <p:spPr>
            <a:xfrm>
              <a:off x="5624050" y="1148825"/>
              <a:ext cx="12600" cy="242725"/>
            </a:xfrm>
            <a:custGeom>
              <a:avLst/>
              <a:gdLst/>
              <a:ahLst/>
              <a:cxnLst/>
              <a:rect l="l" t="t" r="r" b="b"/>
              <a:pathLst>
                <a:path w="504" h="9709" fill="none" extrusionOk="0">
                  <a:moveTo>
                    <a:pt x="210" y="9709"/>
                  </a:moveTo>
                  <a:cubicBezTo>
                    <a:pt x="210" y="6486"/>
                    <a:pt x="1" y="3201"/>
                    <a:pt x="252" y="0"/>
                  </a:cubicBezTo>
                  <a:cubicBezTo>
                    <a:pt x="503" y="63"/>
                    <a:pt x="273" y="188"/>
                    <a:pt x="377" y="356"/>
                  </a:cubicBezTo>
                </a:path>
              </a:pathLst>
            </a:cu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0" name="Google Shape;250;p13"/>
            <p:cNvSpPr/>
            <p:nvPr/>
          </p:nvSpPr>
          <p:spPr>
            <a:xfrm>
              <a:off x="5467125" y="1408800"/>
              <a:ext cx="74825" cy="52325"/>
            </a:xfrm>
            <a:custGeom>
              <a:avLst/>
              <a:gdLst/>
              <a:ahLst/>
              <a:cxnLst/>
              <a:rect l="l" t="t" r="r" b="b"/>
              <a:pathLst>
                <a:path w="2993" h="2093" fill="none" extrusionOk="0">
                  <a:moveTo>
                    <a:pt x="1" y="2092"/>
                  </a:moveTo>
                  <a:cubicBezTo>
                    <a:pt x="921" y="1360"/>
                    <a:pt x="1926" y="460"/>
                    <a:pt x="2993" y="0"/>
                  </a:cubicBezTo>
                </a:path>
              </a:pathLst>
            </a:cu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1" name="Google Shape;251;p13"/>
            <p:cNvSpPr/>
            <p:nvPr/>
          </p:nvSpPr>
          <p:spPr>
            <a:xfrm>
              <a:off x="5476550" y="1448550"/>
              <a:ext cx="74300" cy="56000"/>
            </a:xfrm>
            <a:custGeom>
              <a:avLst/>
              <a:gdLst/>
              <a:ahLst/>
              <a:cxnLst/>
              <a:rect l="l" t="t" r="r" b="b"/>
              <a:pathLst>
                <a:path w="2972" h="2240" fill="none" extrusionOk="0">
                  <a:moveTo>
                    <a:pt x="0" y="2239"/>
                  </a:moveTo>
                  <a:cubicBezTo>
                    <a:pt x="816" y="1339"/>
                    <a:pt x="1800" y="419"/>
                    <a:pt x="2972" y="0"/>
                  </a:cubicBezTo>
                </a:path>
              </a:pathLst>
            </a:cu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2" name="Google Shape;252;p13"/>
            <p:cNvSpPr/>
            <p:nvPr/>
          </p:nvSpPr>
          <p:spPr>
            <a:xfrm>
              <a:off x="5489625" y="1468950"/>
              <a:ext cx="87375" cy="65925"/>
            </a:xfrm>
            <a:custGeom>
              <a:avLst/>
              <a:gdLst/>
              <a:ahLst/>
              <a:cxnLst/>
              <a:rect l="l" t="t" r="r" b="b"/>
              <a:pathLst>
                <a:path w="3495" h="2637" fill="none" extrusionOk="0">
                  <a:moveTo>
                    <a:pt x="0" y="2637"/>
                  </a:moveTo>
                  <a:cubicBezTo>
                    <a:pt x="733" y="1674"/>
                    <a:pt x="2218" y="0"/>
                    <a:pt x="3495" y="21"/>
                  </a:cubicBezTo>
                </a:path>
              </a:pathLst>
            </a:cu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3" name="Google Shape;253;p13"/>
            <p:cNvSpPr/>
            <p:nvPr/>
          </p:nvSpPr>
          <p:spPr>
            <a:xfrm>
              <a:off x="5532525" y="1500325"/>
              <a:ext cx="87900" cy="56000"/>
            </a:xfrm>
            <a:custGeom>
              <a:avLst/>
              <a:gdLst/>
              <a:ahLst/>
              <a:cxnLst/>
              <a:rect l="l" t="t" r="r" b="b"/>
              <a:pathLst>
                <a:path w="3516" h="2240" fill="none" extrusionOk="0">
                  <a:moveTo>
                    <a:pt x="0" y="2240"/>
                  </a:moveTo>
                  <a:cubicBezTo>
                    <a:pt x="1151" y="1423"/>
                    <a:pt x="2281" y="628"/>
                    <a:pt x="3515" y="1"/>
                  </a:cubicBezTo>
                </a:path>
              </a:pathLst>
            </a:cu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4" name="Google Shape;254;p13"/>
            <p:cNvSpPr/>
            <p:nvPr/>
          </p:nvSpPr>
          <p:spPr>
            <a:xfrm>
              <a:off x="5584825" y="1526475"/>
              <a:ext cx="75350" cy="44500"/>
            </a:xfrm>
            <a:custGeom>
              <a:avLst/>
              <a:gdLst/>
              <a:ahLst/>
              <a:cxnLst/>
              <a:rect l="l" t="t" r="r" b="b"/>
              <a:pathLst>
                <a:path w="3014" h="1780" fill="none" extrusionOk="0">
                  <a:moveTo>
                    <a:pt x="1" y="1779"/>
                  </a:moveTo>
                  <a:cubicBezTo>
                    <a:pt x="775" y="1361"/>
                    <a:pt x="2198" y="377"/>
                    <a:pt x="3014" y="1"/>
                  </a:cubicBezTo>
                </a:path>
              </a:pathLst>
            </a:cu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5" name="Google Shape;255;p13"/>
            <p:cNvSpPr/>
            <p:nvPr/>
          </p:nvSpPr>
          <p:spPr>
            <a:xfrm>
              <a:off x="5640025" y="1534850"/>
              <a:ext cx="48675" cy="34550"/>
            </a:xfrm>
            <a:custGeom>
              <a:avLst/>
              <a:gdLst/>
              <a:ahLst/>
              <a:cxnLst/>
              <a:rect l="l" t="t" r="r" b="b"/>
              <a:pathLst>
                <a:path w="1947" h="1382" fill="none" extrusionOk="0">
                  <a:moveTo>
                    <a:pt x="0" y="1382"/>
                  </a:moveTo>
                  <a:cubicBezTo>
                    <a:pt x="628" y="838"/>
                    <a:pt x="1214" y="252"/>
                    <a:pt x="1946" y="1"/>
                  </a:cubicBezTo>
                </a:path>
              </a:pathLst>
            </a:custGeom>
            <a:noFill/>
            <a:ln w="19050" cap="flat" cmpd="sng">
              <a:solidFill>
                <a:schemeClr val="dk2"/>
              </a:solidFill>
              <a:prstDash val="solid"/>
              <a:miter lim="20923"/>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6" name="Google Shape;256;p13"/>
            <p:cNvSpPr/>
            <p:nvPr/>
          </p:nvSpPr>
          <p:spPr>
            <a:xfrm>
              <a:off x="5683950" y="1547925"/>
              <a:ext cx="78500" cy="52350"/>
            </a:xfrm>
            <a:custGeom>
              <a:avLst/>
              <a:gdLst/>
              <a:ahLst/>
              <a:cxnLst/>
              <a:rect l="l" t="t" r="r" b="b"/>
              <a:pathLst>
                <a:path w="3140" h="2094" fill="none" extrusionOk="0">
                  <a:moveTo>
                    <a:pt x="1" y="2093"/>
                  </a:moveTo>
                  <a:cubicBezTo>
                    <a:pt x="1068" y="1549"/>
                    <a:pt x="1989" y="231"/>
                    <a:pt x="3139" y="1"/>
                  </a:cubicBezTo>
                </a:path>
              </a:pathLst>
            </a:custGeom>
            <a:noFill/>
            <a:ln w="19050" cap="flat" cmpd="sng">
              <a:solidFill>
                <a:schemeClr val="dk2"/>
              </a:solidFill>
              <a:prstDash val="solid"/>
              <a:miter lim="20923"/>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7" name="Google Shape;257;p13"/>
            <p:cNvSpPr/>
            <p:nvPr/>
          </p:nvSpPr>
          <p:spPr>
            <a:xfrm>
              <a:off x="5749875" y="1543225"/>
              <a:ext cx="91550" cy="64875"/>
            </a:xfrm>
            <a:custGeom>
              <a:avLst/>
              <a:gdLst/>
              <a:ahLst/>
              <a:cxnLst/>
              <a:rect l="l" t="t" r="r" b="b"/>
              <a:pathLst>
                <a:path w="3662" h="2595" fill="none" extrusionOk="0">
                  <a:moveTo>
                    <a:pt x="0" y="2595"/>
                  </a:moveTo>
                  <a:cubicBezTo>
                    <a:pt x="670" y="1277"/>
                    <a:pt x="2176" y="293"/>
                    <a:pt x="3662" y="0"/>
                  </a:cubicBezTo>
                </a:path>
              </a:pathLst>
            </a:custGeom>
            <a:noFill/>
            <a:ln w="19050" cap="flat" cmpd="sng">
              <a:solidFill>
                <a:schemeClr val="dk2"/>
              </a:solidFill>
              <a:prstDash val="solid"/>
              <a:miter lim="20923"/>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8" name="Google Shape;258;p13"/>
            <p:cNvSpPr/>
            <p:nvPr/>
          </p:nvSpPr>
          <p:spPr>
            <a:xfrm>
              <a:off x="5375600" y="1117425"/>
              <a:ext cx="476025" cy="205600"/>
            </a:xfrm>
            <a:custGeom>
              <a:avLst/>
              <a:gdLst/>
              <a:ahLst/>
              <a:cxnLst/>
              <a:rect l="l" t="t" r="r" b="b"/>
              <a:pathLst>
                <a:path w="19041" h="8224" fill="none" extrusionOk="0">
                  <a:moveTo>
                    <a:pt x="10839" y="5232"/>
                  </a:moveTo>
                  <a:cubicBezTo>
                    <a:pt x="10650" y="5336"/>
                    <a:pt x="10462" y="5420"/>
                    <a:pt x="10295" y="5524"/>
                  </a:cubicBezTo>
                  <a:cubicBezTo>
                    <a:pt x="11676" y="3307"/>
                    <a:pt x="15588" y="1"/>
                    <a:pt x="18497" y="1110"/>
                  </a:cubicBezTo>
                  <a:cubicBezTo>
                    <a:pt x="19041" y="4939"/>
                    <a:pt x="14709" y="5420"/>
                    <a:pt x="11885" y="5420"/>
                  </a:cubicBezTo>
                  <a:cubicBezTo>
                    <a:pt x="8349" y="5420"/>
                    <a:pt x="2072" y="2051"/>
                    <a:pt x="0" y="6466"/>
                  </a:cubicBezTo>
                  <a:cubicBezTo>
                    <a:pt x="1820" y="6947"/>
                    <a:pt x="9771" y="8224"/>
                    <a:pt x="10315" y="5943"/>
                  </a:cubicBezTo>
                </a:path>
              </a:pathLst>
            </a:cu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9" name="Google Shape;259;p13"/>
            <p:cNvSpPr/>
            <p:nvPr/>
          </p:nvSpPr>
          <p:spPr>
            <a:xfrm>
              <a:off x="5643925" y="1181775"/>
              <a:ext cx="115125" cy="63300"/>
            </a:xfrm>
            <a:custGeom>
              <a:avLst/>
              <a:gdLst/>
              <a:ahLst/>
              <a:cxnLst/>
              <a:rect l="l" t="t" r="r" b="b"/>
              <a:pathLst>
                <a:path w="4605" h="2532" fill="none" extrusionOk="0">
                  <a:moveTo>
                    <a:pt x="1" y="2532"/>
                  </a:moveTo>
                  <a:cubicBezTo>
                    <a:pt x="1277" y="1507"/>
                    <a:pt x="2951" y="523"/>
                    <a:pt x="4604" y="0"/>
                  </a:cubicBezTo>
                </a:path>
              </a:pathLst>
            </a:custGeom>
            <a:noFill/>
            <a:ln w="19050" cap="flat" cmpd="sng">
              <a:solidFill>
                <a:schemeClr val="dk2"/>
              </a:solidFill>
              <a:prstDash val="solid"/>
              <a:miter lim="20923"/>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60" name="Google Shape;260;p13"/>
            <p:cNvSpPr/>
            <p:nvPr/>
          </p:nvSpPr>
          <p:spPr>
            <a:xfrm>
              <a:off x="5505850" y="1258650"/>
              <a:ext cx="120325" cy="14675"/>
            </a:xfrm>
            <a:custGeom>
              <a:avLst/>
              <a:gdLst/>
              <a:ahLst/>
              <a:cxnLst/>
              <a:rect l="l" t="t" r="r" b="b"/>
              <a:pathLst>
                <a:path w="4813" h="587" fill="none" extrusionOk="0">
                  <a:moveTo>
                    <a:pt x="4813" y="587"/>
                  </a:moveTo>
                  <a:lnTo>
                    <a:pt x="4813" y="399"/>
                  </a:lnTo>
                  <a:cubicBezTo>
                    <a:pt x="4352" y="168"/>
                    <a:pt x="3787" y="168"/>
                    <a:pt x="3264" y="106"/>
                  </a:cubicBezTo>
                  <a:cubicBezTo>
                    <a:pt x="2532" y="64"/>
                    <a:pt x="1800" y="1"/>
                    <a:pt x="1109" y="106"/>
                  </a:cubicBezTo>
                  <a:cubicBezTo>
                    <a:pt x="732" y="168"/>
                    <a:pt x="314" y="378"/>
                    <a:pt x="0" y="315"/>
                  </a:cubicBezTo>
                </a:path>
              </a:pathLst>
            </a:custGeom>
            <a:noFill/>
            <a:ln w="19050" cap="flat" cmpd="sng">
              <a:solidFill>
                <a:schemeClr val="dk2"/>
              </a:solidFill>
              <a:prstDash val="solid"/>
              <a:miter lim="20923"/>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261" name="Google Shape;261;p13"/>
          <p:cNvSpPr/>
          <p:nvPr/>
        </p:nvSpPr>
        <p:spPr>
          <a:xfrm>
            <a:off x="-50133" y="3920433"/>
            <a:ext cx="1136567" cy="2998400"/>
          </a:xfrm>
          <a:custGeom>
            <a:avLst/>
            <a:gdLst/>
            <a:ahLst/>
            <a:cxnLst/>
            <a:rect l="l" t="t" r="r" b="b"/>
            <a:pathLst>
              <a:path w="34097" h="89952" extrusionOk="0">
                <a:moveTo>
                  <a:pt x="6827" y="1"/>
                </a:moveTo>
                <a:cubicBezTo>
                  <a:pt x="4501" y="1"/>
                  <a:pt x="2262" y="226"/>
                  <a:pt x="338" y="633"/>
                </a:cubicBezTo>
                <a:lnTo>
                  <a:pt x="0" y="89951"/>
                </a:lnTo>
                <a:lnTo>
                  <a:pt x="8097" y="89812"/>
                </a:lnTo>
                <a:cubicBezTo>
                  <a:pt x="17327" y="89235"/>
                  <a:pt x="25980" y="83347"/>
                  <a:pt x="30058" y="75032"/>
                </a:cubicBezTo>
                <a:cubicBezTo>
                  <a:pt x="34096" y="66757"/>
                  <a:pt x="32763" y="55935"/>
                  <a:pt x="26338" y="49291"/>
                </a:cubicBezTo>
                <a:cubicBezTo>
                  <a:pt x="23653" y="46546"/>
                  <a:pt x="20271" y="44556"/>
                  <a:pt x="17645" y="41771"/>
                </a:cubicBezTo>
                <a:cubicBezTo>
                  <a:pt x="14999" y="38947"/>
                  <a:pt x="13129" y="34869"/>
                  <a:pt x="14502" y="31288"/>
                </a:cubicBezTo>
                <a:cubicBezTo>
                  <a:pt x="16093" y="27150"/>
                  <a:pt x="21086" y="25519"/>
                  <a:pt x="24011" y="22177"/>
                </a:cubicBezTo>
                <a:cubicBezTo>
                  <a:pt x="28327" y="17144"/>
                  <a:pt x="26796" y="8769"/>
                  <a:pt x="21842" y="4373"/>
                </a:cubicBezTo>
                <a:cubicBezTo>
                  <a:pt x="18358" y="1267"/>
                  <a:pt x="12345" y="1"/>
                  <a:pt x="6827" y="1"/>
                </a:cubicBezTo>
                <a:close/>
              </a:path>
            </a:pathLst>
          </a:cu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62" name="Google Shape;262;p13"/>
          <p:cNvSpPr/>
          <p:nvPr/>
        </p:nvSpPr>
        <p:spPr>
          <a:xfrm>
            <a:off x="638729" y="3553056"/>
            <a:ext cx="344784" cy="303995"/>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63" name="Google Shape;263;p13"/>
          <p:cNvSpPr/>
          <p:nvPr/>
        </p:nvSpPr>
        <p:spPr>
          <a:xfrm>
            <a:off x="439166" y="3197229"/>
            <a:ext cx="230463" cy="203209"/>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264" name="Google Shape;264;p13"/>
          <p:cNvGrpSpPr/>
          <p:nvPr/>
        </p:nvGrpSpPr>
        <p:grpSpPr>
          <a:xfrm rot="606794">
            <a:off x="10715929" y="1431069"/>
            <a:ext cx="929561" cy="967544"/>
            <a:chOff x="5196600" y="2162225"/>
            <a:chExt cx="482725" cy="502450"/>
          </a:xfrm>
        </p:grpSpPr>
        <p:sp>
          <p:nvSpPr>
            <p:cNvPr id="265" name="Google Shape;265;p13"/>
            <p:cNvSpPr/>
            <p:nvPr/>
          </p:nvSpPr>
          <p:spPr>
            <a:xfrm>
              <a:off x="5224600" y="2326350"/>
              <a:ext cx="454275" cy="338325"/>
            </a:xfrm>
            <a:custGeom>
              <a:avLst/>
              <a:gdLst/>
              <a:ahLst/>
              <a:cxnLst/>
              <a:rect l="l" t="t" r="r" b="b"/>
              <a:pathLst>
                <a:path w="18171" h="13533" extrusionOk="0">
                  <a:moveTo>
                    <a:pt x="305" y="0"/>
                  </a:moveTo>
                  <a:cubicBezTo>
                    <a:pt x="146" y="0"/>
                    <a:pt x="0" y="208"/>
                    <a:pt x="129" y="354"/>
                  </a:cubicBezTo>
                  <a:cubicBezTo>
                    <a:pt x="3310" y="4434"/>
                    <a:pt x="7578" y="7447"/>
                    <a:pt x="11219" y="11067"/>
                  </a:cubicBezTo>
                  <a:cubicBezTo>
                    <a:pt x="12126" y="11993"/>
                    <a:pt x="13125" y="13533"/>
                    <a:pt x="14550" y="13533"/>
                  </a:cubicBezTo>
                  <a:cubicBezTo>
                    <a:pt x="14638" y="13533"/>
                    <a:pt x="14727" y="13527"/>
                    <a:pt x="14818" y="13515"/>
                  </a:cubicBezTo>
                  <a:cubicBezTo>
                    <a:pt x="16366" y="13305"/>
                    <a:pt x="17768" y="12155"/>
                    <a:pt x="18145" y="10648"/>
                  </a:cubicBezTo>
                  <a:cubicBezTo>
                    <a:pt x="18170" y="10508"/>
                    <a:pt x="18049" y="10415"/>
                    <a:pt x="17935" y="10415"/>
                  </a:cubicBezTo>
                  <a:cubicBezTo>
                    <a:pt x="17862" y="10415"/>
                    <a:pt x="17793" y="10453"/>
                    <a:pt x="17768" y="10544"/>
                  </a:cubicBezTo>
                  <a:cubicBezTo>
                    <a:pt x="17454" y="11799"/>
                    <a:pt x="16471" y="12636"/>
                    <a:pt x="15257" y="13013"/>
                  </a:cubicBezTo>
                  <a:cubicBezTo>
                    <a:pt x="15022" y="13083"/>
                    <a:pt x="14807" y="13115"/>
                    <a:pt x="14605" y="13115"/>
                  </a:cubicBezTo>
                  <a:cubicBezTo>
                    <a:pt x="13908" y="13115"/>
                    <a:pt x="13382" y="12727"/>
                    <a:pt x="12830" y="12176"/>
                  </a:cubicBezTo>
                  <a:cubicBezTo>
                    <a:pt x="11491" y="10837"/>
                    <a:pt x="10215" y="9539"/>
                    <a:pt x="8834" y="8284"/>
                  </a:cubicBezTo>
                  <a:cubicBezTo>
                    <a:pt x="5904" y="5668"/>
                    <a:pt x="2870" y="3178"/>
                    <a:pt x="443" y="61"/>
                  </a:cubicBezTo>
                  <a:cubicBezTo>
                    <a:pt x="401" y="18"/>
                    <a:pt x="352" y="0"/>
                    <a:pt x="305"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66" name="Google Shape;266;p13"/>
            <p:cNvSpPr/>
            <p:nvPr/>
          </p:nvSpPr>
          <p:spPr>
            <a:xfrm>
              <a:off x="5196600" y="2162225"/>
              <a:ext cx="154450" cy="174500"/>
            </a:xfrm>
            <a:custGeom>
              <a:avLst/>
              <a:gdLst/>
              <a:ahLst/>
              <a:cxnLst/>
              <a:rect l="l" t="t" r="r" b="b"/>
              <a:pathLst>
                <a:path w="6178" h="6980" extrusionOk="0">
                  <a:moveTo>
                    <a:pt x="209" y="0"/>
                  </a:moveTo>
                  <a:cubicBezTo>
                    <a:pt x="101" y="0"/>
                    <a:pt x="0" y="137"/>
                    <a:pt x="36" y="244"/>
                  </a:cubicBezTo>
                  <a:cubicBezTo>
                    <a:pt x="768" y="2378"/>
                    <a:pt x="1187" y="4533"/>
                    <a:pt x="1187" y="6772"/>
                  </a:cubicBezTo>
                  <a:cubicBezTo>
                    <a:pt x="1187" y="6911"/>
                    <a:pt x="1290" y="6979"/>
                    <a:pt x="1391" y="6979"/>
                  </a:cubicBezTo>
                  <a:cubicBezTo>
                    <a:pt x="1489" y="6979"/>
                    <a:pt x="1584" y="6916"/>
                    <a:pt x="1584" y="6793"/>
                  </a:cubicBezTo>
                  <a:cubicBezTo>
                    <a:pt x="1584" y="4609"/>
                    <a:pt x="1214" y="2573"/>
                    <a:pt x="543" y="528"/>
                  </a:cubicBezTo>
                  <a:lnTo>
                    <a:pt x="543" y="528"/>
                  </a:lnTo>
                  <a:cubicBezTo>
                    <a:pt x="2352" y="1286"/>
                    <a:pt x="4089" y="2154"/>
                    <a:pt x="5790" y="3132"/>
                  </a:cubicBezTo>
                  <a:cubicBezTo>
                    <a:pt x="5820" y="3150"/>
                    <a:pt x="5851" y="3158"/>
                    <a:pt x="5880" y="3158"/>
                  </a:cubicBezTo>
                  <a:cubicBezTo>
                    <a:pt x="6051" y="3158"/>
                    <a:pt x="6178" y="2883"/>
                    <a:pt x="5999" y="2776"/>
                  </a:cubicBezTo>
                  <a:cubicBezTo>
                    <a:pt x="4137" y="1730"/>
                    <a:pt x="2254" y="809"/>
                    <a:pt x="266" y="14"/>
                  </a:cubicBezTo>
                  <a:cubicBezTo>
                    <a:pt x="247" y="5"/>
                    <a:pt x="228" y="0"/>
                    <a:pt x="209"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67" name="Google Shape;267;p13"/>
            <p:cNvSpPr/>
            <p:nvPr/>
          </p:nvSpPr>
          <p:spPr>
            <a:xfrm>
              <a:off x="5345375" y="2235850"/>
              <a:ext cx="333950" cy="355150"/>
            </a:xfrm>
            <a:custGeom>
              <a:avLst/>
              <a:gdLst/>
              <a:ahLst/>
              <a:cxnLst/>
              <a:rect l="l" t="t" r="r" b="b"/>
              <a:pathLst>
                <a:path w="13358" h="14206" extrusionOk="0">
                  <a:moveTo>
                    <a:pt x="330" y="0"/>
                  </a:moveTo>
                  <a:cubicBezTo>
                    <a:pt x="163" y="0"/>
                    <a:pt x="0" y="215"/>
                    <a:pt x="153" y="333"/>
                  </a:cubicBezTo>
                  <a:cubicBezTo>
                    <a:pt x="4840" y="4518"/>
                    <a:pt x="8731" y="9519"/>
                    <a:pt x="12937" y="14143"/>
                  </a:cubicBezTo>
                  <a:cubicBezTo>
                    <a:pt x="12977" y="14187"/>
                    <a:pt x="13023" y="14206"/>
                    <a:pt x="13069" y="14206"/>
                  </a:cubicBezTo>
                  <a:cubicBezTo>
                    <a:pt x="13217" y="14206"/>
                    <a:pt x="13358" y="14010"/>
                    <a:pt x="13230" y="13850"/>
                  </a:cubicBezTo>
                  <a:cubicBezTo>
                    <a:pt x="9045" y="9205"/>
                    <a:pt x="5133" y="4204"/>
                    <a:pt x="446" y="40"/>
                  </a:cubicBezTo>
                  <a:cubicBezTo>
                    <a:pt x="410" y="12"/>
                    <a:pt x="370" y="0"/>
                    <a:pt x="330"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68" name="Google Shape;268;p13"/>
            <p:cNvSpPr/>
            <p:nvPr/>
          </p:nvSpPr>
          <p:spPr>
            <a:xfrm>
              <a:off x="5527550" y="2551050"/>
              <a:ext cx="122875" cy="79175"/>
            </a:xfrm>
            <a:custGeom>
              <a:avLst/>
              <a:gdLst/>
              <a:ahLst/>
              <a:cxnLst/>
              <a:rect l="l" t="t" r="r" b="b"/>
              <a:pathLst>
                <a:path w="4915" h="3167" extrusionOk="0">
                  <a:moveTo>
                    <a:pt x="4636" y="0"/>
                  </a:moveTo>
                  <a:cubicBezTo>
                    <a:pt x="4576" y="0"/>
                    <a:pt x="4517" y="27"/>
                    <a:pt x="4478" y="91"/>
                  </a:cubicBezTo>
                  <a:cubicBezTo>
                    <a:pt x="3641" y="1702"/>
                    <a:pt x="2072" y="2685"/>
                    <a:pt x="273" y="2769"/>
                  </a:cubicBezTo>
                  <a:cubicBezTo>
                    <a:pt x="1" y="2769"/>
                    <a:pt x="1" y="3167"/>
                    <a:pt x="273" y="3167"/>
                  </a:cubicBezTo>
                  <a:cubicBezTo>
                    <a:pt x="2198" y="3083"/>
                    <a:pt x="3913" y="2016"/>
                    <a:pt x="4813" y="300"/>
                  </a:cubicBezTo>
                  <a:cubicBezTo>
                    <a:pt x="4915" y="140"/>
                    <a:pt x="4774" y="0"/>
                    <a:pt x="4636"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69" name="Google Shape;269;p13"/>
            <p:cNvSpPr/>
            <p:nvPr/>
          </p:nvSpPr>
          <p:spPr>
            <a:xfrm>
              <a:off x="5504600" y="2522075"/>
              <a:ext cx="116975" cy="83325"/>
            </a:xfrm>
            <a:custGeom>
              <a:avLst/>
              <a:gdLst/>
              <a:ahLst/>
              <a:cxnLst/>
              <a:rect l="l" t="t" r="r" b="b"/>
              <a:pathLst>
                <a:path w="4679" h="3333" extrusionOk="0">
                  <a:moveTo>
                    <a:pt x="4387" y="1"/>
                  </a:moveTo>
                  <a:cubicBezTo>
                    <a:pt x="4327" y="1"/>
                    <a:pt x="4267" y="24"/>
                    <a:pt x="4225" y="78"/>
                  </a:cubicBezTo>
                  <a:cubicBezTo>
                    <a:pt x="3199" y="1522"/>
                    <a:pt x="1860" y="2359"/>
                    <a:pt x="228" y="2924"/>
                  </a:cubicBezTo>
                  <a:cubicBezTo>
                    <a:pt x="1" y="3000"/>
                    <a:pt x="65" y="3333"/>
                    <a:pt x="266" y="3333"/>
                  </a:cubicBezTo>
                  <a:cubicBezTo>
                    <a:pt x="287" y="3333"/>
                    <a:pt x="309" y="3329"/>
                    <a:pt x="333" y="3321"/>
                  </a:cubicBezTo>
                  <a:cubicBezTo>
                    <a:pt x="2069" y="2694"/>
                    <a:pt x="3492" y="1836"/>
                    <a:pt x="4559" y="287"/>
                  </a:cubicBezTo>
                  <a:cubicBezTo>
                    <a:pt x="4678" y="139"/>
                    <a:pt x="4533" y="1"/>
                    <a:pt x="4387"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70" name="Google Shape;270;p13"/>
            <p:cNvSpPr/>
            <p:nvPr/>
          </p:nvSpPr>
          <p:spPr>
            <a:xfrm>
              <a:off x="5226150" y="2234500"/>
              <a:ext cx="135600" cy="112925"/>
            </a:xfrm>
            <a:custGeom>
              <a:avLst/>
              <a:gdLst/>
              <a:ahLst/>
              <a:cxnLst/>
              <a:rect l="l" t="t" r="r" b="b"/>
              <a:pathLst>
                <a:path w="5424" h="4517" extrusionOk="0">
                  <a:moveTo>
                    <a:pt x="4873" y="0"/>
                  </a:moveTo>
                  <a:cubicBezTo>
                    <a:pt x="4712" y="0"/>
                    <a:pt x="4565" y="198"/>
                    <a:pt x="4713" y="345"/>
                  </a:cubicBezTo>
                  <a:cubicBezTo>
                    <a:pt x="5110" y="680"/>
                    <a:pt x="4901" y="1308"/>
                    <a:pt x="4566" y="1496"/>
                  </a:cubicBezTo>
                  <a:cubicBezTo>
                    <a:pt x="4461" y="1551"/>
                    <a:pt x="4351" y="1574"/>
                    <a:pt x="4239" y="1574"/>
                  </a:cubicBezTo>
                  <a:cubicBezTo>
                    <a:pt x="3926" y="1574"/>
                    <a:pt x="3605" y="1394"/>
                    <a:pt x="3373" y="1224"/>
                  </a:cubicBezTo>
                  <a:cubicBezTo>
                    <a:pt x="3340" y="1199"/>
                    <a:pt x="3306" y="1188"/>
                    <a:pt x="3275" y="1188"/>
                  </a:cubicBezTo>
                  <a:cubicBezTo>
                    <a:pt x="3149" y="1188"/>
                    <a:pt x="3055" y="1362"/>
                    <a:pt x="3122" y="1496"/>
                  </a:cubicBezTo>
                  <a:cubicBezTo>
                    <a:pt x="3368" y="2068"/>
                    <a:pt x="3573" y="2920"/>
                    <a:pt x="2665" y="2920"/>
                  </a:cubicBezTo>
                  <a:cubicBezTo>
                    <a:pt x="2644" y="2920"/>
                    <a:pt x="2622" y="2920"/>
                    <a:pt x="2599" y="2919"/>
                  </a:cubicBezTo>
                  <a:cubicBezTo>
                    <a:pt x="2202" y="2898"/>
                    <a:pt x="1783" y="2689"/>
                    <a:pt x="1469" y="2479"/>
                  </a:cubicBezTo>
                  <a:cubicBezTo>
                    <a:pt x="1437" y="2458"/>
                    <a:pt x="1405" y="2449"/>
                    <a:pt x="1374" y="2449"/>
                  </a:cubicBezTo>
                  <a:cubicBezTo>
                    <a:pt x="1221" y="2449"/>
                    <a:pt x="1100" y="2672"/>
                    <a:pt x="1239" y="2793"/>
                  </a:cubicBezTo>
                  <a:cubicBezTo>
                    <a:pt x="1428" y="2982"/>
                    <a:pt x="1553" y="3212"/>
                    <a:pt x="1595" y="3484"/>
                  </a:cubicBezTo>
                  <a:cubicBezTo>
                    <a:pt x="1315" y="3857"/>
                    <a:pt x="1043" y="4052"/>
                    <a:pt x="791" y="4052"/>
                  </a:cubicBezTo>
                  <a:cubicBezTo>
                    <a:pt x="647" y="4052"/>
                    <a:pt x="510" y="3989"/>
                    <a:pt x="381" y="3860"/>
                  </a:cubicBezTo>
                  <a:cubicBezTo>
                    <a:pt x="335" y="3823"/>
                    <a:pt x="290" y="3807"/>
                    <a:pt x="250" y="3807"/>
                  </a:cubicBezTo>
                  <a:cubicBezTo>
                    <a:pt x="91" y="3807"/>
                    <a:pt x="1" y="4057"/>
                    <a:pt x="151" y="4174"/>
                  </a:cubicBezTo>
                  <a:cubicBezTo>
                    <a:pt x="412" y="4367"/>
                    <a:pt x="784" y="4517"/>
                    <a:pt x="1133" y="4517"/>
                  </a:cubicBezTo>
                  <a:cubicBezTo>
                    <a:pt x="1427" y="4517"/>
                    <a:pt x="1706" y="4410"/>
                    <a:pt x="1888" y="4132"/>
                  </a:cubicBezTo>
                  <a:cubicBezTo>
                    <a:pt x="2076" y="3850"/>
                    <a:pt x="2046" y="3496"/>
                    <a:pt x="1917" y="3168"/>
                  </a:cubicBezTo>
                  <a:lnTo>
                    <a:pt x="1917" y="3168"/>
                  </a:lnTo>
                  <a:cubicBezTo>
                    <a:pt x="2198" y="3286"/>
                    <a:pt x="2504" y="3371"/>
                    <a:pt x="2785" y="3371"/>
                  </a:cubicBezTo>
                  <a:cubicBezTo>
                    <a:pt x="3005" y="3371"/>
                    <a:pt x="3209" y="3319"/>
                    <a:pt x="3373" y="3191"/>
                  </a:cubicBezTo>
                  <a:cubicBezTo>
                    <a:pt x="3811" y="2874"/>
                    <a:pt x="3759" y="2307"/>
                    <a:pt x="3617" y="1819"/>
                  </a:cubicBezTo>
                  <a:lnTo>
                    <a:pt x="3617" y="1819"/>
                  </a:lnTo>
                  <a:cubicBezTo>
                    <a:pt x="3855" y="1924"/>
                    <a:pt x="4119" y="1997"/>
                    <a:pt x="4367" y="1997"/>
                  </a:cubicBezTo>
                  <a:cubicBezTo>
                    <a:pt x="4619" y="1997"/>
                    <a:pt x="4855" y="1921"/>
                    <a:pt x="5026" y="1726"/>
                  </a:cubicBezTo>
                  <a:cubicBezTo>
                    <a:pt x="5403" y="1308"/>
                    <a:pt x="5424" y="408"/>
                    <a:pt x="5005" y="52"/>
                  </a:cubicBezTo>
                  <a:cubicBezTo>
                    <a:pt x="4964" y="16"/>
                    <a:pt x="4918" y="0"/>
                    <a:pt x="4873"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71" name="Google Shape;271;p13"/>
            <p:cNvSpPr/>
            <p:nvPr/>
          </p:nvSpPr>
          <p:spPr>
            <a:xfrm>
              <a:off x="5253400" y="2295375"/>
              <a:ext cx="292575" cy="292275"/>
            </a:xfrm>
            <a:custGeom>
              <a:avLst/>
              <a:gdLst/>
              <a:ahLst/>
              <a:cxnLst/>
              <a:rect l="l" t="t" r="r" b="b"/>
              <a:pathLst>
                <a:path w="11703" h="11691" extrusionOk="0">
                  <a:moveTo>
                    <a:pt x="315" y="0"/>
                  </a:moveTo>
                  <a:cubicBezTo>
                    <a:pt x="152" y="0"/>
                    <a:pt x="0" y="189"/>
                    <a:pt x="149" y="337"/>
                  </a:cubicBezTo>
                  <a:cubicBezTo>
                    <a:pt x="1907" y="2367"/>
                    <a:pt x="3748" y="4313"/>
                    <a:pt x="5694" y="6175"/>
                  </a:cubicBezTo>
                  <a:cubicBezTo>
                    <a:pt x="7577" y="7974"/>
                    <a:pt x="9586" y="9627"/>
                    <a:pt x="11281" y="11636"/>
                  </a:cubicBezTo>
                  <a:cubicBezTo>
                    <a:pt x="11319" y="11674"/>
                    <a:pt x="11364" y="11691"/>
                    <a:pt x="11408" y="11691"/>
                  </a:cubicBezTo>
                  <a:cubicBezTo>
                    <a:pt x="11558" y="11691"/>
                    <a:pt x="11703" y="11505"/>
                    <a:pt x="11573" y="11343"/>
                  </a:cubicBezTo>
                  <a:cubicBezTo>
                    <a:pt x="9900" y="9335"/>
                    <a:pt x="7891" y="7682"/>
                    <a:pt x="5987" y="5882"/>
                  </a:cubicBezTo>
                  <a:cubicBezTo>
                    <a:pt x="4041" y="4020"/>
                    <a:pt x="2179" y="2053"/>
                    <a:pt x="442" y="44"/>
                  </a:cubicBezTo>
                  <a:cubicBezTo>
                    <a:pt x="403" y="14"/>
                    <a:pt x="359" y="0"/>
                    <a:pt x="315"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72" name="Google Shape;272;p13"/>
            <p:cNvSpPr/>
            <p:nvPr/>
          </p:nvSpPr>
          <p:spPr>
            <a:xfrm>
              <a:off x="5298425" y="2263775"/>
              <a:ext cx="298825" cy="285025"/>
            </a:xfrm>
            <a:custGeom>
              <a:avLst/>
              <a:gdLst/>
              <a:ahLst/>
              <a:cxnLst/>
              <a:rect l="l" t="t" r="r" b="b"/>
              <a:pathLst>
                <a:path w="11953" h="11401" extrusionOk="0">
                  <a:moveTo>
                    <a:pt x="288" y="1"/>
                  </a:moveTo>
                  <a:cubicBezTo>
                    <a:pt x="147" y="1"/>
                    <a:pt x="1" y="199"/>
                    <a:pt x="148" y="346"/>
                  </a:cubicBezTo>
                  <a:cubicBezTo>
                    <a:pt x="2219" y="2145"/>
                    <a:pt x="4228" y="4008"/>
                    <a:pt x="6215" y="5891"/>
                  </a:cubicBezTo>
                  <a:cubicBezTo>
                    <a:pt x="7178" y="6811"/>
                    <a:pt x="8120" y="7711"/>
                    <a:pt x="9061" y="8653"/>
                  </a:cubicBezTo>
                  <a:cubicBezTo>
                    <a:pt x="9940" y="9490"/>
                    <a:pt x="10902" y="10264"/>
                    <a:pt x="11530" y="11310"/>
                  </a:cubicBezTo>
                  <a:cubicBezTo>
                    <a:pt x="11568" y="11374"/>
                    <a:pt x="11626" y="11401"/>
                    <a:pt x="11684" y="11401"/>
                  </a:cubicBezTo>
                  <a:cubicBezTo>
                    <a:pt x="11817" y="11401"/>
                    <a:pt x="11952" y="11261"/>
                    <a:pt x="11865" y="11101"/>
                  </a:cubicBezTo>
                  <a:cubicBezTo>
                    <a:pt x="11363" y="10222"/>
                    <a:pt x="10630" y="9594"/>
                    <a:pt x="9898" y="8925"/>
                  </a:cubicBezTo>
                  <a:cubicBezTo>
                    <a:pt x="8852" y="7962"/>
                    <a:pt x="7868" y="6937"/>
                    <a:pt x="6843" y="5933"/>
                  </a:cubicBezTo>
                  <a:cubicBezTo>
                    <a:pt x="4751" y="3924"/>
                    <a:pt x="2596" y="1957"/>
                    <a:pt x="399" y="53"/>
                  </a:cubicBezTo>
                  <a:cubicBezTo>
                    <a:pt x="367" y="16"/>
                    <a:pt x="328" y="1"/>
                    <a:pt x="288"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73" name="Google Shape;273;p13"/>
            <p:cNvSpPr/>
            <p:nvPr/>
          </p:nvSpPr>
          <p:spPr>
            <a:xfrm>
              <a:off x="5216350" y="2198125"/>
              <a:ext cx="58175" cy="39500"/>
            </a:xfrm>
            <a:custGeom>
              <a:avLst/>
              <a:gdLst/>
              <a:ahLst/>
              <a:cxnLst/>
              <a:rect l="l" t="t" r="r" b="b"/>
              <a:pathLst>
                <a:path w="2327" h="1580" extrusionOk="0">
                  <a:moveTo>
                    <a:pt x="2083" y="0"/>
                  </a:moveTo>
                  <a:cubicBezTo>
                    <a:pt x="2014" y="0"/>
                    <a:pt x="1953" y="43"/>
                    <a:pt x="1945" y="147"/>
                  </a:cubicBezTo>
                  <a:cubicBezTo>
                    <a:pt x="1839" y="857"/>
                    <a:pt x="1325" y="1206"/>
                    <a:pt x="700" y="1206"/>
                  </a:cubicBezTo>
                  <a:cubicBezTo>
                    <a:pt x="588" y="1206"/>
                    <a:pt x="472" y="1195"/>
                    <a:pt x="355" y="1173"/>
                  </a:cubicBezTo>
                  <a:cubicBezTo>
                    <a:pt x="333" y="1167"/>
                    <a:pt x="312" y="1165"/>
                    <a:pt x="293" y="1165"/>
                  </a:cubicBezTo>
                  <a:cubicBezTo>
                    <a:pt x="68" y="1165"/>
                    <a:pt x="0" y="1470"/>
                    <a:pt x="250" y="1528"/>
                  </a:cubicBezTo>
                  <a:cubicBezTo>
                    <a:pt x="410" y="1562"/>
                    <a:pt x="567" y="1579"/>
                    <a:pt x="721" y="1579"/>
                  </a:cubicBezTo>
                  <a:cubicBezTo>
                    <a:pt x="1512" y="1579"/>
                    <a:pt x="2178" y="1128"/>
                    <a:pt x="2301" y="252"/>
                  </a:cubicBezTo>
                  <a:cubicBezTo>
                    <a:pt x="2327" y="110"/>
                    <a:pt x="2193" y="0"/>
                    <a:pt x="2083"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274" name="Google Shape;274;p13"/>
          <p:cNvSpPr/>
          <p:nvPr/>
        </p:nvSpPr>
        <p:spPr>
          <a:xfrm>
            <a:off x="-254000" y="376661"/>
            <a:ext cx="10982467" cy="1904500"/>
          </a:xfrm>
          <a:custGeom>
            <a:avLst/>
            <a:gdLst/>
            <a:ahLst/>
            <a:cxnLst/>
            <a:rect l="l" t="t" r="r" b="b"/>
            <a:pathLst>
              <a:path w="329474" h="57135" extrusionOk="0">
                <a:moveTo>
                  <a:pt x="0" y="57135"/>
                </a:moveTo>
                <a:cubicBezTo>
                  <a:pt x="1935" y="53083"/>
                  <a:pt x="7378" y="37782"/>
                  <a:pt x="11611" y="32823"/>
                </a:cubicBezTo>
                <a:cubicBezTo>
                  <a:pt x="15844" y="27864"/>
                  <a:pt x="18990" y="27139"/>
                  <a:pt x="25400" y="27381"/>
                </a:cubicBezTo>
                <a:cubicBezTo>
                  <a:pt x="31811" y="27623"/>
                  <a:pt x="31931" y="33912"/>
                  <a:pt x="50074" y="34275"/>
                </a:cubicBezTo>
                <a:cubicBezTo>
                  <a:pt x="68217" y="34638"/>
                  <a:pt x="109643" y="30586"/>
                  <a:pt x="134257" y="29558"/>
                </a:cubicBezTo>
                <a:cubicBezTo>
                  <a:pt x="158871" y="28530"/>
                  <a:pt x="172720" y="27078"/>
                  <a:pt x="197757" y="28106"/>
                </a:cubicBezTo>
                <a:cubicBezTo>
                  <a:pt x="222794" y="29134"/>
                  <a:pt x="264160" y="37964"/>
                  <a:pt x="284480" y="35726"/>
                </a:cubicBezTo>
                <a:cubicBezTo>
                  <a:pt x="304800" y="33489"/>
                  <a:pt x="314295" y="20487"/>
                  <a:pt x="319677" y="14681"/>
                </a:cubicBezTo>
                <a:cubicBezTo>
                  <a:pt x="325059" y="8875"/>
                  <a:pt x="320947" y="2948"/>
                  <a:pt x="316774" y="892"/>
                </a:cubicBezTo>
                <a:cubicBezTo>
                  <a:pt x="312601" y="-1164"/>
                  <a:pt x="301232" y="1013"/>
                  <a:pt x="294640" y="2343"/>
                </a:cubicBezTo>
                <a:cubicBezTo>
                  <a:pt x="288048" y="3674"/>
                  <a:pt x="279400" y="4460"/>
                  <a:pt x="277223" y="8875"/>
                </a:cubicBezTo>
                <a:cubicBezTo>
                  <a:pt x="275046" y="13290"/>
                  <a:pt x="279158" y="23450"/>
                  <a:pt x="281577" y="28832"/>
                </a:cubicBezTo>
                <a:cubicBezTo>
                  <a:pt x="283996" y="34214"/>
                  <a:pt x="283754" y="40746"/>
                  <a:pt x="291737" y="41169"/>
                </a:cubicBezTo>
                <a:cubicBezTo>
                  <a:pt x="299720" y="41592"/>
                  <a:pt x="323185" y="33005"/>
                  <a:pt x="329474" y="31372"/>
                </a:cubicBezTo>
              </a:path>
            </a:pathLst>
          </a:custGeom>
          <a:noFill/>
          <a:ln w="19050" cap="flat" cmpd="sng">
            <a:solidFill>
              <a:schemeClr val="dk2"/>
            </a:solidFill>
            <a:prstDash val="dash"/>
            <a:round/>
            <a:headEnd type="none" w="med" len="med"/>
            <a:tailEnd type="none" w="med" len="med"/>
          </a:ln>
        </p:spPr>
      </p:sp>
      <p:sp>
        <p:nvSpPr>
          <p:cNvPr id="275" name="Google Shape;275;p13"/>
          <p:cNvSpPr/>
          <p:nvPr/>
        </p:nvSpPr>
        <p:spPr>
          <a:xfrm>
            <a:off x="11231999" y="974729"/>
            <a:ext cx="230463" cy="203209"/>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76" name="Google Shape;276;p13"/>
          <p:cNvSpPr/>
          <p:nvPr/>
        </p:nvSpPr>
        <p:spPr>
          <a:xfrm>
            <a:off x="11435200" y="1364135"/>
            <a:ext cx="134507" cy="118616"/>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77" name="Google Shape;277;p13"/>
          <p:cNvSpPr/>
          <p:nvPr/>
        </p:nvSpPr>
        <p:spPr>
          <a:xfrm rot="5400000">
            <a:off x="10671006" y="4055417"/>
            <a:ext cx="2183233" cy="929559"/>
          </a:xfrm>
          <a:custGeom>
            <a:avLst/>
            <a:gdLst/>
            <a:ahLst/>
            <a:cxnLst/>
            <a:rect l="l" t="t" r="r" b="b"/>
            <a:pathLst>
              <a:path w="17010" h="7242" extrusionOk="0">
                <a:moveTo>
                  <a:pt x="1" y="1"/>
                </a:moveTo>
                <a:cubicBezTo>
                  <a:pt x="677" y="4099"/>
                  <a:pt x="4238" y="7242"/>
                  <a:pt x="8515" y="7242"/>
                </a:cubicBezTo>
                <a:cubicBezTo>
                  <a:pt x="12792" y="7242"/>
                  <a:pt x="16333" y="4099"/>
                  <a:pt x="17009"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383195425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Title and three columns">
  <p:cSld name="Title and three columns">
    <p:bg>
      <p:bgPr>
        <a:blipFill>
          <a:blip r:embed="rId2">
            <a:alphaModFix/>
          </a:blip>
          <a:stretch>
            <a:fillRect/>
          </a:stretch>
        </a:blipFill>
        <a:effectLst/>
      </p:bgPr>
    </p:bg>
    <p:spTree>
      <p:nvGrpSpPr>
        <p:cNvPr id="1" name="Shape 308"/>
        <p:cNvGrpSpPr/>
        <p:nvPr/>
      </p:nvGrpSpPr>
      <p:grpSpPr>
        <a:xfrm>
          <a:off x="0" y="0"/>
          <a:ext cx="0" cy="0"/>
          <a:chOff x="0" y="0"/>
          <a:chExt cx="0" cy="0"/>
        </a:xfrm>
      </p:grpSpPr>
      <p:sp>
        <p:nvSpPr>
          <p:cNvPr id="309" name="Google Shape;309;p15"/>
          <p:cNvSpPr txBox="1">
            <a:spLocks noGrp="1"/>
          </p:cNvSpPr>
          <p:nvPr>
            <p:ph type="ctrTitle"/>
          </p:nvPr>
        </p:nvSpPr>
        <p:spPr>
          <a:xfrm flipH="1">
            <a:off x="1578784" y="4166676"/>
            <a:ext cx="2927200" cy="770400"/>
          </a:xfrm>
          <a:prstGeom prst="rect">
            <a:avLst/>
          </a:prstGeom>
        </p:spPr>
        <p:txBody>
          <a:bodyPr spcFirstLastPara="1" wrap="square" lIns="91425" tIns="91425" rIns="91425" bIns="91425" anchor="b" anchorCtr="0">
            <a:normAutofit/>
          </a:bodyPr>
          <a:lstStyle>
            <a:lvl1pPr lvl="0" algn="ctr" rtl="0">
              <a:spcBef>
                <a:spcPts val="0"/>
              </a:spcBef>
              <a:spcAft>
                <a:spcPts val="0"/>
              </a:spcAft>
              <a:buSzPts val="1700"/>
              <a:buNone/>
              <a:defRPr sz="2933"/>
            </a:lvl1pPr>
            <a:lvl2pPr lvl="1"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2pPr>
            <a:lvl3pPr lvl="2"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3pPr>
            <a:lvl4pPr lvl="3"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4pPr>
            <a:lvl5pPr lvl="4"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5pPr>
            <a:lvl6pPr lvl="5"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6pPr>
            <a:lvl7pPr lvl="6"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7pPr>
            <a:lvl8pPr lvl="7"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8pPr>
            <a:lvl9pPr lvl="8"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9pPr>
          </a:lstStyle>
          <a:p>
            <a:endParaRPr/>
          </a:p>
        </p:txBody>
      </p:sp>
      <p:sp>
        <p:nvSpPr>
          <p:cNvPr id="310" name="Google Shape;310;p15"/>
          <p:cNvSpPr txBox="1">
            <a:spLocks noGrp="1"/>
          </p:cNvSpPr>
          <p:nvPr>
            <p:ph type="subTitle" idx="1"/>
          </p:nvPr>
        </p:nvSpPr>
        <p:spPr>
          <a:xfrm flipH="1">
            <a:off x="1755184" y="4820033"/>
            <a:ext cx="2574400" cy="12968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1200"/>
              <a:buNone/>
              <a:defRPr sz="1867" b="0"/>
            </a:lvl1pPr>
            <a:lvl2pPr lvl="1" algn="ctr" rtl="0">
              <a:lnSpc>
                <a:spcPct val="100000"/>
              </a:lnSpc>
              <a:spcBef>
                <a:spcPts val="0"/>
              </a:spcBef>
              <a:spcAft>
                <a:spcPts val="0"/>
              </a:spcAft>
              <a:buSzPts val="1000"/>
              <a:buNone/>
              <a:defRPr sz="1333"/>
            </a:lvl2pPr>
            <a:lvl3pPr lvl="2" algn="ctr" rtl="0">
              <a:lnSpc>
                <a:spcPct val="100000"/>
              </a:lnSpc>
              <a:spcBef>
                <a:spcPts val="0"/>
              </a:spcBef>
              <a:spcAft>
                <a:spcPts val="0"/>
              </a:spcAft>
              <a:buSzPts val="1000"/>
              <a:buNone/>
              <a:defRPr sz="1333"/>
            </a:lvl3pPr>
            <a:lvl4pPr lvl="3" algn="ctr" rtl="0">
              <a:lnSpc>
                <a:spcPct val="100000"/>
              </a:lnSpc>
              <a:spcBef>
                <a:spcPts val="0"/>
              </a:spcBef>
              <a:spcAft>
                <a:spcPts val="0"/>
              </a:spcAft>
              <a:buSzPts val="1000"/>
              <a:buNone/>
              <a:defRPr sz="1333"/>
            </a:lvl4pPr>
            <a:lvl5pPr lvl="4" algn="ctr" rtl="0">
              <a:lnSpc>
                <a:spcPct val="100000"/>
              </a:lnSpc>
              <a:spcBef>
                <a:spcPts val="0"/>
              </a:spcBef>
              <a:spcAft>
                <a:spcPts val="0"/>
              </a:spcAft>
              <a:buSzPts val="1000"/>
              <a:buNone/>
              <a:defRPr sz="1333"/>
            </a:lvl5pPr>
            <a:lvl6pPr lvl="5" algn="ctr" rtl="0">
              <a:lnSpc>
                <a:spcPct val="100000"/>
              </a:lnSpc>
              <a:spcBef>
                <a:spcPts val="0"/>
              </a:spcBef>
              <a:spcAft>
                <a:spcPts val="0"/>
              </a:spcAft>
              <a:buSzPts val="1000"/>
              <a:buNone/>
              <a:defRPr sz="1333"/>
            </a:lvl6pPr>
            <a:lvl7pPr lvl="6" algn="ctr" rtl="0">
              <a:lnSpc>
                <a:spcPct val="100000"/>
              </a:lnSpc>
              <a:spcBef>
                <a:spcPts val="0"/>
              </a:spcBef>
              <a:spcAft>
                <a:spcPts val="0"/>
              </a:spcAft>
              <a:buSzPts val="1000"/>
              <a:buNone/>
              <a:defRPr sz="1333"/>
            </a:lvl7pPr>
            <a:lvl8pPr lvl="7" algn="ctr" rtl="0">
              <a:lnSpc>
                <a:spcPct val="100000"/>
              </a:lnSpc>
              <a:spcBef>
                <a:spcPts val="0"/>
              </a:spcBef>
              <a:spcAft>
                <a:spcPts val="0"/>
              </a:spcAft>
              <a:buSzPts val="1000"/>
              <a:buNone/>
              <a:defRPr sz="1333"/>
            </a:lvl8pPr>
            <a:lvl9pPr lvl="8" algn="ctr" rtl="0">
              <a:lnSpc>
                <a:spcPct val="100000"/>
              </a:lnSpc>
              <a:spcBef>
                <a:spcPts val="0"/>
              </a:spcBef>
              <a:spcAft>
                <a:spcPts val="0"/>
              </a:spcAft>
              <a:buSzPts val="1000"/>
              <a:buNone/>
              <a:defRPr sz="1333"/>
            </a:lvl9pPr>
          </a:lstStyle>
          <a:p>
            <a:endParaRPr/>
          </a:p>
        </p:txBody>
      </p:sp>
      <p:sp>
        <p:nvSpPr>
          <p:cNvPr id="311" name="Google Shape;311;p15"/>
          <p:cNvSpPr txBox="1">
            <a:spLocks noGrp="1"/>
          </p:cNvSpPr>
          <p:nvPr>
            <p:ph type="ctrTitle" idx="2"/>
          </p:nvPr>
        </p:nvSpPr>
        <p:spPr>
          <a:xfrm flipH="1">
            <a:off x="4567984" y="4166676"/>
            <a:ext cx="2927200" cy="770400"/>
          </a:xfrm>
          <a:prstGeom prst="rect">
            <a:avLst/>
          </a:prstGeom>
        </p:spPr>
        <p:txBody>
          <a:bodyPr spcFirstLastPara="1" wrap="square" lIns="91425" tIns="91425" rIns="91425" bIns="91425" anchor="b" anchorCtr="0">
            <a:normAutofit/>
          </a:bodyPr>
          <a:lstStyle>
            <a:lvl1pPr lvl="0" algn="ctr" rtl="0">
              <a:spcBef>
                <a:spcPts val="0"/>
              </a:spcBef>
              <a:spcAft>
                <a:spcPts val="0"/>
              </a:spcAft>
              <a:buSzPts val="1700"/>
              <a:buNone/>
              <a:defRPr sz="2933"/>
            </a:lvl1pPr>
            <a:lvl2pPr lvl="1"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2pPr>
            <a:lvl3pPr lvl="2"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3pPr>
            <a:lvl4pPr lvl="3"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4pPr>
            <a:lvl5pPr lvl="4"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5pPr>
            <a:lvl6pPr lvl="5"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6pPr>
            <a:lvl7pPr lvl="6"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7pPr>
            <a:lvl8pPr lvl="7"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8pPr>
            <a:lvl9pPr lvl="8"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9pPr>
          </a:lstStyle>
          <a:p>
            <a:endParaRPr/>
          </a:p>
        </p:txBody>
      </p:sp>
      <p:sp>
        <p:nvSpPr>
          <p:cNvPr id="312" name="Google Shape;312;p15"/>
          <p:cNvSpPr txBox="1">
            <a:spLocks noGrp="1"/>
          </p:cNvSpPr>
          <p:nvPr>
            <p:ph type="subTitle" idx="3"/>
          </p:nvPr>
        </p:nvSpPr>
        <p:spPr>
          <a:xfrm flipH="1">
            <a:off x="4752683" y="4820033"/>
            <a:ext cx="2574400" cy="12968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1200"/>
              <a:buNone/>
              <a:defRPr sz="1867" b="0"/>
            </a:lvl1pPr>
            <a:lvl2pPr lvl="1" algn="ctr" rtl="0">
              <a:lnSpc>
                <a:spcPct val="100000"/>
              </a:lnSpc>
              <a:spcBef>
                <a:spcPts val="0"/>
              </a:spcBef>
              <a:spcAft>
                <a:spcPts val="0"/>
              </a:spcAft>
              <a:buSzPts val="1000"/>
              <a:buNone/>
              <a:defRPr sz="1333"/>
            </a:lvl2pPr>
            <a:lvl3pPr lvl="2" algn="ctr" rtl="0">
              <a:lnSpc>
                <a:spcPct val="100000"/>
              </a:lnSpc>
              <a:spcBef>
                <a:spcPts val="0"/>
              </a:spcBef>
              <a:spcAft>
                <a:spcPts val="0"/>
              </a:spcAft>
              <a:buSzPts val="1000"/>
              <a:buNone/>
              <a:defRPr sz="1333"/>
            </a:lvl3pPr>
            <a:lvl4pPr lvl="3" algn="ctr" rtl="0">
              <a:lnSpc>
                <a:spcPct val="100000"/>
              </a:lnSpc>
              <a:spcBef>
                <a:spcPts val="0"/>
              </a:spcBef>
              <a:spcAft>
                <a:spcPts val="0"/>
              </a:spcAft>
              <a:buSzPts val="1000"/>
              <a:buNone/>
              <a:defRPr sz="1333"/>
            </a:lvl4pPr>
            <a:lvl5pPr lvl="4" algn="ctr" rtl="0">
              <a:lnSpc>
                <a:spcPct val="100000"/>
              </a:lnSpc>
              <a:spcBef>
                <a:spcPts val="0"/>
              </a:spcBef>
              <a:spcAft>
                <a:spcPts val="0"/>
              </a:spcAft>
              <a:buSzPts val="1000"/>
              <a:buNone/>
              <a:defRPr sz="1333"/>
            </a:lvl5pPr>
            <a:lvl6pPr lvl="5" algn="ctr" rtl="0">
              <a:lnSpc>
                <a:spcPct val="100000"/>
              </a:lnSpc>
              <a:spcBef>
                <a:spcPts val="0"/>
              </a:spcBef>
              <a:spcAft>
                <a:spcPts val="0"/>
              </a:spcAft>
              <a:buSzPts val="1000"/>
              <a:buNone/>
              <a:defRPr sz="1333"/>
            </a:lvl6pPr>
            <a:lvl7pPr lvl="6" algn="ctr" rtl="0">
              <a:lnSpc>
                <a:spcPct val="100000"/>
              </a:lnSpc>
              <a:spcBef>
                <a:spcPts val="0"/>
              </a:spcBef>
              <a:spcAft>
                <a:spcPts val="0"/>
              </a:spcAft>
              <a:buSzPts val="1000"/>
              <a:buNone/>
              <a:defRPr sz="1333"/>
            </a:lvl7pPr>
            <a:lvl8pPr lvl="7" algn="ctr" rtl="0">
              <a:lnSpc>
                <a:spcPct val="100000"/>
              </a:lnSpc>
              <a:spcBef>
                <a:spcPts val="0"/>
              </a:spcBef>
              <a:spcAft>
                <a:spcPts val="0"/>
              </a:spcAft>
              <a:buSzPts val="1000"/>
              <a:buNone/>
              <a:defRPr sz="1333"/>
            </a:lvl8pPr>
            <a:lvl9pPr lvl="8" algn="ctr" rtl="0">
              <a:lnSpc>
                <a:spcPct val="100000"/>
              </a:lnSpc>
              <a:spcBef>
                <a:spcPts val="0"/>
              </a:spcBef>
              <a:spcAft>
                <a:spcPts val="0"/>
              </a:spcAft>
              <a:buSzPts val="1000"/>
              <a:buNone/>
              <a:defRPr sz="1333"/>
            </a:lvl9pPr>
          </a:lstStyle>
          <a:p>
            <a:endParaRPr/>
          </a:p>
        </p:txBody>
      </p:sp>
      <p:sp>
        <p:nvSpPr>
          <p:cNvPr id="313" name="Google Shape;313;p15"/>
          <p:cNvSpPr txBox="1">
            <a:spLocks noGrp="1"/>
          </p:cNvSpPr>
          <p:nvPr>
            <p:ph type="ctrTitle" idx="4"/>
          </p:nvPr>
        </p:nvSpPr>
        <p:spPr>
          <a:xfrm flipH="1">
            <a:off x="7557217" y="4166676"/>
            <a:ext cx="2927200" cy="770400"/>
          </a:xfrm>
          <a:prstGeom prst="rect">
            <a:avLst/>
          </a:prstGeom>
        </p:spPr>
        <p:txBody>
          <a:bodyPr spcFirstLastPara="1" wrap="square" lIns="91425" tIns="91425" rIns="91425" bIns="91425" anchor="b" anchorCtr="0">
            <a:normAutofit/>
          </a:bodyPr>
          <a:lstStyle>
            <a:lvl1pPr lvl="0" algn="ctr" rtl="0">
              <a:spcBef>
                <a:spcPts val="0"/>
              </a:spcBef>
              <a:spcAft>
                <a:spcPts val="0"/>
              </a:spcAft>
              <a:buSzPts val="1700"/>
              <a:buNone/>
              <a:defRPr sz="2933"/>
            </a:lvl1pPr>
            <a:lvl2pPr lvl="1"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2pPr>
            <a:lvl3pPr lvl="2"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3pPr>
            <a:lvl4pPr lvl="3"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4pPr>
            <a:lvl5pPr lvl="4"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5pPr>
            <a:lvl6pPr lvl="5"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6pPr>
            <a:lvl7pPr lvl="6"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7pPr>
            <a:lvl8pPr lvl="7"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8pPr>
            <a:lvl9pPr lvl="8"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9pPr>
          </a:lstStyle>
          <a:p>
            <a:endParaRPr/>
          </a:p>
        </p:txBody>
      </p:sp>
      <p:sp>
        <p:nvSpPr>
          <p:cNvPr id="314" name="Google Shape;314;p15"/>
          <p:cNvSpPr txBox="1">
            <a:spLocks noGrp="1"/>
          </p:cNvSpPr>
          <p:nvPr>
            <p:ph type="subTitle" idx="5"/>
          </p:nvPr>
        </p:nvSpPr>
        <p:spPr>
          <a:xfrm flipH="1">
            <a:off x="7733617" y="4820033"/>
            <a:ext cx="2574400" cy="12968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1200"/>
              <a:buNone/>
              <a:defRPr sz="1867" b="0"/>
            </a:lvl1pPr>
            <a:lvl2pPr lvl="1" algn="ctr" rtl="0">
              <a:lnSpc>
                <a:spcPct val="100000"/>
              </a:lnSpc>
              <a:spcBef>
                <a:spcPts val="0"/>
              </a:spcBef>
              <a:spcAft>
                <a:spcPts val="0"/>
              </a:spcAft>
              <a:buSzPts val="1000"/>
              <a:buNone/>
              <a:defRPr sz="1333"/>
            </a:lvl2pPr>
            <a:lvl3pPr lvl="2" algn="ctr" rtl="0">
              <a:lnSpc>
                <a:spcPct val="100000"/>
              </a:lnSpc>
              <a:spcBef>
                <a:spcPts val="0"/>
              </a:spcBef>
              <a:spcAft>
                <a:spcPts val="0"/>
              </a:spcAft>
              <a:buSzPts val="1000"/>
              <a:buNone/>
              <a:defRPr sz="1333"/>
            </a:lvl3pPr>
            <a:lvl4pPr lvl="3" algn="ctr" rtl="0">
              <a:lnSpc>
                <a:spcPct val="100000"/>
              </a:lnSpc>
              <a:spcBef>
                <a:spcPts val="0"/>
              </a:spcBef>
              <a:spcAft>
                <a:spcPts val="0"/>
              </a:spcAft>
              <a:buSzPts val="1000"/>
              <a:buNone/>
              <a:defRPr sz="1333"/>
            </a:lvl4pPr>
            <a:lvl5pPr lvl="4" algn="ctr" rtl="0">
              <a:lnSpc>
                <a:spcPct val="100000"/>
              </a:lnSpc>
              <a:spcBef>
                <a:spcPts val="0"/>
              </a:spcBef>
              <a:spcAft>
                <a:spcPts val="0"/>
              </a:spcAft>
              <a:buSzPts val="1000"/>
              <a:buNone/>
              <a:defRPr sz="1333"/>
            </a:lvl5pPr>
            <a:lvl6pPr lvl="5" algn="ctr" rtl="0">
              <a:lnSpc>
                <a:spcPct val="100000"/>
              </a:lnSpc>
              <a:spcBef>
                <a:spcPts val="0"/>
              </a:spcBef>
              <a:spcAft>
                <a:spcPts val="0"/>
              </a:spcAft>
              <a:buSzPts val="1000"/>
              <a:buNone/>
              <a:defRPr sz="1333"/>
            </a:lvl6pPr>
            <a:lvl7pPr lvl="6" algn="ctr" rtl="0">
              <a:lnSpc>
                <a:spcPct val="100000"/>
              </a:lnSpc>
              <a:spcBef>
                <a:spcPts val="0"/>
              </a:spcBef>
              <a:spcAft>
                <a:spcPts val="0"/>
              </a:spcAft>
              <a:buSzPts val="1000"/>
              <a:buNone/>
              <a:defRPr sz="1333"/>
            </a:lvl7pPr>
            <a:lvl8pPr lvl="7" algn="ctr" rtl="0">
              <a:lnSpc>
                <a:spcPct val="100000"/>
              </a:lnSpc>
              <a:spcBef>
                <a:spcPts val="0"/>
              </a:spcBef>
              <a:spcAft>
                <a:spcPts val="0"/>
              </a:spcAft>
              <a:buSzPts val="1000"/>
              <a:buNone/>
              <a:defRPr sz="1333"/>
            </a:lvl8pPr>
            <a:lvl9pPr lvl="8" algn="ctr" rtl="0">
              <a:lnSpc>
                <a:spcPct val="100000"/>
              </a:lnSpc>
              <a:spcBef>
                <a:spcPts val="0"/>
              </a:spcBef>
              <a:spcAft>
                <a:spcPts val="0"/>
              </a:spcAft>
              <a:buSzPts val="1000"/>
              <a:buNone/>
              <a:defRPr sz="1333"/>
            </a:lvl9pPr>
          </a:lstStyle>
          <a:p>
            <a:endParaRPr/>
          </a:p>
        </p:txBody>
      </p:sp>
      <p:sp>
        <p:nvSpPr>
          <p:cNvPr id="315" name="Google Shape;315;p15"/>
          <p:cNvSpPr txBox="1">
            <a:spLocks noGrp="1"/>
          </p:cNvSpPr>
          <p:nvPr>
            <p:ph type="title" idx="6"/>
          </p:nvPr>
        </p:nvSpPr>
        <p:spPr>
          <a:xfrm>
            <a:off x="831200" y="593367"/>
            <a:ext cx="10400800" cy="763600"/>
          </a:xfrm>
          <a:prstGeom prst="rect">
            <a:avLst/>
          </a:prstGeom>
        </p:spPr>
        <p:txBody>
          <a:bodyPr spcFirstLastPara="1" wrap="square" lIns="91425" tIns="91425" rIns="91425" bIns="91425" anchor="t" anchorCtr="0">
            <a:normAutofit/>
          </a:bodyPr>
          <a:lstStyle>
            <a:lvl1pPr lvl="0" rtl="0">
              <a:spcBef>
                <a:spcPts val="0"/>
              </a:spcBef>
              <a:spcAft>
                <a:spcPts val="0"/>
              </a:spcAft>
              <a:buSzPts val="2800"/>
              <a:buNone/>
              <a:defRPr sz="4267"/>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316" name="Google Shape;316;p15"/>
          <p:cNvSpPr/>
          <p:nvPr/>
        </p:nvSpPr>
        <p:spPr>
          <a:xfrm rot="5400000">
            <a:off x="8616707" y="3935999"/>
            <a:ext cx="869860" cy="5357461"/>
          </a:xfrm>
          <a:custGeom>
            <a:avLst/>
            <a:gdLst/>
            <a:ahLst/>
            <a:cxnLst/>
            <a:rect l="l" t="t" r="r" b="b"/>
            <a:pathLst>
              <a:path w="18600" h="104829" extrusionOk="0">
                <a:moveTo>
                  <a:pt x="16360" y="1"/>
                </a:moveTo>
                <a:cubicBezTo>
                  <a:pt x="9962" y="1"/>
                  <a:pt x="4427" y="11283"/>
                  <a:pt x="3561" y="15670"/>
                </a:cubicBezTo>
                <a:cubicBezTo>
                  <a:pt x="1512" y="25875"/>
                  <a:pt x="9370" y="33772"/>
                  <a:pt x="10762" y="43341"/>
                </a:cubicBezTo>
                <a:cubicBezTo>
                  <a:pt x="11936" y="51337"/>
                  <a:pt x="10921" y="59692"/>
                  <a:pt x="7719" y="67132"/>
                </a:cubicBezTo>
                <a:cubicBezTo>
                  <a:pt x="5172" y="73120"/>
                  <a:pt x="1214" y="78750"/>
                  <a:pt x="657" y="85254"/>
                </a:cubicBezTo>
                <a:cubicBezTo>
                  <a:pt x="0" y="93609"/>
                  <a:pt x="9111" y="104590"/>
                  <a:pt x="18560" y="104829"/>
                </a:cubicBezTo>
                <a:lnTo>
                  <a:pt x="18560" y="104829"/>
                </a:lnTo>
                <a:cubicBezTo>
                  <a:pt x="18600" y="104809"/>
                  <a:pt x="18341" y="372"/>
                  <a:pt x="18341" y="372"/>
                </a:cubicBezTo>
                <a:cubicBezTo>
                  <a:pt x="17675" y="118"/>
                  <a:pt x="17013" y="1"/>
                  <a:pt x="16360" y="1"/>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17" name="Google Shape;317;p15"/>
          <p:cNvSpPr/>
          <p:nvPr/>
        </p:nvSpPr>
        <p:spPr>
          <a:xfrm rot="-5400000">
            <a:off x="-670173" y="1443905"/>
            <a:ext cx="1947305" cy="829088"/>
          </a:xfrm>
          <a:custGeom>
            <a:avLst/>
            <a:gdLst/>
            <a:ahLst/>
            <a:cxnLst/>
            <a:rect l="l" t="t" r="r" b="b"/>
            <a:pathLst>
              <a:path w="17010" h="7242" extrusionOk="0">
                <a:moveTo>
                  <a:pt x="1" y="1"/>
                </a:moveTo>
                <a:cubicBezTo>
                  <a:pt x="677" y="4099"/>
                  <a:pt x="4238" y="7242"/>
                  <a:pt x="8515" y="7242"/>
                </a:cubicBezTo>
                <a:cubicBezTo>
                  <a:pt x="12792" y="7242"/>
                  <a:pt x="16333" y="4099"/>
                  <a:pt x="17009"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18" name="Google Shape;318;p15"/>
          <p:cNvSpPr/>
          <p:nvPr/>
        </p:nvSpPr>
        <p:spPr>
          <a:xfrm>
            <a:off x="11002296" y="6179789"/>
            <a:ext cx="344784" cy="303995"/>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19" name="Google Shape;319;p15"/>
          <p:cNvSpPr/>
          <p:nvPr/>
        </p:nvSpPr>
        <p:spPr>
          <a:xfrm>
            <a:off x="11333599" y="6016393"/>
            <a:ext cx="185317" cy="163409"/>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20" name="Google Shape;320;p15"/>
          <p:cNvSpPr/>
          <p:nvPr/>
        </p:nvSpPr>
        <p:spPr>
          <a:xfrm>
            <a:off x="131096" y="2528089"/>
            <a:ext cx="344784" cy="303995"/>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391544982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itle and Text 1">
  <p:cSld name="Title and Text 1">
    <p:bg>
      <p:bgPr>
        <a:blipFill>
          <a:blip r:embed="rId2">
            <a:alphaModFix/>
          </a:blip>
          <a:stretch>
            <a:fillRect/>
          </a:stretch>
        </a:blipFill>
        <a:effectLst/>
      </p:bgPr>
    </p:bg>
    <p:spTree>
      <p:nvGrpSpPr>
        <p:cNvPr id="1" name="Shape 339"/>
        <p:cNvGrpSpPr/>
        <p:nvPr/>
      </p:nvGrpSpPr>
      <p:grpSpPr>
        <a:xfrm>
          <a:off x="0" y="0"/>
          <a:ext cx="0" cy="0"/>
          <a:chOff x="0" y="0"/>
          <a:chExt cx="0" cy="0"/>
        </a:xfrm>
      </p:grpSpPr>
      <p:sp>
        <p:nvSpPr>
          <p:cNvPr id="340" name="Google Shape;340;p17"/>
          <p:cNvSpPr txBox="1">
            <a:spLocks noGrp="1"/>
          </p:cNvSpPr>
          <p:nvPr>
            <p:ph type="body" idx="1"/>
          </p:nvPr>
        </p:nvSpPr>
        <p:spPr>
          <a:xfrm>
            <a:off x="5892400" y="2247833"/>
            <a:ext cx="5232800" cy="3941200"/>
          </a:xfrm>
          <a:prstGeom prst="rect">
            <a:avLst/>
          </a:prstGeom>
        </p:spPr>
        <p:txBody>
          <a:bodyPr spcFirstLastPara="1" wrap="square" lIns="91425" tIns="91425" rIns="91425" bIns="91425" anchor="t" anchorCtr="0">
            <a:normAutofit/>
          </a:bodyPr>
          <a:lstStyle>
            <a:lvl1pPr marL="609585" lvl="0" indent="-423323" rtl="0">
              <a:lnSpc>
                <a:spcPct val="100000"/>
              </a:lnSpc>
              <a:spcBef>
                <a:spcPts val="0"/>
              </a:spcBef>
              <a:spcAft>
                <a:spcPts val="0"/>
              </a:spcAft>
              <a:buSzPts val="1400"/>
              <a:buChar char="●"/>
              <a:defRPr sz="1867" b="0"/>
            </a:lvl1pPr>
            <a:lvl2pPr marL="1219170" lvl="1" indent="-440256" rtl="0">
              <a:lnSpc>
                <a:spcPct val="115000"/>
              </a:lnSpc>
              <a:spcBef>
                <a:spcPts val="0"/>
              </a:spcBef>
              <a:spcAft>
                <a:spcPts val="0"/>
              </a:spcAft>
              <a:buSzPts val="1600"/>
              <a:buChar char="○"/>
              <a:defRPr/>
            </a:lvl2pPr>
            <a:lvl3pPr marL="1828754" lvl="2" indent="-440256" rtl="0">
              <a:lnSpc>
                <a:spcPct val="115000"/>
              </a:lnSpc>
              <a:spcBef>
                <a:spcPts val="2133"/>
              </a:spcBef>
              <a:spcAft>
                <a:spcPts val="0"/>
              </a:spcAft>
              <a:buSzPts val="1600"/>
              <a:buChar char="■"/>
              <a:defRPr/>
            </a:lvl3pPr>
            <a:lvl4pPr marL="2438339" lvl="3" indent="-440256" rtl="0">
              <a:lnSpc>
                <a:spcPct val="115000"/>
              </a:lnSpc>
              <a:spcBef>
                <a:spcPts val="2133"/>
              </a:spcBef>
              <a:spcAft>
                <a:spcPts val="0"/>
              </a:spcAft>
              <a:buSzPts val="1600"/>
              <a:buChar char="●"/>
              <a:defRPr/>
            </a:lvl4pPr>
            <a:lvl5pPr marL="3047924" lvl="4" indent="-440256" rtl="0">
              <a:lnSpc>
                <a:spcPct val="115000"/>
              </a:lnSpc>
              <a:spcBef>
                <a:spcPts val="2133"/>
              </a:spcBef>
              <a:spcAft>
                <a:spcPts val="0"/>
              </a:spcAft>
              <a:buSzPts val="1600"/>
              <a:buChar char="○"/>
              <a:defRPr/>
            </a:lvl5pPr>
            <a:lvl6pPr marL="3657509" lvl="5" indent="-440256" rtl="0">
              <a:lnSpc>
                <a:spcPct val="115000"/>
              </a:lnSpc>
              <a:spcBef>
                <a:spcPts val="2133"/>
              </a:spcBef>
              <a:spcAft>
                <a:spcPts val="0"/>
              </a:spcAft>
              <a:buSzPts val="1600"/>
              <a:buChar char="■"/>
              <a:defRPr/>
            </a:lvl6pPr>
            <a:lvl7pPr marL="4267093" lvl="6" indent="-440256" rtl="0">
              <a:lnSpc>
                <a:spcPct val="115000"/>
              </a:lnSpc>
              <a:spcBef>
                <a:spcPts val="2133"/>
              </a:spcBef>
              <a:spcAft>
                <a:spcPts val="0"/>
              </a:spcAft>
              <a:buSzPts val="1600"/>
              <a:buChar char="●"/>
              <a:defRPr/>
            </a:lvl7pPr>
            <a:lvl8pPr marL="4876678" lvl="7" indent="-440256" rtl="0">
              <a:lnSpc>
                <a:spcPct val="115000"/>
              </a:lnSpc>
              <a:spcBef>
                <a:spcPts val="2133"/>
              </a:spcBef>
              <a:spcAft>
                <a:spcPts val="0"/>
              </a:spcAft>
              <a:buSzPts val="1600"/>
              <a:buChar char="○"/>
              <a:defRPr/>
            </a:lvl8pPr>
            <a:lvl9pPr marL="5486263" lvl="8" indent="-440256" rtl="0">
              <a:lnSpc>
                <a:spcPct val="115000"/>
              </a:lnSpc>
              <a:spcBef>
                <a:spcPts val="2133"/>
              </a:spcBef>
              <a:spcAft>
                <a:spcPts val="2133"/>
              </a:spcAft>
              <a:buSzPts val="1600"/>
              <a:buChar char="■"/>
              <a:defRPr/>
            </a:lvl9pPr>
          </a:lstStyle>
          <a:p>
            <a:endParaRPr/>
          </a:p>
        </p:txBody>
      </p:sp>
      <p:sp>
        <p:nvSpPr>
          <p:cNvPr id="341" name="Google Shape;341;p17"/>
          <p:cNvSpPr txBox="1">
            <a:spLocks noGrp="1"/>
          </p:cNvSpPr>
          <p:nvPr>
            <p:ph type="title"/>
          </p:nvPr>
        </p:nvSpPr>
        <p:spPr>
          <a:xfrm>
            <a:off x="880300" y="510233"/>
            <a:ext cx="10351600" cy="763600"/>
          </a:xfrm>
          <a:prstGeom prst="rect">
            <a:avLst/>
          </a:prstGeom>
        </p:spPr>
        <p:txBody>
          <a:bodyPr spcFirstLastPara="1" wrap="square" lIns="91425" tIns="91425" rIns="91425" bIns="91425" anchor="t" anchorCtr="0">
            <a:normAutofit/>
          </a:bodyPr>
          <a:lstStyle>
            <a:lvl1pPr lvl="0" rtl="0">
              <a:spcBef>
                <a:spcPts val="0"/>
              </a:spcBef>
              <a:spcAft>
                <a:spcPts val="0"/>
              </a:spcAft>
              <a:buSzPts val="2800"/>
              <a:buNone/>
              <a:defRPr sz="4267"/>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342" name="Google Shape;342;p17"/>
          <p:cNvSpPr/>
          <p:nvPr/>
        </p:nvSpPr>
        <p:spPr>
          <a:xfrm rot="10800000">
            <a:off x="-7" y="3604513"/>
            <a:ext cx="714675" cy="4401420"/>
          </a:xfrm>
          <a:custGeom>
            <a:avLst/>
            <a:gdLst/>
            <a:ahLst/>
            <a:cxnLst/>
            <a:rect l="l" t="t" r="r" b="b"/>
            <a:pathLst>
              <a:path w="18600" h="104829" extrusionOk="0">
                <a:moveTo>
                  <a:pt x="16360" y="1"/>
                </a:moveTo>
                <a:cubicBezTo>
                  <a:pt x="9962" y="1"/>
                  <a:pt x="4427" y="11283"/>
                  <a:pt x="3561" y="15670"/>
                </a:cubicBezTo>
                <a:cubicBezTo>
                  <a:pt x="1512" y="25875"/>
                  <a:pt x="9370" y="33772"/>
                  <a:pt x="10762" y="43341"/>
                </a:cubicBezTo>
                <a:cubicBezTo>
                  <a:pt x="11936" y="51337"/>
                  <a:pt x="10921" y="59692"/>
                  <a:pt x="7719" y="67132"/>
                </a:cubicBezTo>
                <a:cubicBezTo>
                  <a:pt x="5172" y="73120"/>
                  <a:pt x="1214" y="78750"/>
                  <a:pt x="657" y="85254"/>
                </a:cubicBezTo>
                <a:cubicBezTo>
                  <a:pt x="0" y="93609"/>
                  <a:pt x="9111" y="104590"/>
                  <a:pt x="18560" y="104829"/>
                </a:cubicBezTo>
                <a:lnTo>
                  <a:pt x="18560" y="104829"/>
                </a:lnTo>
                <a:cubicBezTo>
                  <a:pt x="18600" y="104809"/>
                  <a:pt x="18341" y="372"/>
                  <a:pt x="18341" y="372"/>
                </a:cubicBezTo>
                <a:cubicBezTo>
                  <a:pt x="17675" y="118"/>
                  <a:pt x="17013" y="1"/>
                  <a:pt x="16360"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43" name="Google Shape;343;p17"/>
          <p:cNvSpPr/>
          <p:nvPr/>
        </p:nvSpPr>
        <p:spPr>
          <a:xfrm rot="10800000">
            <a:off x="10827047" y="3128233"/>
            <a:ext cx="1685787" cy="4699368"/>
          </a:xfrm>
          <a:custGeom>
            <a:avLst/>
            <a:gdLst/>
            <a:ahLst/>
            <a:cxnLst/>
            <a:rect l="l" t="t" r="r" b="b"/>
            <a:pathLst>
              <a:path w="32605" h="90891" extrusionOk="0">
                <a:moveTo>
                  <a:pt x="0" y="1"/>
                </a:moveTo>
                <a:lnTo>
                  <a:pt x="0" y="90890"/>
                </a:lnTo>
                <a:cubicBezTo>
                  <a:pt x="7361" y="89757"/>
                  <a:pt x="16312" y="85062"/>
                  <a:pt x="19893" y="78557"/>
                </a:cubicBezTo>
                <a:cubicBezTo>
                  <a:pt x="23454" y="72032"/>
                  <a:pt x="23792" y="63836"/>
                  <a:pt x="20788" y="57033"/>
                </a:cubicBezTo>
                <a:cubicBezTo>
                  <a:pt x="18640" y="52239"/>
                  <a:pt x="15039" y="48260"/>
                  <a:pt x="12453" y="43705"/>
                </a:cubicBezTo>
                <a:cubicBezTo>
                  <a:pt x="9887" y="39130"/>
                  <a:pt x="8415" y="33341"/>
                  <a:pt x="10941" y="28746"/>
                </a:cubicBezTo>
                <a:cubicBezTo>
                  <a:pt x="12871" y="25205"/>
                  <a:pt x="16690" y="23176"/>
                  <a:pt x="20311" y="21445"/>
                </a:cubicBezTo>
                <a:cubicBezTo>
                  <a:pt x="23971" y="19734"/>
                  <a:pt x="27830" y="18023"/>
                  <a:pt x="30217" y="14761"/>
                </a:cubicBezTo>
                <a:cubicBezTo>
                  <a:pt x="32604" y="11538"/>
                  <a:pt x="29780" y="2189"/>
                  <a:pt x="26398" y="20"/>
                </a:cubicBezTo>
                <a:lnTo>
                  <a:pt x="0" y="1"/>
                </a:lnTo>
                <a:close/>
              </a:path>
            </a:pathLst>
          </a:custGeom>
          <a:solidFill>
            <a:schemeClr val="accent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44" name="Google Shape;344;p17"/>
          <p:cNvSpPr/>
          <p:nvPr/>
        </p:nvSpPr>
        <p:spPr>
          <a:xfrm>
            <a:off x="11347899" y="5629994"/>
            <a:ext cx="458336" cy="404065"/>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345" name="Google Shape;345;p17"/>
          <p:cNvGrpSpPr/>
          <p:nvPr/>
        </p:nvGrpSpPr>
        <p:grpSpPr>
          <a:xfrm>
            <a:off x="10856051" y="842067"/>
            <a:ext cx="558367" cy="467069"/>
            <a:chOff x="4259550" y="352000"/>
            <a:chExt cx="418775" cy="350302"/>
          </a:xfrm>
        </p:grpSpPr>
        <p:sp>
          <p:nvSpPr>
            <p:cNvPr id="346" name="Google Shape;346;p17"/>
            <p:cNvSpPr/>
            <p:nvPr/>
          </p:nvSpPr>
          <p:spPr>
            <a:xfrm>
              <a:off x="4624575" y="352000"/>
              <a:ext cx="53750" cy="53225"/>
            </a:xfrm>
            <a:custGeom>
              <a:avLst/>
              <a:gdLst/>
              <a:ahLst/>
              <a:cxnLst/>
              <a:rect l="l" t="t" r="r" b="b"/>
              <a:pathLst>
                <a:path w="2150" h="2129" extrusionOk="0">
                  <a:moveTo>
                    <a:pt x="1075" y="0"/>
                  </a:moveTo>
                  <a:cubicBezTo>
                    <a:pt x="478" y="0"/>
                    <a:pt x="1" y="478"/>
                    <a:pt x="1" y="1075"/>
                  </a:cubicBezTo>
                  <a:cubicBezTo>
                    <a:pt x="1" y="1671"/>
                    <a:pt x="478" y="2129"/>
                    <a:pt x="1075" y="2129"/>
                  </a:cubicBezTo>
                  <a:cubicBezTo>
                    <a:pt x="1672" y="2129"/>
                    <a:pt x="2149" y="1671"/>
                    <a:pt x="2149" y="1075"/>
                  </a:cubicBezTo>
                  <a:cubicBezTo>
                    <a:pt x="2149" y="478"/>
                    <a:pt x="1672" y="0"/>
                    <a:pt x="107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47" name="Google Shape;347;p17"/>
            <p:cNvSpPr/>
            <p:nvPr/>
          </p:nvSpPr>
          <p:spPr>
            <a:xfrm>
              <a:off x="4259550" y="485275"/>
              <a:ext cx="62200" cy="62700"/>
            </a:xfrm>
            <a:custGeom>
              <a:avLst/>
              <a:gdLst/>
              <a:ahLst/>
              <a:cxnLst/>
              <a:rect l="l" t="t" r="r" b="b"/>
              <a:pathLst>
                <a:path w="2488" h="2508" extrusionOk="0">
                  <a:moveTo>
                    <a:pt x="1254" y="1"/>
                  </a:moveTo>
                  <a:cubicBezTo>
                    <a:pt x="557" y="1"/>
                    <a:pt x="0" y="558"/>
                    <a:pt x="0" y="1254"/>
                  </a:cubicBezTo>
                  <a:cubicBezTo>
                    <a:pt x="0" y="1950"/>
                    <a:pt x="557" y="2507"/>
                    <a:pt x="1254" y="2507"/>
                  </a:cubicBezTo>
                  <a:cubicBezTo>
                    <a:pt x="1950" y="2507"/>
                    <a:pt x="2487" y="1950"/>
                    <a:pt x="2487" y="1254"/>
                  </a:cubicBezTo>
                  <a:cubicBezTo>
                    <a:pt x="2487" y="558"/>
                    <a:pt x="1950" y="1"/>
                    <a:pt x="125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48" name="Google Shape;348;p17"/>
            <p:cNvSpPr/>
            <p:nvPr/>
          </p:nvSpPr>
          <p:spPr>
            <a:xfrm>
              <a:off x="4503927" y="572104"/>
              <a:ext cx="130152" cy="130197"/>
            </a:xfrm>
            <a:custGeom>
              <a:avLst/>
              <a:gdLst/>
              <a:ahLst/>
              <a:cxnLst/>
              <a:rect l="l" t="t" r="r" b="b"/>
              <a:pathLst>
                <a:path w="2845" h="2846" extrusionOk="0">
                  <a:moveTo>
                    <a:pt x="1432" y="1"/>
                  </a:moveTo>
                  <a:cubicBezTo>
                    <a:pt x="656" y="1"/>
                    <a:pt x="0" y="618"/>
                    <a:pt x="0" y="1413"/>
                  </a:cubicBezTo>
                  <a:cubicBezTo>
                    <a:pt x="0" y="2189"/>
                    <a:pt x="637" y="2846"/>
                    <a:pt x="1432" y="2846"/>
                  </a:cubicBezTo>
                  <a:cubicBezTo>
                    <a:pt x="2188" y="2846"/>
                    <a:pt x="2845" y="2209"/>
                    <a:pt x="2845" y="1413"/>
                  </a:cubicBezTo>
                  <a:cubicBezTo>
                    <a:pt x="2845" y="618"/>
                    <a:pt x="2188" y="1"/>
                    <a:pt x="143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342342724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itle and three columns 1">
  <p:cSld name="Title and three columns 1">
    <p:bg>
      <p:bgPr>
        <a:blipFill>
          <a:blip r:embed="rId2">
            <a:alphaModFix/>
          </a:blip>
          <a:stretch>
            <a:fillRect/>
          </a:stretch>
        </a:blipFill>
        <a:effectLst/>
      </p:bgPr>
    </p:bg>
    <p:spTree>
      <p:nvGrpSpPr>
        <p:cNvPr id="1" name="Shape 349"/>
        <p:cNvGrpSpPr/>
        <p:nvPr/>
      </p:nvGrpSpPr>
      <p:grpSpPr>
        <a:xfrm>
          <a:off x="0" y="0"/>
          <a:ext cx="0" cy="0"/>
          <a:chOff x="0" y="0"/>
          <a:chExt cx="0" cy="0"/>
        </a:xfrm>
      </p:grpSpPr>
      <p:sp>
        <p:nvSpPr>
          <p:cNvPr id="350" name="Google Shape;350;p18"/>
          <p:cNvSpPr txBox="1">
            <a:spLocks noGrp="1"/>
          </p:cNvSpPr>
          <p:nvPr>
            <p:ph type="title"/>
          </p:nvPr>
        </p:nvSpPr>
        <p:spPr>
          <a:xfrm>
            <a:off x="831200" y="593367"/>
            <a:ext cx="10400800" cy="763600"/>
          </a:xfrm>
          <a:prstGeom prst="rect">
            <a:avLst/>
          </a:prstGeom>
        </p:spPr>
        <p:txBody>
          <a:bodyPr spcFirstLastPara="1" wrap="square" lIns="91425" tIns="91425" rIns="91425" bIns="91425" anchor="t" anchorCtr="0">
            <a:normAutofit/>
          </a:bodyPr>
          <a:lstStyle>
            <a:lvl1pPr lvl="0" rtl="0">
              <a:spcBef>
                <a:spcPts val="0"/>
              </a:spcBef>
              <a:spcAft>
                <a:spcPts val="0"/>
              </a:spcAft>
              <a:buSzPts val="2800"/>
              <a:buNone/>
              <a:defRPr sz="4267"/>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351" name="Google Shape;351;p18"/>
          <p:cNvSpPr txBox="1">
            <a:spLocks noGrp="1"/>
          </p:cNvSpPr>
          <p:nvPr>
            <p:ph type="ctrTitle" idx="2"/>
          </p:nvPr>
        </p:nvSpPr>
        <p:spPr>
          <a:xfrm flipH="1">
            <a:off x="1411433" y="4166667"/>
            <a:ext cx="2574400" cy="770400"/>
          </a:xfrm>
          <a:prstGeom prst="rect">
            <a:avLst/>
          </a:prstGeom>
        </p:spPr>
        <p:txBody>
          <a:bodyPr spcFirstLastPara="1" wrap="square" lIns="91425" tIns="91425" rIns="91425" bIns="91425" anchor="b" anchorCtr="0">
            <a:normAutofit/>
          </a:bodyPr>
          <a:lstStyle>
            <a:lvl1pPr lvl="0" algn="ctr" rtl="0">
              <a:spcBef>
                <a:spcPts val="0"/>
              </a:spcBef>
              <a:spcAft>
                <a:spcPts val="0"/>
              </a:spcAft>
              <a:buSzPts val="1700"/>
              <a:buNone/>
              <a:defRPr sz="2933">
                <a:solidFill>
                  <a:schemeClr val="accent4"/>
                </a:solidFill>
              </a:defRPr>
            </a:lvl1pPr>
            <a:lvl2pPr lvl="1"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2pPr>
            <a:lvl3pPr lvl="2"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3pPr>
            <a:lvl4pPr lvl="3"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4pPr>
            <a:lvl5pPr lvl="4"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5pPr>
            <a:lvl6pPr lvl="5"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6pPr>
            <a:lvl7pPr lvl="6"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7pPr>
            <a:lvl8pPr lvl="7"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8pPr>
            <a:lvl9pPr lvl="8"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9pPr>
          </a:lstStyle>
          <a:p>
            <a:endParaRPr/>
          </a:p>
        </p:txBody>
      </p:sp>
      <p:sp>
        <p:nvSpPr>
          <p:cNvPr id="352" name="Google Shape;352;p18"/>
          <p:cNvSpPr txBox="1">
            <a:spLocks noGrp="1"/>
          </p:cNvSpPr>
          <p:nvPr>
            <p:ph type="subTitle" idx="1"/>
          </p:nvPr>
        </p:nvSpPr>
        <p:spPr>
          <a:xfrm flipH="1">
            <a:off x="1411417" y="4820033"/>
            <a:ext cx="2574400" cy="12968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1200"/>
              <a:buNone/>
              <a:defRPr sz="1867" b="0"/>
            </a:lvl1pPr>
            <a:lvl2pPr lvl="1" algn="ctr" rtl="0">
              <a:lnSpc>
                <a:spcPct val="100000"/>
              </a:lnSpc>
              <a:spcBef>
                <a:spcPts val="0"/>
              </a:spcBef>
              <a:spcAft>
                <a:spcPts val="0"/>
              </a:spcAft>
              <a:buSzPts val="1000"/>
              <a:buNone/>
              <a:defRPr sz="1333"/>
            </a:lvl2pPr>
            <a:lvl3pPr lvl="2" algn="ctr" rtl="0">
              <a:lnSpc>
                <a:spcPct val="100000"/>
              </a:lnSpc>
              <a:spcBef>
                <a:spcPts val="0"/>
              </a:spcBef>
              <a:spcAft>
                <a:spcPts val="0"/>
              </a:spcAft>
              <a:buSzPts val="1000"/>
              <a:buNone/>
              <a:defRPr sz="1333"/>
            </a:lvl3pPr>
            <a:lvl4pPr lvl="3" algn="ctr" rtl="0">
              <a:lnSpc>
                <a:spcPct val="100000"/>
              </a:lnSpc>
              <a:spcBef>
                <a:spcPts val="0"/>
              </a:spcBef>
              <a:spcAft>
                <a:spcPts val="0"/>
              </a:spcAft>
              <a:buSzPts val="1000"/>
              <a:buNone/>
              <a:defRPr sz="1333"/>
            </a:lvl4pPr>
            <a:lvl5pPr lvl="4" algn="ctr" rtl="0">
              <a:lnSpc>
                <a:spcPct val="100000"/>
              </a:lnSpc>
              <a:spcBef>
                <a:spcPts val="0"/>
              </a:spcBef>
              <a:spcAft>
                <a:spcPts val="0"/>
              </a:spcAft>
              <a:buSzPts val="1000"/>
              <a:buNone/>
              <a:defRPr sz="1333"/>
            </a:lvl5pPr>
            <a:lvl6pPr lvl="5" algn="ctr" rtl="0">
              <a:lnSpc>
                <a:spcPct val="100000"/>
              </a:lnSpc>
              <a:spcBef>
                <a:spcPts val="0"/>
              </a:spcBef>
              <a:spcAft>
                <a:spcPts val="0"/>
              </a:spcAft>
              <a:buSzPts val="1000"/>
              <a:buNone/>
              <a:defRPr sz="1333"/>
            </a:lvl6pPr>
            <a:lvl7pPr lvl="6" algn="ctr" rtl="0">
              <a:lnSpc>
                <a:spcPct val="100000"/>
              </a:lnSpc>
              <a:spcBef>
                <a:spcPts val="0"/>
              </a:spcBef>
              <a:spcAft>
                <a:spcPts val="0"/>
              </a:spcAft>
              <a:buSzPts val="1000"/>
              <a:buNone/>
              <a:defRPr sz="1333"/>
            </a:lvl7pPr>
            <a:lvl8pPr lvl="7" algn="ctr" rtl="0">
              <a:lnSpc>
                <a:spcPct val="100000"/>
              </a:lnSpc>
              <a:spcBef>
                <a:spcPts val="0"/>
              </a:spcBef>
              <a:spcAft>
                <a:spcPts val="0"/>
              </a:spcAft>
              <a:buSzPts val="1000"/>
              <a:buNone/>
              <a:defRPr sz="1333"/>
            </a:lvl8pPr>
            <a:lvl9pPr lvl="8" algn="ctr" rtl="0">
              <a:lnSpc>
                <a:spcPct val="100000"/>
              </a:lnSpc>
              <a:spcBef>
                <a:spcPts val="0"/>
              </a:spcBef>
              <a:spcAft>
                <a:spcPts val="0"/>
              </a:spcAft>
              <a:buSzPts val="1000"/>
              <a:buNone/>
              <a:defRPr sz="1333"/>
            </a:lvl9pPr>
          </a:lstStyle>
          <a:p>
            <a:endParaRPr/>
          </a:p>
        </p:txBody>
      </p:sp>
      <p:sp>
        <p:nvSpPr>
          <p:cNvPr id="353" name="Google Shape;353;p18"/>
          <p:cNvSpPr txBox="1">
            <a:spLocks noGrp="1"/>
          </p:cNvSpPr>
          <p:nvPr>
            <p:ph type="ctrTitle" idx="3"/>
          </p:nvPr>
        </p:nvSpPr>
        <p:spPr>
          <a:xfrm flipH="1">
            <a:off x="4752667" y="4166667"/>
            <a:ext cx="2574400" cy="770400"/>
          </a:xfrm>
          <a:prstGeom prst="rect">
            <a:avLst/>
          </a:prstGeom>
        </p:spPr>
        <p:txBody>
          <a:bodyPr spcFirstLastPara="1" wrap="square" lIns="91425" tIns="91425" rIns="91425" bIns="91425" anchor="b" anchorCtr="0">
            <a:normAutofit/>
          </a:bodyPr>
          <a:lstStyle>
            <a:lvl1pPr lvl="0" algn="ctr" rtl="0">
              <a:spcBef>
                <a:spcPts val="0"/>
              </a:spcBef>
              <a:spcAft>
                <a:spcPts val="0"/>
              </a:spcAft>
              <a:buSzPts val="1700"/>
              <a:buNone/>
              <a:defRPr sz="2933">
                <a:solidFill>
                  <a:schemeClr val="accent1"/>
                </a:solidFill>
              </a:defRPr>
            </a:lvl1pPr>
            <a:lvl2pPr lvl="1"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2pPr>
            <a:lvl3pPr lvl="2"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3pPr>
            <a:lvl4pPr lvl="3"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4pPr>
            <a:lvl5pPr lvl="4"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5pPr>
            <a:lvl6pPr lvl="5"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6pPr>
            <a:lvl7pPr lvl="6"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7pPr>
            <a:lvl8pPr lvl="7"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8pPr>
            <a:lvl9pPr lvl="8"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9pPr>
          </a:lstStyle>
          <a:p>
            <a:endParaRPr/>
          </a:p>
        </p:txBody>
      </p:sp>
      <p:sp>
        <p:nvSpPr>
          <p:cNvPr id="354" name="Google Shape;354;p18"/>
          <p:cNvSpPr txBox="1">
            <a:spLocks noGrp="1"/>
          </p:cNvSpPr>
          <p:nvPr>
            <p:ph type="subTitle" idx="4"/>
          </p:nvPr>
        </p:nvSpPr>
        <p:spPr>
          <a:xfrm flipH="1">
            <a:off x="4752683" y="4820033"/>
            <a:ext cx="2574400" cy="12968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1200"/>
              <a:buNone/>
              <a:defRPr sz="1867" b="0"/>
            </a:lvl1pPr>
            <a:lvl2pPr lvl="1" algn="ctr" rtl="0">
              <a:lnSpc>
                <a:spcPct val="100000"/>
              </a:lnSpc>
              <a:spcBef>
                <a:spcPts val="0"/>
              </a:spcBef>
              <a:spcAft>
                <a:spcPts val="0"/>
              </a:spcAft>
              <a:buSzPts val="1000"/>
              <a:buNone/>
              <a:defRPr sz="1333"/>
            </a:lvl2pPr>
            <a:lvl3pPr lvl="2" algn="ctr" rtl="0">
              <a:lnSpc>
                <a:spcPct val="100000"/>
              </a:lnSpc>
              <a:spcBef>
                <a:spcPts val="0"/>
              </a:spcBef>
              <a:spcAft>
                <a:spcPts val="0"/>
              </a:spcAft>
              <a:buSzPts val="1000"/>
              <a:buNone/>
              <a:defRPr sz="1333"/>
            </a:lvl3pPr>
            <a:lvl4pPr lvl="3" algn="ctr" rtl="0">
              <a:lnSpc>
                <a:spcPct val="100000"/>
              </a:lnSpc>
              <a:spcBef>
                <a:spcPts val="0"/>
              </a:spcBef>
              <a:spcAft>
                <a:spcPts val="0"/>
              </a:spcAft>
              <a:buSzPts val="1000"/>
              <a:buNone/>
              <a:defRPr sz="1333"/>
            </a:lvl4pPr>
            <a:lvl5pPr lvl="4" algn="ctr" rtl="0">
              <a:lnSpc>
                <a:spcPct val="100000"/>
              </a:lnSpc>
              <a:spcBef>
                <a:spcPts val="0"/>
              </a:spcBef>
              <a:spcAft>
                <a:spcPts val="0"/>
              </a:spcAft>
              <a:buSzPts val="1000"/>
              <a:buNone/>
              <a:defRPr sz="1333"/>
            </a:lvl5pPr>
            <a:lvl6pPr lvl="5" algn="ctr" rtl="0">
              <a:lnSpc>
                <a:spcPct val="100000"/>
              </a:lnSpc>
              <a:spcBef>
                <a:spcPts val="0"/>
              </a:spcBef>
              <a:spcAft>
                <a:spcPts val="0"/>
              </a:spcAft>
              <a:buSzPts val="1000"/>
              <a:buNone/>
              <a:defRPr sz="1333"/>
            </a:lvl6pPr>
            <a:lvl7pPr lvl="6" algn="ctr" rtl="0">
              <a:lnSpc>
                <a:spcPct val="100000"/>
              </a:lnSpc>
              <a:spcBef>
                <a:spcPts val="0"/>
              </a:spcBef>
              <a:spcAft>
                <a:spcPts val="0"/>
              </a:spcAft>
              <a:buSzPts val="1000"/>
              <a:buNone/>
              <a:defRPr sz="1333"/>
            </a:lvl7pPr>
            <a:lvl8pPr lvl="7" algn="ctr" rtl="0">
              <a:lnSpc>
                <a:spcPct val="100000"/>
              </a:lnSpc>
              <a:spcBef>
                <a:spcPts val="0"/>
              </a:spcBef>
              <a:spcAft>
                <a:spcPts val="0"/>
              </a:spcAft>
              <a:buSzPts val="1000"/>
              <a:buNone/>
              <a:defRPr sz="1333"/>
            </a:lvl8pPr>
            <a:lvl9pPr lvl="8" algn="ctr" rtl="0">
              <a:lnSpc>
                <a:spcPct val="100000"/>
              </a:lnSpc>
              <a:spcBef>
                <a:spcPts val="0"/>
              </a:spcBef>
              <a:spcAft>
                <a:spcPts val="0"/>
              </a:spcAft>
              <a:buSzPts val="1000"/>
              <a:buNone/>
              <a:defRPr sz="1333"/>
            </a:lvl9pPr>
          </a:lstStyle>
          <a:p>
            <a:endParaRPr/>
          </a:p>
        </p:txBody>
      </p:sp>
      <p:sp>
        <p:nvSpPr>
          <p:cNvPr id="355" name="Google Shape;355;p18"/>
          <p:cNvSpPr txBox="1">
            <a:spLocks noGrp="1"/>
          </p:cNvSpPr>
          <p:nvPr>
            <p:ph type="ctrTitle" idx="5"/>
          </p:nvPr>
        </p:nvSpPr>
        <p:spPr>
          <a:xfrm flipH="1">
            <a:off x="8083367" y="4166667"/>
            <a:ext cx="2568400" cy="770400"/>
          </a:xfrm>
          <a:prstGeom prst="rect">
            <a:avLst/>
          </a:prstGeom>
        </p:spPr>
        <p:txBody>
          <a:bodyPr spcFirstLastPara="1" wrap="square" lIns="91425" tIns="91425" rIns="91425" bIns="91425" anchor="b" anchorCtr="0">
            <a:normAutofit/>
          </a:bodyPr>
          <a:lstStyle>
            <a:lvl1pPr lvl="0" algn="ctr" rtl="0">
              <a:spcBef>
                <a:spcPts val="0"/>
              </a:spcBef>
              <a:spcAft>
                <a:spcPts val="0"/>
              </a:spcAft>
              <a:buSzPts val="1700"/>
              <a:buNone/>
              <a:defRPr sz="2933">
                <a:solidFill>
                  <a:schemeClr val="accent3"/>
                </a:solidFill>
              </a:defRPr>
            </a:lvl1pPr>
            <a:lvl2pPr lvl="1"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2pPr>
            <a:lvl3pPr lvl="2"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3pPr>
            <a:lvl4pPr lvl="3"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4pPr>
            <a:lvl5pPr lvl="4"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5pPr>
            <a:lvl6pPr lvl="5"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6pPr>
            <a:lvl7pPr lvl="6"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7pPr>
            <a:lvl8pPr lvl="7"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8pPr>
            <a:lvl9pPr lvl="8" algn="ctr" rtl="0">
              <a:spcBef>
                <a:spcPts val="0"/>
              </a:spcBef>
              <a:spcAft>
                <a:spcPts val="0"/>
              </a:spcAft>
              <a:buClr>
                <a:schemeClr val="dk2"/>
              </a:buClr>
              <a:buSzPts val="1800"/>
              <a:buFont typeface="Gaegu"/>
              <a:buNone/>
              <a:defRPr sz="2400" b="1">
                <a:solidFill>
                  <a:schemeClr val="dk2"/>
                </a:solidFill>
                <a:latin typeface="Gaegu"/>
                <a:ea typeface="Gaegu"/>
                <a:cs typeface="Gaegu"/>
                <a:sym typeface="Gaegu"/>
              </a:defRPr>
            </a:lvl9pPr>
          </a:lstStyle>
          <a:p>
            <a:endParaRPr/>
          </a:p>
        </p:txBody>
      </p:sp>
      <p:sp>
        <p:nvSpPr>
          <p:cNvPr id="356" name="Google Shape;356;p18"/>
          <p:cNvSpPr txBox="1">
            <a:spLocks noGrp="1"/>
          </p:cNvSpPr>
          <p:nvPr>
            <p:ph type="subTitle" idx="6"/>
          </p:nvPr>
        </p:nvSpPr>
        <p:spPr>
          <a:xfrm flipH="1">
            <a:off x="8077351" y="4820033"/>
            <a:ext cx="2574400" cy="12968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1200"/>
              <a:buNone/>
              <a:defRPr sz="1867" b="0"/>
            </a:lvl1pPr>
            <a:lvl2pPr lvl="1" algn="ctr" rtl="0">
              <a:lnSpc>
                <a:spcPct val="100000"/>
              </a:lnSpc>
              <a:spcBef>
                <a:spcPts val="0"/>
              </a:spcBef>
              <a:spcAft>
                <a:spcPts val="0"/>
              </a:spcAft>
              <a:buSzPts val="1000"/>
              <a:buNone/>
              <a:defRPr sz="1333"/>
            </a:lvl2pPr>
            <a:lvl3pPr lvl="2" algn="ctr" rtl="0">
              <a:lnSpc>
                <a:spcPct val="100000"/>
              </a:lnSpc>
              <a:spcBef>
                <a:spcPts val="0"/>
              </a:spcBef>
              <a:spcAft>
                <a:spcPts val="0"/>
              </a:spcAft>
              <a:buSzPts val="1000"/>
              <a:buNone/>
              <a:defRPr sz="1333"/>
            </a:lvl3pPr>
            <a:lvl4pPr lvl="3" algn="ctr" rtl="0">
              <a:lnSpc>
                <a:spcPct val="100000"/>
              </a:lnSpc>
              <a:spcBef>
                <a:spcPts val="0"/>
              </a:spcBef>
              <a:spcAft>
                <a:spcPts val="0"/>
              </a:spcAft>
              <a:buSzPts val="1000"/>
              <a:buNone/>
              <a:defRPr sz="1333"/>
            </a:lvl4pPr>
            <a:lvl5pPr lvl="4" algn="ctr" rtl="0">
              <a:lnSpc>
                <a:spcPct val="100000"/>
              </a:lnSpc>
              <a:spcBef>
                <a:spcPts val="0"/>
              </a:spcBef>
              <a:spcAft>
                <a:spcPts val="0"/>
              </a:spcAft>
              <a:buSzPts val="1000"/>
              <a:buNone/>
              <a:defRPr sz="1333"/>
            </a:lvl5pPr>
            <a:lvl6pPr lvl="5" algn="ctr" rtl="0">
              <a:lnSpc>
                <a:spcPct val="100000"/>
              </a:lnSpc>
              <a:spcBef>
                <a:spcPts val="0"/>
              </a:spcBef>
              <a:spcAft>
                <a:spcPts val="0"/>
              </a:spcAft>
              <a:buSzPts val="1000"/>
              <a:buNone/>
              <a:defRPr sz="1333"/>
            </a:lvl6pPr>
            <a:lvl7pPr lvl="6" algn="ctr" rtl="0">
              <a:lnSpc>
                <a:spcPct val="100000"/>
              </a:lnSpc>
              <a:spcBef>
                <a:spcPts val="0"/>
              </a:spcBef>
              <a:spcAft>
                <a:spcPts val="0"/>
              </a:spcAft>
              <a:buSzPts val="1000"/>
              <a:buNone/>
              <a:defRPr sz="1333"/>
            </a:lvl7pPr>
            <a:lvl8pPr lvl="7" algn="ctr" rtl="0">
              <a:lnSpc>
                <a:spcPct val="100000"/>
              </a:lnSpc>
              <a:spcBef>
                <a:spcPts val="0"/>
              </a:spcBef>
              <a:spcAft>
                <a:spcPts val="0"/>
              </a:spcAft>
              <a:buSzPts val="1000"/>
              <a:buNone/>
              <a:defRPr sz="1333"/>
            </a:lvl8pPr>
            <a:lvl9pPr lvl="8" algn="ctr" rtl="0">
              <a:lnSpc>
                <a:spcPct val="100000"/>
              </a:lnSpc>
              <a:spcBef>
                <a:spcPts val="0"/>
              </a:spcBef>
              <a:spcAft>
                <a:spcPts val="0"/>
              </a:spcAft>
              <a:buSzPts val="1000"/>
              <a:buNone/>
              <a:defRPr sz="1333"/>
            </a:lvl9pPr>
          </a:lstStyle>
          <a:p>
            <a:endParaRPr/>
          </a:p>
        </p:txBody>
      </p:sp>
      <p:sp>
        <p:nvSpPr>
          <p:cNvPr id="357" name="Google Shape;357;p18"/>
          <p:cNvSpPr/>
          <p:nvPr/>
        </p:nvSpPr>
        <p:spPr>
          <a:xfrm rot="10800000" flipH="1">
            <a:off x="11457343" y="2083731"/>
            <a:ext cx="869860" cy="5357461"/>
          </a:xfrm>
          <a:custGeom>
            <a:avLst/>
            <a:gdLst/>
            <a:ahLst/>
            <a:cxnLst/>
            <a:rect l="l" t="t" r="r" b="b"/>
            <a:pathLst>
              <a:path w="18600" h="104829" extrusionOk="0">
                <a:moveTo>
                  <a:pt x="16360" y="1"/>
                </a:moveTo>
                <a:cubicBezTo>
                  <a:pt x="9962" y="1"/>
                  <a:pt x="4427" y="11283"/>
                  <a:pt x="3561" y="15670"/>
                </a:cubicBezTo>
                <a:cubicBezTo>
                  <a:pt x="1512" y="25875"/>
                  <a:pt x="9370" y="33772"/>
                  <a:pt x="10762" y="43341"/>
                </a:cubicBezTo>
                <a:cubicBezTo>
                  <a:pt x="11936" y="51337"/>
                  <a:pt x="10921" y="59692"/>
                  <a:pt x="7719" y="67132"/>
                </a:cubicBezTo>
                <a:cubicBezTo>
                  <a:pt x="5172" y="73120"/>
                  <a:pt x="1214" y="78750"/>
                  <a:pt x="657" y="85254"/>
                </a:cubicBezTo>
                <a:cubicBezTo>
                  <a:pt x="0" y="93609"/>
                  <a:pt x="9111" y="104590"/>
                  <a:pt x="18560" y="104829"/>
                </a:cubicBezTo>
                <a:lnTo>
                  <a:pt x="18560" y="104829"/>
                </a:lnTo>
                <a:cubicBezTo>
                  <a:pt x="18600" y="104809"/>
                  <a:pt x="18341" y="372"/>
                  <a:pt x="18341" y="372"/>
                </a:cubicBezTo>
                <a:cubicBezTo>
                  <a:pt x="17675" y="118"/>
                  <a:pt x="17013" y="1"/>
                  <a:pt x="16360" y="1"/>
                </a:cubicBez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58" name="Google Shape;358;p18"/>
          <p:cNvSpPr/>
          <p:nvPr/>
        </p:nvSpPr>
        <p:spPr>
          <a:xfrm rot="-5400000">
            <a:off x="11331837" y="3013345"/>
            <a:ext cx="344784" cy="303995"/>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59" name="Google Shape;359;p18"/>
          <p:cNvSpPr/>
          <p:nvPr/>
        </p:nvSpPr>
        <p:spPr>
          <a:xfrm rot="-5400000">
            <a:off x="11051645" y="3324096"/>
            <a:ext cx="230463" cy="203209"/>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4"/>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0" name="Google Shape;360;p18"/>
          <p:cNvSpPr/>
          <p:nvPr/>
        </p:nvSpPr>
        <p:spPr>
          <a:xfrm rot="-5400000">
            <a:off x="-903988" y="268931"/>
            <a:ext cx="2244243" cy="955533"/>
          </a:xfrm>
          <a:custGeom>
            <a:avLst/>
            <a:gdLst/>
            <a:ahLst/>
            <a:cxnLst/>
            <a:rect l="l" t="t" r="r" b="b"/>
            <a:pathLst>
              <a:path w="17010" h="7242" extrusionOk="0">
                <a:moveTo>
                  <a:pt x="1" y="1"/>
                </a:moveTo>
                <a:cubicBezTo>
                  <a:pt x="677" y="4099"/>
                  <a:pt x="4238" y="7242"/>
                  <a:pt x="8515" y="7242"/>
                </a:cubicBezTo>
                <a:cubicBezTo>
                  <a:pt x="12792" y="7242"/>
                  <a:pt x="16333" y="4099"/>
                  <a:pt x="17009" y="1"/>
                </a:cubicBezTo>
                <a:close/>
              </a:path>
            </a:pathLst>
          </a:custGeom>
          <a:solidFill>
            <a:schemeClr val="accent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361" name="Google Shape;361;p18"/>
          <p:cNvGrpSpPr/>
          <p:nvPr/>
        </p:nvGrpSpPr>
        <p:grpSpPr>
          <a:xfrm rot="10172325" flipH="1">
            <a:off x="216334" y="1432200"/>
            <a:ext cx="409023" cy="635113"/>
            <a:chOff x="4452729" y="352000"/>
            <a:chExt cx="225596" cy="350302"/>
          </a:xfrm>
        </p:grpSpPr>
        <p:sp>
          <p:nvSpPr>
            <p:cNvPr id="362" name="Google Shape;362;p18"/>
            <p:cNvSpPr/>
            <p:nvPr/>
          </p:nvSpPr>
          <p:spPr>
            <a:xfrm>
              <a:off x="4624575" y="352000"/>
              <a:ext cx="53750" cy="53225"/>
            </a:xfrm>
            <a:custGeom>
              <a:avLst/>
              <a:gdLst/>
              <a:ahLst/>
              <a:cxnLst/>
              <a:rect l="l" t="t" r="r" b="b"/>
              <a:pathLst>
                <a:path w="2150" h="2129" extrusionOk="0">
                  <a:moveTo>
                    <a:pt x="1075" y="0"/>
                  </a:moveTo>
                  <a:cubicBezTo>
                    <a:pt x="478" y="0"/>
                    <a:pt x="1" y="478"/>
                    <a:pt x="1" y="1075"/>
                  </a:cubicBezTo>
                  <a:cubicBezTo>
                    <a:pt x="1" y="1671"/>
                    <a:pt x="478" y="2129"/>
                    <a:pt x="1075" y="2129"/>
                  </a:cubicBezTo>
                  <a:cubicBezTo>
                    <a:pt x="1672" y="2129"/>
                    <a:pt x="2149" y="1671"/>
                    <a:pt x="2149" y="1075"/>
                  </a:cubicBezTo>
                  <a:cubicBezTo>
                    <a:pt x="2149" y="478"/>
                    <a:pt x="1672" y="0"/>
                    <a:pt x="107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63" name="Google Shape;363;p18"/>
            <p:cNvSpPr/>
            <p:nvPr/>
          </p:nvSpPr>
          <p:spPr>
            <a:xfrm>
              <a:off x="4452729" y="426046"/>
              <a:ext cx="62200" cy="62700"/>
            </a:xfrm>
            <a:custGeom>
              <a:avLst/>
              <a:gdLst/>
              <a:ahLst/>
              <a:cxnLst/>
              <a:rect l="l" t="t" r="r" b="b"/>
              <a:pathLst>
                <a:path w="2488" h="2508" extrusionOk="0">
                  <a:moveTo>
                    <a:pt x="1254" y="1"/>
                  </a:moveTo>
                  <a:cubicBezTo>
                    <a:pt x="557" y="1"/>
                    <a:pt x="0" y="558"/>
                    <a:pt x="0" y="1254"/>
                  </a:cubicBezTo>
                  <a:cubicBezTo>
                    <a:pt x="0" y="1950"/>
                    <a:pt x="557" y="2507"/>
                    <a:pt x="1254" y="2507"/>
                  </a:cubicBezTo>
                  <a:cubicBezTo>
                    <a:pt x="1950" y="2507"/>
                    <a:pt x="2487" y="1950"/>
                    <a:pt x="2487" y="1254"/>
                  </a:cubicBezTo>
                  <a:cubicBezTo>
                    <a:pt x="2487" y="558"/>
                    <a:pt x="1950" y="1"/>
                    <a:pt x="125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64" name="Google Shape;364;p18"/>
            <p:cNvSpPr/>
            <p:nvPr/>
          </p:nvSpPr>
          <p:spPr>
            <a:xfrm>
              <a:off x="4503927" y="572104"/>
              <a:ext cx="130152" cy="130197"/>
            </a:xfrm>
            <a:custGeom>
              <a:avLst/>
              <a:gdLst/>
              <a:ahLst/>
              <a:cxnLst/>
              <a:rect l="l" t="t" r="r" b="b"/>
              <a:pathLst>
                <a:path w="2845" h="2846" extrusionOk="0">
                  <a:moveTo>
                    <a:pt x="1432" y="1"/>
                  </a:moveTo>
                  <a:cubicBezTo>
                    <a:pt x="656" y="1"/>
                    <a:pt x="0" y="618"/>
                    <a:pt x="0" y="1413"/>
                  </a:cubicBezTo>
                  <a:cubicBezTo>
                    <a:pt x="0" y="2189"/>
                    <a:pt x="637" y="2846"/>
                    <a:pt x="1432" y="2846"/>
                  </a:cubicBezTo>
                  <a:cubicBezTo>
                    <a:pt x="2188" y="2846"/>
                    <a:pt x="2845" y="2209"/>
                    <a:pt x="2845" y="1413"/>
                  </a:cubicBezTo>
                  <a:cubicBezTo>
                    <a:pt x="2845" y="618"/>
                    <a:pt x="2188" y="1"/>
                    <a:pt x="14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365" name="Google Shape;365;p18"/>
          <p:cNvSpPr txBox="1">
            <a:spLocks noGrp="1"/>
          </p:cNvSpPr>
          <p:nvPr>
            <p:ph type="title" idx="7" hasCustomPrompt="1"/>
          </p:nvPr>
        </p:nvSpPr>
        <p:spPr>
          <a:xfrm>
            <a:off x="2000633" y="2884833"/>
            <a:ext cx="1396000" cy="770400"/>
          </a:xfrm>
          <a:prstGeom prst="rect">
            <a:avLst/>
          </a:prstGeom>
          <a:noFill/>
        </p:spPr>
        <p:txBody>
          <a:bodyPr spcFirstLastPara="1" wrap="square" lIns="91425" tIns="91425" rIns="91425" bIns="91425" anchor="ctr" anchorCtr="0">
            <a:normAutofit/>
          </a:bodyPr>
          <a:lstStyle>
            <a:lvl1pPr lvl="0" algn="ctr" rtl="0">
              <a:spcBef>
                <a:spcPts val="0"/>
              </a:spcBef>
              <a:spcAft>
                <a:spcPts val="0"/>
              </a:spcAft>
              <a:buSzPts val="3600"/>
              <a:buNone/>
              <a:defRPr sz="4800">
                <a:solidFill>
                  <a:schemeClr val="accent4"/>
                </a:solidFill>
              </a:defRPr>
            </a:lvl1pPr>
            <a:lvl2pPr lvl="1"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2pPr>
            <a:lvl3pPr lvl="2"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3pPr>
            <a:lvl4pPr lvl="3"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4pPr>
            <a:lvl5pPr lvl="4"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5pPr>
            <a:lvl6pPr lvl="5"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6pPr>
            <a:lvl7pPr lvl="6"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7pPr>
            <a:lvl8pPr lvl="7"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8pPr>
            <a:lvl9pPr lvl="8"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9pPr>
          </a:lstStyle>
          <a:p>
            <a:r>
              <a:t>xx%</a:t>
            </a:r>
          </a:p>
        </p:txBody>
      </p:sp>
      <p:sp>
        <p:nvSpPr>
          <p:cNvPr id="366" name="Google Shape;366;p18"/>
          <p:cNvSpPr txBox="1">
            <a:spLocks noGrp="1"/>
          </p:cNvSpPr>
          <p:nvPr>
            <p:ph type="title" idx="8" hasCustomPrompt="1"/>
          </p:nvPr>
        </p:nvSpPr>
        <p:spPr>
          <a:xfrm>
            <a:off x="5388900" y="2884833"/>
            <a:ext cx="1396000" cy="770400"/>
          </a:xfrm>
          <a:prstGeom prst="rect">
            <a:avLst/>
          </a:prstGeom>
          <a:noFill/>
        </p:spPr>
        <p:txBody>
          <a:bodyPr spcFirstLastPara="1" wrap="square" lIns="91425" tIns="91425" rIns="91425" bIns="91425" anchor="ctr" anchorCtr="0">
            <a:normAutofit/>
          </a:bodyPr>
          <a:lstStyle>
            <a:lvl1pPr lvl="0" algn="ctr" rtl="0">
              <a:spcBef>
                <a:spcPts val="0"/>
              </a:spcBef>
              <a:spcAft>
                <a:spcPts val="0"/>
              </a:spcAft>
              <a:buSzPts val="3600"/>
              <a:buNone/>
              <a:defRPr sz="4800">
                <a:solidFill>
                  <a:schemeClr val="accent1"/>
                </a:solidFill>
              </a:defRPr>
            </a:lvl1pPr>
            <a:lvl2pPr lvl="1"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2pPr>
            <a:lvl3pPr lvl="2"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3pPr>
            <a:lvl4pPr lvl="3"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4pPr>
            <a:lvl5pPr lvl="4"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5pPr>
            <a:lvl6pPr lvl="5"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6pPr>
            <a:lvl7pPr lvl="6"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7pPr>
            <a:lvl8pPr lvl="7"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8pPr>
            <a:lvl9pPr lvl="8"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9pPr>
          </a:lstStyle>
          <a:p>
            <a:r>
              <a:t>xx%</a:t>
            </a:r>
          </a:p>
        </p:txBody>
      </p:sp>
      <p:sp>
        <p:nvSpPr>
          <p:cNvPr id="367" name="Google Shape;367;p18"/>
          <p:cNvSpPr txBox="1">
            <a:spLocks noGrp="1"/>
          </p:cNvSpPr>
          <p:nvPr>
            <p:ph type="title" idx="9" hasCustomPrompt="1"/>
          </p:nvPr>
        </p:nvSpPr>
        <p:spPr>
          <a:xfrm>
            <a:off x="8666583" y="2884833"/>
            <a:ext cx="1396000" cy="770400"/>
          </a:xfrm>
          <a:prstGeom prst="rect">
            <a:avLst/>
          </a:prstGeom>
          <a:noFill/>
        </p:spPr>
        <p:txBody>
          <a:bodyPr spcFirstLastPara="1" wrap="square" lIns="91425" tIns="91425" rIns="91425" bIns="91425" anchor="ctr" anchorCtr="0">
            <a:normAutofit/>
          </a:bodyPr>
          <a:lstStyle>
            <a:lvl1pPr lvl="0" algn="ctr" rtl="0">
              <a:spcBef>
                <a:spcPts val="0"/>
              </a:spcBef>
              <a:spcAft>
                <a:spcPts val="0"/>
              </a:spcAft>
              <a:buSzPts val="3600"/>
              <a:buNone/>
              <a:defRPr sz="4800">
                <a:solidFill>
                  <a:schemeClr val="accent3"/>
                </a:solidFill>
              </a:defRPr>
            </a:lvl1pPr>
            <a:lvl2pPr lvl="1"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2pPr>
            <a:lvl3pPr lvl="2"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3pPr>
            <a:lvl4pPr lvl="3"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4pPr>
            <a:lvl5pPr lvl="4"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5pPr>
            <a:lvl6pPr lvl="5"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6pPr>
            <a:lvl7pPr lvl="6"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7pPr>
            <a:lvl8pPr lvl="7"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8pPr>
            <a:lvl9pPr lvl="8"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9pPr>
          </a:lstStyle>
          <a:p>
            <a:r>
              <a:t>xx%</a:t>
            </a:r>
          </a:p>
        </p:txBody>
      </p:sp>
    </p:spTree>
    <p:extLst>
      <p:ext uri="{BB962C8B-B14F-4D97-AF65-F5344CB8AC3E}">
        <p14:creationId xmlns:p14="http://schemas.microsoft.com/office/powerpoint/2010/main" val="335733708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Section title and description 1">
  <p:cSld name="Section title and description 1">
    <p:bg>
      <p:bgPr>
        <a:blipFill>
          <a:blip r:embed="rId2">
            <a:alphaModFix/>
          </a:blip>
          <a:stretch>
            <a:fillRect/>
          </a:stretch>
        </a:blipFill>
        <a:effectLst/>
      </p:bgPr>
    </p:bg>
    <p:spTree>
      <p:nvGrpSpPr>
        <p:cNvPr id="1" name="Shape 368"/>
        <p:cNvGrpSpPr/>
        <p:nvPr/>
      </p:nvGrpSpPr>
      <p:grpSpPr>
        <a:xfrm>
          <a:off x="0" y="0"/>
          <a:ext cx="0" cy="0"/>
          <a:chOff x="0" y="0"/>
          <a:chExt cx="0" cy="0"/>
        </a:xfrm>
      </p:grpSpPr>
      <p:grpSp>
        <p:nvGrpSpPr>
          <p:cNvPr id="369" name="Google Shape;369;p19"/>
          <p:cNvGrpSpPr/>
          <p:nvPr/>
        </p:nvGrpSpPr>
        <p:grpSpPr>
          <a:xfrm>
            <a:off x="3474671" y="726670"/>
            <a:ext cx="5183652" cy="3797481"/>
            <a:chOff x="2862041" y="521294"/>
            <a:chExt cx="3419897" cy="2848111"/>
          </a:xfrm>
        </p:grpSpPr>
        <p:grpSp>
          <p:nvGrpSpPr>
            <p:cNvPr id="370" name="Google Shape;370;p19"/>
            <p:cNvGrpSpPr/>
            <p:nvPr/>
          </p:nvGrpSpPr>
          <p:grpSpPr>
            <a:xfrm>
              <a:off x="2862041" y="799915"/>
              <a:ext cx="3419897" cy="2569490"/>
              <a:chOff x="4696250" y="3980150"/>
              <a:chExt cx="1525650" cy="1146275"/>
            </a:xfrm>
          </p:grpSpPr>
          <p:sp>
            <p:nvSpPr>
              <p:cNvPr id="371" name="Google Shape;371;p19"/>
              <p:cNvSpPr/>
              <p:nvPr/>
            </p:nvSpPr>
            <p:spPr>
              <a:xfrm>
                <a:off x="4709325" y="3987125"/>
                <a:ext cx="1503850" cy="1131650"/>
              </a:xfrm>
              <a:custGeom>
                <a:avLst/>
                <a:gdLst/>
                <a:ahLst/>
                <a:cxnLst/>
                <a:rect l="l" t="t" r="r" b="b"/>
                <a:pathLst>
                  <a:path w="60154" h="45266" extrusionOk="0">
                    <a:moveTo>
                      <a:pt x="35770" y="0"/>
                    </a:moveTo>
                    <a:cubicBezTo>
                      <a:pt x="33608" y="0"/>
                      <a:pt x="21525" y="487"/>
                      <a:pt x="18796" y="880"/>
                    </a:cubicBezTo>
                    <a:cubicBezTo>
                      <a:pt x="15979" y="1285"/>
                      <a:pt x="1040" y="1285"/>
                      <a:pt x="663" y="1313"/>
                    </a:cubicBezTo>
                    <a:cubicBezTo>
                      <a:pt x="663" y="1313"/>
                      <a:pt x="21" y="39657"/>
                      <a:pt x="7" y="41861"/>
                    </a:cubicBezTo>
                    <a:cubicBezTo>
                      <a:pt x="1" y="42895"/>
                      <a:pt x="464" y="43171"/>
                      <a:pt x="961" y="43171"/>
                    </a:cubicBezTo>
                    <a:cubicBezTo>
                      <a:pt x="1530" y="43171"/>
                      <a:pt x="2141" y="42810"/>
                      <a:pt x="2142" y="42810"/>
                    </a:cubicBezTo>
                    <a:lnTo>
                      <a:pt x="2142" y="42810"/>
                    </a:lnTo>
                    <a:lnTo>
                      <a:pt x="1374" y="45251"/>
                    </a:lnTo>
                    <a:cubicBezTo>
                      <a:pt x="1374" y="45251"/>
                      <a:pt x="2679" y="45265"/>
                      <a:pt x="4452" y="45265"/>
                    </a:cubicBezTo>
                    <a:cubicBezTo>
                      <a:pt x="7898" y="45265"/>
                      <a:pt x="13113" y="45211"/>
                      <a:pt x="13942" y="44888"/>
                    </a:cubicBezTo>
                    <a:cubicBezTo>
                      <a:pt x="15197" y="44386"/>
                      <a:pt x="31936" y="44763"/>
                      <a:pt x="35046" y="44344"/>
                    </a:cubicBezTo>
                    <a:cubicBezTo>
                      <a:pt x="38129" y="43926"/>
                      <a:pt x="60154" y="43926"/>
                      <a:pt x="60154" y="43926"/>
                    </a:cubicBezTo>
                    <a:lnTo>
                      <a:pt x="59917" y="41624"/>
                    </a:lnTo>
                    <a:cubicBezTo>
                      <a:pt x="59917" y="41624"/>
                      <a:pt x="59735" y="32962"/>
                      <a:pt x="59666" y="30535"/>
                    </a:cubicBezTo>
                    <a:cubicBezTo>
                      <a:pt x="59596" y="28108"/>
                      <a:pt x="58801" y="2136"/>
                      <a:pt x="58801" y="2136"/>
                    </a:cubicBezTo>
                    <a:lnTo>
                      <a:pt x="56820" y="1647"/>
                    </a:lnTo>
                    <a:lnTo>
                      <a:pt x="56499" y="755"/>
                    </a:lnTo>
                    <a:cubicBezTo>
                      <a:pt x="56499" y="755"/>
                      <a:pt x="50543" y="308"/>
                      <a:pt x="49525" y="239"/>
                    </a:cubicBezTo>
                    <a:cubicBezTo>
                      <a:pt x="48521" y="169"/>
                      <a:pt x="37571" y="43"/>
                      <a:pt x="35925" y="2"/>
                    </a:cubicBezTo>
                    <a:cubicBezTo>
                      <a:pt x="35881" y="1"/>
                      <a:pt x="35829" y="0"/>
                      <a:pt x="35770"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72" name="Google Shape;372;p19"/>
              <p:cNvSpPr/>
              <p:nvPr/>
            </p:nvSpPr>
            <p:spPr>
              <a:xfrm>
                <a:off x="4696250" y="3980150"/>
                <a:ext cx="1459750" cy="1096075"/>
              </a:xfrm>
              <a:custGeom>
                <a:avLst/>
                <a:gdLst/>
                <a:ahLst/>
                <a:cxnLst/>
                <a:rect l="l" t="t" r="r" b="b"/>
                <a:pathLst>
                  <a:path w="58390" h="43843" extrusionOk="0">
                    <a:moveTo>
                      <a:pt x="35122" y="602"/>
                    </a:moveTo>
                    <a:cubicBezTo>
                      <a:pt x="36655" y="602"/>
                      <a:pt x="38189" y="627"/>
                      <a:pt x="39726" y="685"/>
                    </a:cubicBezTo>
                    <a:cubicBezTo>
                      <a:pt x="41880" y="774"/>
                      <a:pt x="44007" y="801"/>
                      <a:pt x="46142" y="801"/>
                    </a:cubicBezTo>
                    <a:cubicBezTo>
                      <a:pt x="46676" y="801"/>
                      <a:pt x="47211" y="799"/>
                      <a:pt x="47747" y="797"/>
                    </a:cubicBezTo>
                    <a:cubicBezTo>
                      <a:pt x="47948" y="792"/>
                      <a:pt x="48149" y="790"/>
                      <a:pt x="48350" y="790"/>
                    </a:cubicBezTo>
                    <a:cubicBezTo>
                      <a:pt x="49492" y="790"/>
                      <a:pt x="50613" y="855"/>
                      <a:pt x="51764" y="950"/>
                    </a:cubicBezTo>
                    <a:cubicBezTo>
                      <a:pt x="52503" y="1006"/>
                      <a:pt x="53256" y="1076"/>
                      <a:pt x="54009" y="1145"/>
                    </a:cubicBezTo>
                    <a:cubicBezTo>
                      <a:pt x="54372" y="1173"/>
                      <a:pt x="54763" y="1215"/>
                      <a:pt x="55125" y="1229"/>
                    </a:cubicBezTo>
                    <a:cubicBezTo>
                      <a:pt x="55160" y="1230"/>
                      <a:pt x="55199" y="1231"/>
                      <a:pt x="55242" y="1231"/>
                    </a:cubicBezTo>
                    <a:cubicBezTo>
                      <a:pt x="55383" y="1231"/>
                      <a:pt x="55565" y="1225"/>
                      <a:pt x="55751" y="1225"/>
                    </a:cubicBezTo>
                    <a:cubicBezTo>
                      <a:pt x="56056" y="1225"/>
                      <a:pt x="56371" y="1241"/>
                      <a:pt x="56534" y="1327"/>
                    </a:cubicBezTo>
                    <a:cubicBezTo>
                      <a:pt x="57064" y="1606"/>
                      <a:pt x="56980" y="2847"/>
                      <a:pt x="56994" y="3279"/>
                    </a:cubicBezTo>
                    <a:cubicBezTo>
                      <a:pt x="56994" y="4116"/>
                      <a:pt x="57008" y="4939"/>
                      <a:pt x="57022" y="5776"/>
                    </a:cubicBezTo>
                    <a:cubicBezTo>
                      <a:pt x="57036" y="7366"/>
                      <a:pt x="57078" y="8957"/>
                      <a:pt x="57120" y="10533"/>
                    </a:cubicBezTo>
                    <a:cubicBezTo>
                      <a:pt x="57190" y="13783"/>
                      <a:pt x="57246" y="17019"/>
                      <a:pt x="57343" y="20269"/>
                    </a:cubicBezTo>
                    <a:cubicBezTo>
                      <a:pt x="57522" y="27439"/>
                      <a:pt x="57728" y="34608"/>
                      <a:pt x="57787" y="41792"/>
                    </a:cubicBezTo>
                    <a:lnTo>
                      <a:pt x="57787" y="41792"/>
                    </a:lnTo>
                    <a:cubicBezTo>
                      <a:pt x="42918" y="42486"/>
                      <a:pt x="28022" y="42296"/>
                      <a:pt x="13140" y="42698"/>
                    </a:cubicBezTo>
                    <a:cubicBezTo>
                      <a:pt x="8992" y="42823"/>
                      <a:pt x="4857" y="43002"/>
                      <a:pt x="709" y="43236"/>
                    </a:cubicBezTo>
                    <a:lnTo>
                      <a:pt x="709" y="43236"/>
                    </a:lnTo>
                    <a:cubicBezTo>
                      <a:pt x="534" y="29454"/>
                      <a:pt x="726" y="15671"/>
                      <a:pt x="1272" y="1903"/>
                    </a:cubicBezTo>
                    <a:lnTo>
                      <a:pt x="1272" y="1903"/>
                    </a:lnTo>
                    <a:cubicBezTo>
                      <a:pt x="7832" y="1671"/>
                      <a:pt x="14405" y="1516"/>
                      <a:pt x="20951" y="1117"/>
                    </a:cubicBezTo>
                    <a:cubicBezTo>
                      <a:pt x="25681" y="844"/>
                      <a:pt x="30394" y="602"/>
                      <a:pt x="35122" y="602"/>
                    </a:cubicBezTo>
                    <a:close/>
                    <a:moveTo>
                      <a:pt x="34303" y="1"/>
                    </a:moveTo>
                    <a:cubicBezTo>
                      <a:pt x="34214" y="1"/>
                      <a:pt x="34124" y="1"/>
                      <a:pt x="34035" y="2"/>
                    </a:cubicBezTo>
                    <a:cubicBezTo>
                      <a:pt x="30855" y="2"/>
                      <a:pt x="27661" y="141"/>
                      <a:pt x="24494" y="336"/>
                    </a:cubicBezTo>
                    <a:cubicBezTo>
                      <a:pt x="16683" y="783"/>
                      <a:pt x="8858" y="1062"/>
                      <a:pt x="1047" y="1327"/>
                    </a:cubicBezTo>
                    <a:cubicBezTo>
                      <a:pt x="879" y="1327"/>
                      <a:pt x="740" y="1466"/>
                      <a:pt x="740" y="1620"/>
                    </a:cubicBezTo>
                    <a:cubicBezTo>
                      <a:pt x="182" y="15554"/>
                      <a:pt x="0" y="29517"/>
                      <a:pt x="168" y="43451"/>
                    </a:cubicBezTo>
                    <a:cubicBezTo>
                      <a:pt x="144" y="43599"/>
                      <a:pt x="238" y="43684"/>
                      <a:pt x="354" y="43706"/>
                    </a:cubicBezTo>
                    <a:lnTo>
                      <a:pt x="354" y="43706"/>
                    </a:lnTo>
                    <a:cubicBezTo>
                      <a:pt x="396" y="43785"/>
                      <a:pt x="474" y="43842"/>
                      <a:pt x="587" y="43842"/>
                    </a:cubicBezTo>
                    <a:cubicBezTo>
                      <a:pt x="592" y="43842"/>
                      <a:pt x="596" y="43842"/>
                      <a:pt x="600" y="43842"/>
                    </a:cubicBezTo>
                    <a:cubicBezTo>
                      <a:pt x="15567" y="42935"/>
                      <a:pt x="30576" y="43103"/>
                      <a:pt x="45557" y="42796"/>
                    </a:cubicBezTo>
                    <a:cubicBezTo>
                      <a:pt x="49741" y="42698"/>
                      <a:pt x="53926" y="42559"/>
                      <a:pt x="58096" y="42377"/>
                    </a:cubicBezTo>
                    <a:cubicBezTo>
                      <a:pt x="58250" y="42377"/>
                      <a:pt x="58389" y="42252"/>
                      <a:pt x="58389" y="42071"/>
                    </a:cubicBezTo>
                    <a:cubicBezTo>
                      <a:pt x="58334" y="35347"/>
                      <a:pt x="58166" y="28610"/>
                      <a:pt x="57985" y="21901"/>
                    </a:cubicBezTo>
                    <a:cubicBezTo>
                      <a:pt x="57901" y="18539"/>
                      <a:pt x="57817" y="15192"/>
                      <a:pt x="57748" y="11830"/>
                    </a:cubicBezTo>
                    <a:cubicBezTo>
                      <a:pt x="57678" y="8622"/>
                      <a:pt x="57720" y="5386"/>
                      <a:pt x="57552" y="2205"/>
                    </a:cubicBezTo>
                    <a:cubicBezTo>
                      <a:pt x="57497" y="1229"/>
                      <a:pt x="57497" y="825"/>
                      <a:pt x="56423" y="755"/>
                    </a:cubicBezTo>
                    <a:cubicBezTo>
                      <a:pt x="54763" y="643"/>
                      <a:pt x="53117" y="490"/>
                      <a:pt x="51471" y="350"/>
                    </a:cubicBezTo>
                    <a:cubicBezTo>
                      <a:pt x="50291" y="259"/>
                      <a:pt x="49116" y="234"/>
                      <a:pt x="47942" y="234"/>
                    </a:cubicBezTo>
                    <a:cubicBezTo>
                      <a:pt x="46570" y="234"/>
                      <a:pt x="45199" y="268"/>
                      <a:pt x="43822" y="268"/>
                    </a:cubicBezTo>
                    <a:cubicBezTo>
                      <a:pt x="43689" y="268"/>
                      <a:pt x="43556" y="267"/>
                      <a:pt x="43422" y="267"/>
                    </a:cubicBezTo>
                    <a:cubicBezTo>
                      <a:pt x="40373" y="226"/>
                      <a:pt x="37351" y="1"/>
                      <a:pt x="343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73" name="Google Shape;373;p19"/>
              <p:cNvSpPr/>
              <p:nvPr/>
            </p:nvSpPr>
            <p:spPr>
              <a:xfrm>
                <a:off x="4736350" y="4027550"/>
                <a:ext cx="1485550" cy="1098875"/>
              </a:xfrm>
              <a:custGeom>
                <a:avLst/>
                <a:gdLst/>
                <a:ahLst/>
                <a:cxnLst/>
                <a:rect l="l" t="t" r="r" b="b"/>
                <a:pathLst>
                  <a:path w="59422" h="43955" extrusionOk="0">
                    <a:moveTo>
                      <a:pt x="56133" y="0"/>
                    </a:moveTo>
                    <a:cubicBezTo>
                      <a:pt x="55797" y="0"/>
                      <a:pt x="55642" y="521"/>
                      <a:pt x="56018" y="588"/>
                    </a:cubicBezTo>
                    <a:cubicBezTo>
                      <a:pt x="56509" y="662"/>
                      <a:pt x="56988" y="736"/>
                      <a:pt x="57476" y="809"/>
                    </a:cubicBezTo>
                    <a:lnTo>
                      <a:pt x="57476" y="809"/>
                    </a:lnTo>
                    <a:cubicBezTo>
                      <a:pt x="57824" y="12401"/>
                      <a:pt x="58252" y="23965"/>
                      <a:pt x="58487" y="35544"/>
                    </a:cubicBezTo>
                    <a:cubicBezTo>
                      <a:pt x="58541" y="37756"/>
                      <a:pt x="58530" y="39943"/>
                      <a:pt x="58781" y="42153"/>
                    </a:cubicBezTo>
                    <a:lnTo>
                      <a:pt x="58781" y="42153"/>
                    </a:lnTo>
                    <a:cubicBezTo>
                      <a:pt x="58710" y="42162"/>
                      <a:pt x="58637" y="42166"/>
                      <a:pt x="58562" y="42166"/>
                    </a:cubicBezTo>
                    <a:cubicBezTo>
                      <a:pt x="58218" y="42166"/>
                      <a:pt x="57847" y="42086"/>
                      <a:pt x="57552" y="42058"/>
                    </a:cubicBezTo>
                    <a:cubicBezTo>
                      <a:pt x="56716" y="41988"/>
                      <a:pt x="55865" y="42016"/>
                      <a:pt x="55000" y="41988"/>
                    </a:cubicBezTo>
                    <a:cubicBezTo>
                      <a:pt x="53856" y="41972"/>
                      <a:pt x="52712" y="41965"/>
                      <a:pt x="51568" y="41965"/>
                    </a:cubicBezTo>
                    <a:cubicBezTo>
                      <a:pt x="50759" y="41965"/>
                      <a:pt x="49950" y="41968"/>
                      <a:pt x="49141" y="41974"/>
                    </a:cubicBezTo>
                    <a:cubicBezTo>
                      <a:pt x="45166" y="42030"/>
                      <a:pt x="41233" y="42295"/>
                      <a:pt x="37257" y="42462"/>
                    </a:cubicBezTo>
                    <a:cubicBezTo>
                      <a:pt x="35961" y="42522"/>
                      <a:pt x="34664" y="42539"/>
                      <a:pt x="33367" y="42539"/>
                    </a:cubicBezTo>
                    <a:cubicBezTo>
                      <a:pt x="31538" y="42539"/>
                      <a:pt x="29709" y="42505"/>
                      <a:pt x="27877" y="42505"/>
                    </a:cubicBezTo>
                    <a:cubicBezTo>
                      <a:pt x="27052" y="42505"/>
                      <a:pt x="26227" y="42512"/>
                      <a:pt x="25401" y="42532"/>
                    </a:cubicBezTo>
                    <a:cubicBezTo>
                      <a:pt x="21481" y="42616"/>
                      <a:pt x="17548" y="42825"/>
                      <a:pt x="13614" y="43020"/>
                    </a:cubicBezTo>
                    <a:cubicBezTo>
                      <a:pt x="9278" y="43224"/>
                      <a:pt x="4941" y="43415"/>
                      <a:pt x="617" y="43424"/>
                    </a:cubicBezTo>
                    <a:lnTo>
                      <a:pt x="617" y="43424"/>
                    </a:lnTo>
                    <a:cubicBezTo>
                      <a:pt x="703" y="42914"/>
                      <a:pt x="800" y="42397"/>
                      <a:pt x="879" y="41890"/>
                    </a:cubicBezTo>
                    <a:cubicBezTo>
                      <a:pt x="947" y="41627"/>
                      <a:pt x="762" y="41467"/>
                      <a:pt x="594" y="41467"/>
                    </a:cubicBezTo>
                    <a:cubicBezTo>
                      <a:pt x="486" y="41467"/>
                      <a:pt x="385" y="41534"/>
                      <a:pt x="363" y="41681"/>
                    </a:cubicBezTo>
                    <a:cubicBezTo>
                      <a:pt x="252" y="42309"/>
                      <a:pt x="140" y="42950"/>
                      <a:pt x="28" y="43578"/>
                    </a:cubicBezTo>
                    <a:cubicBezTo>
                      <a:pt x="0" y="43773"/>
                      <a:pt x="112" y="43955"/>
                      <a:pt x="307" y="43955"/>
                    </a:cubicBezTo>
                    <a:cubicBezTo>
                      <a:pt x="8300" y="43927"/>
                      <a:pt x="16251" y="43327"/>
                      <a:pt x="24229" y="43090"/>
                    </a:cubicBezTo>
                    <a:cubicBezTo>
                      <a:pt x="25440" y="43056"/>
                      <a:pt x="26649" y="43047"/>
                      <a:pt x="27857" y="43047"/>
                    </a:cubicBezTo>
                    <a:cubicBezTo>
                      <a:pt x="29450" y="43047"/>
                      <a:pt x="31040" y="43063"/>
                      <a:pt x="32629" y="43063"/>
                    </a:cubicBezTo>
                    <a:cubicBezTo>
                      <a:pt x="33834" y="43063"/>
                      <a:pt x="35037" y="43054"/>
                      <a:pt x="36239" y="43020"/>
                    </a:cubicBezTo>
                    <a:cubicBezTo>
                      <a:pt x="40200" y="42936"/>
                      <a:pt x="44162" y="42588"/>
                      <a:pt x="48137" y="42518"/>
                    </a:cubicBezTo>
                    <a:cubicBezTo>
                      <a:pt x="49253" y="42497"/>
                      <a:pt x="50372" y="42487"/>
                      <a:pt x="51492" y="42487"/>
                    </a:cubicBezTo>
                    <a:cubicBezTo>
                      <a:pt x="52611" y="42487"/>
                      <a:pt x="53731" y="42497"/>
                      <a:pt x="54846" y="42518"/>
                    </a:cubicBezTo>
                    <a:cubicBezTo>
                      <a:pt x="55767" y="42532"/>
                      <a:pt x="56716" y="42518"/>
                      <a:pt x="57636" y="42602"/>
                    </a:cubicBezTo>
                    <a:cubicBezTo>
                      <a:pt x="57950" y="42629"/>
                      <a:pt x="58311" y="42696"/>
                      <a:pt x="58650" y="42696"/>
                    </a:cubicBezTo>
                    <a:cubicBezTo>
                      <a:pt x="58839" y="42696"/>
                      <a:pt x="59020" y="42675"/>
                      <a:pt x="59184" y="42616"/>
                    </a:cubicBezTo>
                    <a:cubicBezTo>
                      <a:pt x="59296" y="42588"/>
                      <a:pt x="59422" y="42462"/>
                      <a:pt x="59394" y="42337"/>
                    </a:cubicBezTo>
                    <a:cubicBezTo>
                      <a:pt x="59171" y="40481"/>
                      <a:pt x="59143" y="38612"/>
                      <a:pt x="59101" y="36729"/>
                    </a:cubicBezTo>
                    <a:cubicBezTo>
                      <a:pt x="59045" y="33828"/>
                      <a:pt x="58975" y="30955"/>
                      <a:pt x="58892" y="28067"/>
                    </a:cubicBezTo>
                    <a:cubicBezTo>
                      <a:pt x="58738" y="22237"/>
                      <a:pt x="58543" y="16434"/>
                      <a:pt x="58348" y="10604"/>
                    </a:cubicBezTo>
                    <a:cubicBezTo>
                      <a:pt x="58250" y="7256"/>
                      <a:pt x="58138" y="3894"/>
                      <a:pt x="58041" y="547"/>
                    </a:cubicBezTo>
                    <a:cubicBezTo>
                      <a:pt x="58041" y="421"/>
                      <a:pt x="57957" y="282"/>
                      <a:pt x="57831" y="268"/>
                    </a:cubicBezTo>
                    <a:cubicBezTo>
                      <a:pt x="57273" y="184"/>
                      <a:pt x="56730" y="100"/>
                      <a:pt x="56172" y="3"/>
                    </a:cubicBezTo>
                    <a:cubicBezTo>
                      <a:pt x="56158" y="1"/>
                      <a:pt x="56146" y="0"/>
                      <a:pt x="561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374" name="Google Shape;374;p19"/>
            <p:cNvGrpSpPr/>
            <p:nvPr/>
          </p:nvGrpSpPr>
          <p:grpSpPr>
            <a:xfrm>
              <a:off x="3034125" y="521294"/>
              <a:ext cx="2955000" cy="853713"/>
              <a:chOff x="3034125" y="521294"/>
              <a:chExt cx="2955000" cy="853713"/>
            </a:xfrm>
          </p:grpSpPr>
          <p:grpSp>
            <p:nvGrpSpPr>
              <p:cNvPr id="375" name="Google Shape;375;p19"/>
              <p:cNvGrpSpPr/>
              <p:nvPr/>
            </p:nvGrpSpPr>
            <p:grpSpPr>
              <a:xfrm>
                <a:off x="3034125" y="970175"/>
                <a:ext cx="854375" cy="100200"/>
                <a:chOff x="4983250" y="2368850"/>
                <a:chExt cx="854375" cy="100200"/>
              </a:xfrm>
            </p:grpSpPr>
            <p:sp>
              <p:nvSpPr>
                <p:cNvPr id="376" name="Google Shape;376;p19"/>
                <p:cNvSpPr/>
                <p:nvPr/>
              </p:nvSpPr>
              <p:spPr>
                <a:xfrm>
                  <a:off x="4983250" y="2369625"/>
                  <a:ext cx="110225" cy="84950"/>
                </a:xfrm>
                <a:custGeom>
                  <a:avLst/>
                  <a:gdLst/>
                  <a:ahLst/>
                  <a:cxnLst/>
                  <a:rect l="l" t="t" r="r" b="b"/>
                  <a:pathLst>
                    <a:path w="4409" h="3398" extrusionOk="0">
                      <a:moveTo>
                        <a:pt x="2511" y="371"/>
                      </a:moveTo>
                      <a:lnTo>
                        <a:pt x="2511" y="371"/>
                      </a:lnTo>
                      <a:cubicBezTo>
                        <a:pt x="3931" y="435"/>
                        <a:pt x="3857" y="3032"/>
                        <a:pt x="2280" y="3032"/>
                      </a:cubicBezTo>
                      <a:cubicBezTo>
                        <a:pt x="2153" y="3032"/>
                        <a:pt x="2016" y="3015"/>
                        <a:pt x="1869" y="2979"/>
                      </a:cubicBezTo>
                      <a:cubicBezTo>
                        <a:pt x="1102" y="2798"/>
                        <a:pt x="419" y="2268"/>
                        <a:pt x="767" y="1403"/>
                      </a:cubicBezTo>
                      <a:cubicBezTo>
                        <a:pt x="995" y="839"/>
                        <a:pt x="1439" y="389"/>
                        <a:pt x="2038" y="389"/>
                      </a:cubicBezTo>
                      <a:cubicBezTo>
                        <a:pt x="2136" y="389"/>
                        <a:pt x="2238" y="401"/>
                        <a:pt x="2343" y="426"/>
                      </a:cubicBezTo>
                      <a:cubicBezTo>
                        <a:pt x="2360" y="430"/>
                        <a:pt x="2376" y="431"/>
                        <a:pt x="2391" y="431"/>
                      </a:cubicBezTo>
                      <a:cubicBezTo>
                        <a:pt x="2439" y="431"/>
                        <a:pt x="2479" y="413"/>
                        <a:pt x="2511" y="371"/>
                      </a:cubicBezTo>
                      <a:close/>
                      <a:moveTo>
                        <a:pt x="2418" y="0"/>
                      </a:moveTo>
                      <a:cubicBezTo>
                        <a:pt x="2328" y="0"/>
                        <a:pt x="2233" y="7"/>
                        <a:pt x="2134" y="22"/>
                      </a:cubicBezTo>
                      <a:cubicBezTo>
                        <a:pt x="2107" y="20"/>
                        <a:pt x="2081" y="20"/>
                        <a:pt x="2054" y="20"/>
                      </a:cubicBezTo>
                      <a:cubicBezTo>
                        <a:pt x="1241" y="20"/>
                        <a:pt x="592" y="634"/>
                        <a:pt x="349" y="1431"/>
                      </a:cubicBezTo>
                      <a:cubicBezTo>
                        <a:pt x="0" y="2560"/>
                        <a:pt x="1102" y="3286"/>
                        <a:pt x="2134" y="3383"/>
                      </a:cubicBezTo>
                      <a:cubicBezTo>
                        <a:pt x="2212" y="3393"/>
                        <a:pt x="2287" y="3397"/>
                        <a:pt x="2359" y="3397"/>
                      </a:cubicBezTo>
                      <a:cubicBezTo>
                        <a:pt x="4334" y="3397"/>
                        <a:pt x="4409" y="0"/>
                        <a:pt x="241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77" name="Google Shape;377;p19"/>
                <p:cNvSpPr/>
                <p:nvPr/>
              </p:nvSpPr>
              <p:spPr>
                <a:xfrm>
                  <a:off x="5129350" y="2368850"/>
                  <a:ext cx="99400" cy="86275"/>
                </a:xfrm>
                <a:custGeom>
                  <a:avLst/>
                  <a:gdLst/>
                  <a:ahLst/>
                  <a:cxnLst/>
                  <a:rect l="l" t="t" r="r" b="b"/>
                  <a:pathLst>
                    <a:path w="3976" h="3451" extrusionOk="0">
                      <a:moveTo>
                        <a:pt x="2100" y="370"/>
                      </a:moveTo>
                      <a:cubicBezTo>
                        <a:pt x="2195" y="370"/>
                        <a:pt x="2290" y="380"/>
                        <a:pt x="2386" y="402"/>
                      </a:cubicBezTo>
                      <a:cubicBezTo>
                        <a:pt x="3223" y="569"/>
                        <a:pt x="3669" y="1476"/>
                        <a:pt x="3209" y="2243"/>
                      </a:cubicBezTo>
                      <a:cubicBezTo>
                        <a:pt x="2917" y="2710"/>
                        <a:pt x="2313" y="3098"/>
                        <a:pt x="1739" y="3098"/>
                      </a:cubicBezTo>
                      <a:cubicBezTo>
                        <a:pt x="1627" y="3098"/>
                        <a:pt x="1516" y="3084"/>
                        <a:pt x="1409" y="3052"/>
                      </a:cubicBezTo>
                      <a:cubicBezTo>
                        <a:pt x="698" y="2843"/>
                        <a:pt x="335" y="1796"/>
                        <a:pt x="684" y="1155"/>
                      </a:cubicBezTo>
                      <a:cubicBezTo>
                        <a:pt x="698" y="1113"/>
                        <a:pt x="698" y="1057"/>
                        <a:pt x="698" y="1029"/>
                      </a:cubicBezTo>
                      <a:cubicBezTo>
                        <a:pt x="1088" y="675"/>
                        <a:pt x="1578" y="370"/>
                        <a:pt x="2100" y="370"/>
                      </a:cubicBezTo>
                      <a:close/>
                      <a:moveTo>
                        <a:pt x="2125" y="0"/>
                      </a:moveTo>
                      <a:cubicBezTo>
                        <a:pt x="1458" y="0"/>
                        <a:pt x="803" y="375"/>
                        <a:pt x="321" y="876"/>
                      </a:cubicBezTo>
                      <a:cubicBezTo>
                        <a:pt x="252" y="946"/>
                        <a:pt x="252" y="1029"/>
                        <a:pt x="294" y="1085"/>
                      </a:cubicBezTo>
                      <a:cubicBezTo>
                        <a:pt x="1" y="1824"/>
                        <a:pt x="335" y="2870"/>
                        <a:pt x="1033" y="3275"/>
                      </a:cubicBezTo>
                      <a:cubicBezTo>
                        <a:pt x="1241" y="3397"/>
                        <a:pt x="1472" y="3451"/>
                        <a:pt x="1709" y="3451"/>
                      </a:cubicBezTo>
                      <a:cubicBezTo>
                        <a:pt x="2364" y="3451"/>
                        <a:pt x="3063" y="3045"/>
                        <a:pt x="3432" y="2564"/>
                      </a:cubicBezTo>
                      <a:cubicBezTo>
                        <a:pt x="3976" y="1824"/>
                        <a:pt x="3836" y="736"/>
                        <a:pt x="3013" y="248"/>
                      </a:cubicBezTo>
                      <a:cubicBezTo>
                        <a:pt x="2724" y="75"/>
                        <a:pt x="2423" y="0"/>
                        <a:pt x="212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78" name="Google Shape;378;p19"/>
                <p:cNvSpPr/>
                <p:nvPr/>
              </p:nvSpPr>
              <p:spPr>
                <a:xfrm>
                  <a:off x="5277900" y="2371250"/>
                  <a:ext cx="106400" cy="89925"/>
                </a:xfrm>
                <a:custGeom>
                  <a:avLst/>
                  <a:gdLst/>
                  <a:ahLst/>
                  <a:cxnLst/>
                  <a:rect l="l" t="t" r="r" b="b"/>
                  <a:pathLst>
                    <a:path w="4256" h="3597" extrusionOk="0">
                      <a:moveTo>
                        <a:pt x="2118" y="354"/>
                      </a:moveTo>
                      <a:cubicBezTo>
                        <a:pt x="2293" y="354"/>
                        <a:pt x="2469" y="380"/>
                        <a:pt x="2637" y="431"/>
                      </a:cubicBezTo>
                      <a:lnTo>
                        <a:pt x="2679" y="459"/>
                      </a:lnTo>
                      <a:cubicBezTo>
                        <a:pt x="3404" y="891"/>
                        <a:pt x="3809" y="1505"/>
                        <a:pt x="3320" y="2342"/>
                      </a:cubicBezTo>
                      <a:cubicBezTo>
                        <a:pt x="3019" y="2845"/>
                        <a:pt x="2507" y="3225"/>
                        <a:pt x="1957" y="3225"/>
                      </a:cubicBezTo>
                      <a:cubicBezTo>
                        <a:pt x="1744" y="3225"/>
                        <a:pt x="1526" y="3168"/>
                        <a:pt x="1312" y="3039"/>
                      </a:cubicBezTo>
                      <a:cubicBezTo>
                        <a:pt x="628" y="2635"/>
                        <a:pt x="447" y="1700"/>
                        <a:pt x="866" y="1017"/>
                      </a:cubicBezTo>
                      <a:cubicBezTo>
                        <a:pt x="1133" y="564"/>
                        <a:pt x="1622" y="354"/>
                        <a:pt x="2118" y="354"/>
                      </a:cubicBezTo>
                      <a:close/>
                      <a:moveTo>
                        <a:pt x="2120" y="0"/>
                      </a:moveTo>
                      <a:cubicBezTo>
                        <a:pt x="1428" y="0"/>
                        <a:pt x="765" y="357"/>
                        <a:pt x="447" y="1003"/>
                      </a:cubicBezTo>
                      <a:cubicBezTo>
                        <a:pt x="1" y="1896"/>
                        <a:pt x="377" y="3026"/>
                        <a:pt x="1256" y="3444"/>
                      </a:cubicBezTo>
                      <a:cubicBezTo>
                        <a:pt x="1487" y="3549"/>
                        <a:pt x="1715" y="3597"/>
                        <a:pt x="1936" y="3597"/>
                      </a:cubicBezTo>
                      <a:cubicBezTo>
                        <a:pt x="2622" y="3597"/>
                        <a:pt x="3233" y="3139"/>
                        <a:pt x="3613" y="2537"/>
                      </a:cubicBezTo>
                      <a:cubicBezTo>
                        <a:pt x="4255" y="1519"/>
                        <a:pt x="3767" y="710"/>
                        <a:pt x="2860" y="166"/>
                      </a:cubicBezTo>
                      <a:cubicBezTo>
                        <a:pt x="2846" y="152"/>
                        <a:pt x="2818" y="110"/>
                        <a:pt x="2776" y="110"/>
                      </a:cubicBezTo>
                      <a:cubicBezTo>
                        <a:pt x="2561" y="36"/>
                        <a:pt x="2339" y="0"/>
                        <a:pt x="212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79" name="Google Shape;379;p19"/>
                <p:cNvSpPr/>
                <p:nvPr/>
              </p:nvSpPr>
              <p:spPr>
                <a:xfrm>
                  <a:off x="5423325" y="2380850"/>
                  <a:ext cx="109800" cy="85275"/>
                </a:xfrm>
                <a:custGeom>
                  <a:avLst/>
                  <a:gdLst/>
                  <a:ahLst/>
                  <a:cxnLst/>
                  <a:rect l="l" t="t" r="r" b="b"/>
                  <a:pathLst>
                    <a:path w="4392" h="3411" extrusionOk="0">
                      <a:moveTo>
                        <a:pt x="2483" y="368"/>
                      </a:moveTo>
                      <a:cubicBezTo>
                        <a:pt x="3900" y="458"/>
                        <a:pt x="3854" y="3046"/>
                        <a:pt x="2267" y="3046"/>
                      </a:cubicBezTo>
                      <a:cubicBezTo>
                        <a:pt x="2136" y="3046"/>
                        <a:pt x="1994" y="3029"/>
                        <a:pt x="1841" y="2990"/>
                      </a:cubicBezTo>
                      <a:cubicBezTo>
                        <a:pt x="1074" y="2795"/>
                        <a:pt x="391" y="2279"/>
                        <a:pt x="740" y="1400"/>
                      </a:cubicBezTo>
                      <a:cubicBezTo>
                        <a:pt x="968" y="847"/>
                        <a:pt x="1414" y="387"/>
                        <a:pt x="2016" y="387"/>
                      </a:cubicBezTo>
                      <a:cubicBezTo>
                        <a:pt x="2112" y="387"/>
                        <a:pt x="2212" y="399"/>
                        <a:pt x="2316" y="424"/>
                      </a:cubicBezTo>
                      <a:cubicBezTo>
                        <a:pt x="2332" y="427"/>
                        <a:pt x="2348" y="429"/>
                        <a:pt x="2363" y="429"/>
                      </a:cubicBezTo>
                      <a:cubicBezTo>
                        <a:pt x="2411" y="429"/>
                        <a:pt x="2451" y="411"/>
                        <a:pt x="2483" y="368"/>
                      </a:cubicBezTo>
                      <a:close/>
                      <a:moveTo>
                        <a:pt x="2383" y="1"/>
                      </a:moveTo>
                      <a:cubicBezTo>
                        <a:pt x="2299" y="1"/>
                        <a:pt x="2212" y="7"/>
                        <a:pt x="2120" y="19"/>
                      </a:cubicBezTo>
                      <a:cubicBezTo>
                        <a:pt x="2102" y="19"/>
                        <a:pt x="2084" y="18"/>
                        <a:pt x="2066" y="18"/>
                      </a:cubicBezTo>
                      <a:cubicBezTo>
                        <a:pt x="1240" y="18"/>
                        <a:pt x="581" y="637"/>
                        <a:pt x="349" y="1442"/>
                      </a:cubicBezTo>
                      <a:cubicBezTo>
                        <a:pt x="0" y="2572"/>
                        <a:pt x="1088" y="3283"/>
                        <a:pt x="2120" y="3395"/>
                      </a:cubicBezTo>
                      <a:cubicBezTo>
                        <a:pt x="2201" y="3405"/>
                        <a:pt x="2279" y="3410"/>
                        <a:pt x="2354" y="3410"/>
                      </a:cubicBezTo>
                      <a:cubicBezTo>
                        <a:pt x="4315" y="3410"/>
                        <a:pt x="4391" y="1"/>
                        <a:pt x="2383"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80" name="Google Shape;380;p19"/>
                <p:cNvSpPr/>
                <p:nvPr/>
              </p:nvSpPr>
              <p:spPr>
                <a:xfrm>
                  <a:off x="5579900" y="2380425"/>
                  <a:ext cx="99750" cy="86425"/>
                </a:xfrm>
                <a:custGeom>
                  <a:avLst/>
                  <a:gdLst/>
                  <a:ahLst/>
                  <a:cxnLst/>
                  <a:rect l="l" t="t" r="r" b="b"/>
                  <a:pathLst>
                    <a:path w="3990" h="3457" extrusionOk="0">
                      <a:moveTo>
                        <a:pt x="2113" y="354"/>
                      </a:moveTo>
                      <a:cubicBezTo>
                        <a:pt x="2208" y="354"/>
                        <a:pt x="2303" y="364"/>
                        <a:pt x="2399" y="385"/>
                      </a:cubicBezTo>
                      <a:cubicBezTo>
                        <a:pt x="3250" y="580"/>
                        <a:pt x="3683" y="1473"/>
                        <a:pt x="3222" y="2240"/>
                      </a:cubicBezTo>
                      <a:cubicBezTo>
                        <a:pt x="2932" y="2705"/>
                        <a:pt x="2321" y="3083"/>
                        <a:pt x="1755" y="3083"/>
                      </a:cubicBezTo>
                      <a:cubicBezTo>
                        <a:pt x="1641" y="3083"/>
                        <a:pt x="1530" y="3068"/>
                        <a:pt x="1423" y="3035"/>
                      </a:cubicBezTo>
                      <a:cubicBezTo>
                        <a:pt x="712" y="2826"/>
                        <a:pt x="335" y="1780"/>
                        <a:pt x="684" y="1138"/>
                      </a:cubicBezTo>
                      <a:cubicBezTo>
                        <a:pt x="712" y="1110"/>
                        <a:pt x="712" y="1054"/>
                        <a:pt x="712" y="1013"/>
                      </a:cubicBezTo>
                      <a:cubicBezTo>
                        <a:pt x="1090" y="658"/>
                        <a:pt x="1588" y="354"/>
                        <a:pt x="2113" y="354"/>
                      </a:cubicBezTo>
                      <a:close/>
                      <a:moveTo>
                        <a:pt x="2137" y="0"/>
                      </a:moveTo>
                      <a:cubicBezTo>
                        <a:pt x="1463" y="0"/>
                        <a:pt x="805" y="380"/>
                        <a:pt x="321" y="873"/>
                      </a:cubicBezTo>
                      <a:cubicBezTo>
                        <a:pt x="251" y="943"/>
                        <a:pt x="251" y="1040"/>
                        <a:pt x="307" y="1082"/>
                      </a:cubicBezTo>
                      <a:cubicBezTo>
                        <a:pt x="0" y="1836"/>
                        <a:pt x="335" y="2882"/>
                        <a:pt x="1032" y="3286"/>
                      </a:cubicBezTo>
                      <a:cubicBezTo>
                        <a:pt x="1243" y="3404"/>
                        <a:pt x="1476" y="3456"/>
                        <a:pt x="1714" y="3456"/>
                      </a:cubicBezTo>
                      <a:cubicBezTo>
                        <a:pt x="2375" y="3456"/>
                        <a:pt x="3076" y="3057"/>
                        <a:pt x="3445" y="2575"/>
                      </a:cubicBezTo>
                      <a:cubicBezTo>
                        <a:pt x="3989" y="1822"/>
                        <a:pt x="3864" y="720"/>
                        <a:pt x="3027" y="245"/>
                      </a:cubicBezTo>
                      <a:cubicBezTo>
                        <a:pt x="2736" y="74"/>
                        <a:pt x="2435" y="0"/>
                        <a:pt x="21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81" name="Google Shape;381;p19"/>
                <p:cNvSpPr/>
                <p:nvPr/>
              </p:nvSpPr>
              <p:spPr>
                <a:xfrm>
                  <a:off x="5731225" y="2379075"/>
                  <a:ext cx="106400" cy="89975"/>
                </a:xfrm>
                <a:custGeom>
                  <a:avLst/>
                  <a:gdLst/>
                  <a:ahLst/>
                  <a:cxnLst/>
                  <a:rect l="l" t="t" r="r" b="b"/>
                  <a:pathLst>
                    <a:path w="4256" h="3599" extrusionOk="0">
                      <a:moveTo>
                        <a:pt x="2132" y="350"/>
                      </a:moveTo>
                      <a:cubicBezTo>
                        <a:pt x="2303" y="350"/>
                        <a:pt x="2474" y="375"/>
                        <a:pt x="2637" y="425"/>
                      </a:cubicBezTo>
                      <a:lnTo>
                        <a:pt x="2679" y="467"/>
                      </a:lnTo>
                      <a:cubicBezTo>
                        <a:pt x="3404" y="899"/>
                        <a:pt x="3823" y="1513"/>
                        <a:pt x="3321" y="2350"/>
                      </a:cubicBezTo>
                      <a:cubicBezTo>
                        <a:pt x="3018" y="2854"/>
                        <a:pt x="2505" y="3226"/>
                        <a:pt x="1954" y="3226"/>
                      </a:cubicBezTo>
                      <a:cubicBezTo>
                        <a:pt x="1742" y="3226"/>
                        <a:pt x="1525" y="3171"/>
                        <a:pt x="1312" y="3047"/>
                      </a:cubicBezTo>
                      <a:cubicBezTo>
                        <a:pt x="629" y="2643"/>
                        <a:pt x="447" y="1694"/>
                        <a:pt x="866" y="1025"/>
                      </a:cubicBezTo>
                      <a:cubicBezTo>
                        <a:pt x="1136" y="567"/>
                        <a:pt x="1631" y="350"/>
                        <a:pt x="2132" y="350"/>
                      </a:cubicBezTo>
                      <a:close/>
                      <a:moveTo>
                        <a:pt x="2100" y="0"/>
                      </a:moveTo>
                      <a:cubicBezTo>
                        <a:pt x="1411" y="0"/>
                        <a:pt x="748" y="356"/>
                        <a:pt x="433" y="997"/>
                      </a:cubicBezTo>
                      <a:cubicBezTo>
                        <a:pt x="1" y="1890"/>
                        <a:pt x="364" y="3019"/>
                        <a:pt x="1256" y="3438"/>
                      </a:cubicBezTo>
                      <a:cubicBezTo>
                        <a:pt x="1491" y="3548"/>
                        <a:pt x="1724" y="3598"/>
                        <a:pt x="1948" y="3598"/>
                      </a:cubicBezTo>
                      <a:cubicBezTo>
                        <a:pt x="2629" y="3598"/>
                        <a:pt x="3236" y="3140"/>
                        <a:pt x="3614" y="2531"/>
                      </a:cubicBezTo>
                      <a:cubicBezTo>
                        <a:pt x="4255" y="1527"/>
                        <a:pt x="3767" y="690"/>
                        <a:pt x="2860" y="160"/>
                      </a:cubicBezTo>
                      <a:cubicBezTo>
                        <a:pt x="2846" y="146"/>
                        <a:pt x="2819" y="118"/>
                        <a:pt x="2777" y="118"/>
                      </a:cubicBezTo>
                      <a:cubicBezTo>
                        <a:pt x="2556" y="39"/>
                        <a:pt x="2327" y="0"/>
                        <a:pt x="210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382" name="Google Shape;382;p19"/>
              <p:cNvGrpSpPr/>
              <p:nvPr/>
            </p:nvGrpSpPr>
            <p:grpSpPr>
              <a:xfrm>
                <a:off x="3938100" y="988225"/>
                <a:ext cx="854375" cy="100200"/>
                <a:chOff x="4983250" y="2368850"/>
                <a:chExt cx="854375" cy="100200"/>
              </a:xfrm>
            </p:grpSpPr>
            <p:sp>
              <p:nvSpPr>
                <p:cNvPr id="383" name="Google Shape;383;p19"/>
                <p:cNvSpPr/>
                <p:nvPr/>
              </p:nvSpPr>
              <p:spPr>
                <a:xfrm>
                  <a:off x="4983250" y="2369625"/>
                  <a:ext cx="110225" cy="84950"/>
                </a:xfrm>
                <a:custGeom>
                  <a:avLst/>
                  <a:gdLst/>
                  <a:ahLst/>
                  <a:cxnLst/>
                  <a:rect l="l" t="t" r="r" b="b"/>
                  <a:pathLst>
                    <a:path w="4409" h="3398" extrusionOk="0">
                      <a:moveTo>
                        <a:pt x="2511" y="371"/>
                      </a:moveTo>
                      <a:lnTo>
                        <a:pt x="2511" y="371"/>
                      </a:lnTo>
                      <a:cubicBezTo>
                        <a:pt x="3931" y="435"/>
                        <a:pt x="3857" y="3032"/>
                        <a:pt x="2280" y="3032"/>
                      </a:cubicBezTo>
                      <a:cubicBezTo>
                        <a:pt x="2153" y="3032"/>
                        <a:pt x="2016" y="3015"/>
                        <a:pt x="1869" y="2979"/>
                      </a:cubicBezTo>
                      <a:cubicBezTo>
                        <a:pt x="1102" y="2798"/>
                        <a:pt x="419" y="2268"/>
                        <a:pt x="767" y="1403"/>
                      </a:cubicBezTo>
                      <a:cubicBezTo>
                        <a:pt x="995" y="839"/>
                        <a:pt x="1439" y="389"/>
                        <a:pt x="2038" y="389"/>
                      </a:cubicBezTo>
                      <a:cubicBezTo>
                        <a:pt x="2136" y="389"/>
                        <a:pt x="2238" y="401"/>
                        <a:pt x="2343" y="426"/>
                      </a:cubicBezTo>
                      <a:cubicBezTo>
                        <a:pt x="2360" y="430"/>
                        <a:pt x="2376" y="431"/>
                        <a:pt x="2391" y="431"/>
                      </a:cubicBezTo>
                      <a:cubicBezTo>
                        <a:pt x="2439" y="431"/>
                        <a:pt x="2479" y="413"/>
                        <a:pt x="2511" y="371"/>
                      </a:cubicBezTo>
                      <a:close/>
                      <a:moveTo>
                        <a:pt x="2418" y="0"/>
                      </a:moveTo>
                      <a:cubicBezTo>
                        <a:pt x="2328" y="0"/>
                        <a:pt x="2233" y="7"/>
                        <a:pt x="2134" y="22"/>
                      </a:cubicBezTo>
                      <a:cubicBezTo>
                        <a:pt x="2107" y="20"/>
                        <a:pt x="2081" y="20"/>
                        <a:pt x="2054" y="20"/>
                      </a:cubicBezTo>
                      <a:cubicBezTo>
                        <a:pt x="1241" y="20"/>
                        <a:pt x="592" y="634"/>
                        <a:pt x="349" y="1431"/>
                      </a:cubicBezTo>
                      <a:cubicBezTo>
                        <a:pt x="0" y="2560"/>
                        <a:pt x="1102" y="3286"/>
                        <a:pt x="2134" y="3383"/>
                      </a:cubicBezTo>
                      <a:cubicBezTo>
                        <a:pt x="2212" y="3393"/>
                        <a:pt x="2287" y="3397"/>
                        <a:pt x="2359" y="3397"/>
                      </a:cubicBezTo>
                      <a:cubicBezTo>
                        <a:pt x="4334" y="3397"/>
                        <a:pt x="4409" y="0"/>
                        <a:pt x="241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84" name="Google Shape;384;p19"/>
                <p:cNvSpPr/>
                <p:nvPr/>
              </p:nvSpPr>
              <p:spPr>
                <a:xfrm>
                  <a:off x="5129350" y="2368850"/>
                  <a:ext cx="99400" cy="86275"/>
                </a:xfrm>
                <a:custGeom>
                  <a:avLst/>
                  <a:gdLst/>
                  <a:ahLst/>
                  <a:cxnLst/>
                  <a:rect l="l" t="t" r="r" b="b"/>
                  <a:pathLst>
                    <a:path w="3976" h="3451" extrusionOk="0">
                      <a:moveTo>
                        <a:pt x="2100" y="370"/>
                      </a:moveTo>
                      <a:cubicBezTo>
                        <a:pt x="2195" y="370"/>
                        <a:pt x="2290" y="380"/>
                        <a:pt x="2386" y="402"/>
                      </a:cubicBezTo>
                      <a:cubicBezTo>
                        <a:pt x="3223" y="569"/>
                        <a:pt x="3669" y="1476"/>
                        <a:pt x="3209" y="2243"/>
                      </a:cubicBezTo>
                      <a:cubicBezTo>
                        <a:pt x="2917" y="2710"/>
                        <a:pt x="2313" y="3098"/>
                        <a:pt x="1739" y="3098"/>
                      </a:cubicBezTo>
                      <a:cubicBezTo>
                        <a:pt x="1627" y="3098"/>
                        <a:pt x="1516" y="3084"/>
                        <a:pt x="1409" y="3052"/>
                      </a:cubicBezTo>
                      <a:cubicBezTo>
                        <a:pt x="698" y="2843"/>
                        <a:pt x="335" y="1796"/>
                        <a:pt x="684" y="1155"/>
                      </a:cubicBezTo>
                      <a:cubicBezTo>
                        <a:pt x="698" y="1113"/>
                        <a:pt x="698" y="1057"/>
                        <a:pt x="698" y="1029"/>
                      </a:cubicBezTo>
                      <a:cubicBezTo>
                        <a:pt x="1088" y="675"/>
                        <a:pt x="1578" y="370"/>
                        <a:pt x="2100" y="370"/>
                      </a:cubicBezTo>
                      <a:close/>
                      <a:moveTo>
                        <a:pt x="2125" y="0"/>
                      </a:moveTo>
                      <a:cubicBezTo>
                        <a:pt x="1458" y="0"/>
                        <a:pt x="803" y="375"/>
                        <a:pt x="321" y="876"/>
                      </a:cubicBezTo>
                      <a:cubicBezTo>
                        <a:pt x="252" y="946"/>
                        <a:pt x="252" y="1029"/>
                        <a:pt x="294" y="1085"/>
                      </a:cubicBezTo>
                      <a:cubicBezTo>
                        <a:pt x="1" y="1824"/>
                        <a:pt x="335" y="2870"/>
                        <a:pt x="1033" y="3275"/>
                      </a:cubicBezTo>
                      <a:cubicBezTo>
                        <a:pt x="1241" y="3397"/>
                        <a:pt x="1472" y="3451"/>
                        <a:pt x="1709" y="3451"/>
                      </a:cubicBezTo>
                      <a:cubicBezTo>
                        <a:pt x="2364" y="3451"/>
                        <a:pt x="3063" y="3045"/>
                        <a:pt x="3432" y="2564"/>
                      </a:cubicBezTo>
                      <a:cubicBezTo>
                        <a:pt x="3976" y="1824"/>
                        <a:pt x="3836" y="736"/>
                        <a:pt x="3013" y="248"/>
                      </a:cubicBezTo>
                      <a:cubicBezTo>
                        <a:pt x="2724" y="75"/>
                        <a:pt x="2423" y="0"/>
                        <a:pt x="212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85" name="Google Shape;385;p19"/>
                <p:cNvSpPr/>
                <p:nvPr/>
              </p:nvSpPr>
              <p:spPr>
                <a:xfrm>
                  <a:off x="5277900" y="2371250"/>
                  <a:ext cx="106400" cy="89925"/>
                </a:xfrm>
                <a:custGeom>
                  <a:avLst/>
                  <a:gdLst/>
                  <a:ahLst/>
                  <a:cxnLst/>
                  <a:rect l="l" t="t" r="r" b="b"/>
                  <a:pathLst>
                    <a:path w="4256" h="3597" extrusionOk="0">
                      <a:moveTo>
                        <a:pt x="2118" y="354"/>
                      </a:moveTo>
                      <a:cubicBezTo>
                        <a:pt x="2293" y="354"/>
                        <a:pt x="2469" y="380"/>
                        <a:pt x="2637" y="431"/>
                      </a:cubicBezTo>
                      <a:lnTo>
                        <a:pt x="2679" y="459"/>
                      </a:lnTo>
                      <a:cubicBezTo>
                        <a:pt x="3404" y="891"/>
                        <a:pt x="3809" y="1505"/>
                        <a:pt x="3320" y="2342"/>
                      </a:cubicBezTo>
                      <a:cubicBezTo>
                        <a:pt x="3019" y="2845"/>
                        <a:pt x="2507" y="3225"/>
                        <a:pt x="1957" y="3225"/>
                      </a:cubicBezTo>
                      <a:cubicBezTo>
                        <a:pt x="1744" y="3225"/>
                        <a:pt x="1526" y="3168"/>
                        <a:pt x="1312" y="3039"/>
                      </a:cubicBezTo>
                      <a:cubicBezTo>
                        <a:pt x="628" y="2635"/>
                        <a:pt x="447" y="1700"/>
                        <a:pt x="866" y="1017"/>
                      </a:cubicBezTo>
                      <a:cubicBezTo>
                        <a:pt x="1133" y="564"/>
                        <a:pt x="1622" y="354"/>
                        <a:pt x="2118" y="354"/>
                      </a:cubicBezTo>
                      <a:close/>
                      <a:moveTo>
                        <a:pt x="2120" y="0"/>
                      </a:moveTo>
                      <a:cubicBezTo>
                        <a:pt x="1428" y="0"/>
                        <a:pt x="765" y="357"/>
                        <a:pt x="447" y="1003"/>
                      </a:cubicBezTo>
                      <a:cubicBezTo>
                        <a:pt x="1" y="1896"/>
                        <a:pt x="377" y="3026"/>
                        <a:pt x="1256" y="3444"/>
                      </a:cubicBezTo>
                      <a:cubicBezTo>
                        <a:pt x="1487" y="3549"/>
                        <a:pt x="1715" y="3597"/>
                        <a:pt x="1936" y="3597"/>
                      </a:cubicBezTo>
                      <a:cubicBezTo>
                        <a:pt x="2622" y="3597"/>
                        <a:pt x="3233" y="3139"/>
                        <a:pt x="3613" y="2537"/>
                      </a:cubicBezTo>
                      <a:cubicBezTo>
                        <a:pt x="4255" y="1519"/>
                        <a:pt x="3767" y="710"/>
                        <a:pt x="2860" y="166"/>
                      </a:cubicBezTo>
                      <a:cubicBezTo>
                        <a:pt x="2846" y="152"/>
                        <a:pt x="2818" y="110"/>
                        <a:pt x="2776" y="110"/>
                      </a:cubicBezTo>
                      <a:cubicBezTo>
                        <a:pt x="2561" y="36"/>
                        <a:pt x="2339" y="0"/>
                        <a:pt x="212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86" name="Google Shape;386;p19"/>
                <p:cNvSpPr/>
                <p:nvPr/>
              </p:nvSpPr>
              <p:spPr>
                <a:xfrm>
                  <a:off x="5423325" y="2380850"/>
                  <a:ext cx="109800" cy="85275"/>
                </a:xfrm>
                <a:custGeom>
                  <a:avLst/>
                  <a:gdLst/>
                  <a:ahLst/>
                  <a:cxnLst/>
                  <a:rect l="l" t="t" r="r" b="b"/>
                  <a:pathLst>
                    <a:path w="4392" h="3411" extrusionOk="0">
                      <a:moveTo>
                        <a:pt x="2483" y="368"/>
                      </a:moveTo>
                      <a:cubicBezTo>
                        <a:pt x="3900" y="458"/>
                        <a:pt x="3854" y="3046"/>
                        <a:pt x="2267" y="3046"/>
                      </a:cubicBezTo>
                      <a:cubicBezTo>
                        <a:pt x="2136" y="3046"/>
                        <a:pt x="1994" y="3029"/>
                        <a:pt x="1841" y="2990"/>
                      </a:cubicBezTo>
                      <a:cubicBezTo>
                        <a:pt x="1074" y="2795"/>
                        <a:pt x="391" y="2279"/>
                        <a:pt x="740" y="1400"/>
                      </a:cubicBezTo>
                      <a:cubicBezTo>
                        <a:pt x="968" y="847"/>
                        <a:pt x="1414" y="387"/>
                        <a:pt x="2016" y="387"/>
                      </a:cubicBezTo>
                      <a:cubicBezTo>
                        <a:pt x="2112" y="387"/>
                        <a:pt x="2212" y="399"/>
                        <a:pt x="2316" y="424"/>
                      </a:cubicBezTo>
                      <a:cubicBezTo>
                        <a:pt x="2332" y="427"/>
                        <a:pt x="2348" y="429"/>
                        <a:pt x="2363" y="429"/>
                      </a:cubicBezTo>
                      <a:cubicBezTo>
                        <a:pt x="2411" y="429"/>
                        <a:pt x="2451" y="411"/>
                        <a:pt x="2483" y="368"/>
                      </a:cubicBezTo>
                      <a:close/>
                      <a:moveTo>
                        <a:pt x="2383" y="1"/>
                      </a:moveTo>
                      <a:cubicBezTo>
                        <a:pt x="2299" y="1"/>
                        <a:pt x="2212" y="7"/>
                        <a:pt x="2120" y="19"/>
                      </a:cubicBezTo>
                      <a:cubicBezTo>
                        <a:pt x="2102" y="19"/>
                        <a:pt x="2084" y="18"/>
                        <a:pt x="2066" y="18"/>
                      </a:cubicBezTo>
                      <a:cubicBezTo>
                        <a:pt x="1240" y="18"/>
                        <a:pt x="581" y="637"/>
                        <a:pt x="349" y="1442"/>
                      </a:cubicBezTo>
                      <a:cubicBezTo>
                        <a:pt x="0" y="2572"/>
                        <a:pt x="1088" y="3283"/>
                        <a:pt x="2120" y="3395"/>
                      </a:cubicBezTo>
                      <a:cubicBezTo>
                        <a:pt x="2201" y="3405"/>
                        <a:pt x="2279" y="3410"/>
                        <a:pt x="2354" y="3410"/>
                      </a:cubicBezTo>
                      <a:cubicBezTo>
                        <a:pt x="4315" y="3410"/>
                        <a:pt x="4391" y="1"/>
                        <a:pt x="2383"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87" name="Google Shape;387;p19"/>
                <p:cNvSpPr/>
                <p:nvPr/>
              </p:nvSpPr>
              <p:spPr>
                <a:xfrm>
                  <a:off x="5579900" y="2380425"/>
                  <a:ext cx="99750" cy="86425"/>
                </a:xfrm>
                <a:custGeom>
                  <a:avLst/>
                  <a:gdLst/>
                  <a:ahLst/>
                  <a:cxnLst/>
                  <a:rect l="l" t="t" r="r" b="b"/>
                  <a:pathLst>
                    <a:path w="3990" h="3457" extrusionOk="0">
                      <a:moveTo>
                        <a:pt x="2113" y="354"/>
                      </a:moveTo>
                      <a:cubicBezTo>
                        <a:pt x="2208" y="354"/>
                        <a:pt x="2303" y="364"/>
                        <a:pt x="2399" y="385"/>
                      </a:cubicBezTo>
                      <a:cubicBezTo>
                        <a:pt x="3250" y="580"/>
                        <a:pt x="3683" y="1473"/>
                        <a:pt x="3222" y="2240"/>
                      </a:cubicBezTo>
                      <a:cubicBezTo>
                        <a:pt x="2932" y="2705"/>
                        <a:pt x="2321" y="3083"/>
                        <a:pt x="1755" y="3083"/>
                      </a:cubicBezTo>
                      <a:cubicBezTo>
                        <a:pt x="1641" y="3083"/>
                        <a:pt x="1530" y="3068"/>
                        <a:pt x="1423" y="3035"/>
                      </a:cubicBezTo>
                      <a:cubicBezTo>
                        <a:pt x="712" y="2826"/>
                        <a:pt x="335" y="1780"/>
                        <a:pt x="684" y="1138"/>
                      </a:cubicBezTo>
                      <a:cubicBezTo>
                        <a:pt x="712" y="1110"/>
                        <a:pt x="712" y="1054"/>
                        <a:pt x="712" y="1013"/>
                      </a:cubicBezTo>
                      <a:cubicBezTo>
                        <a:pt x="1090" y="658"/>
                        <a:pt x="1588" y="354"/>
                        <a:pt x="2113" y="354"/>
                      </a:cubicBezTo>
                      <a:close/>
                      <a:moveTo>
                        <a:pt x="2137" y="0"/>
                      </a:moveTo>
                      <a:cubicBezTo>
                        <a:pt x="1463" y="0"/>
                        <a:pt x="805" y="380"/>
                        <a:pt x="321" y="873"/>
                      </a:cubicBezTo>
                      <a:cubicBezTo>
                        <a:pt x="251" y="943"/>
                        <a:pt x="251" y="1040"/>
                        <a:pt x="307" y="1082"/>
                      </a:cubicBezTo>
                      <a:cubicBezTo>
                        <a:pt x="0" y="1836"/>
                        <a:pt x="335" y="2882"/>
                        <a:pt x="1032" y="3286"/>
                      </a:cubicBezTo>
                      <a:cubicBezTo>
                        <a:pt x="1243" y="3404"/>
                        <a:pt x="1476" y="3456"/>
                        <a:pt x="1714" y="3456"/>
                      </a:cubicBezTo>
                      <a:cubicBezTo>
                        <a:pt x="2375" y="3456"/>
                        <a:pt x="3076" y="3057"/>
                        <a:pt x="3445" y="2575"/>
                      </a:cubicBezTo>
                      <a:cubicBezTo>
                        <a:pt x="3989" y="1822"/>
                        <a:pt x="3864" y="720"/>
                        <a:pt x="3027" y="245"/>
                      </a:cubicBezTo>
                      <a:cubicBezTo>
                        <a:pt x="2736" y="74"/>
                        <a:pt x="2435" y="0"/>
                        <a:pt x="21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88" name="Google Shape;388;p19"/>
                <p:cNvSpPr/>
                <p:nvPr/>
              </p:nvSpPr>
              <p:spPr>
                <a:xfrm>
                  <a:off x="5731225" y="2379075"/>
                  <a:ext cx="106400" cy="89975"/>
                </a:xfrm>
                <a:custGeom>
                  <a:avLst/>
                  <a:gdLst/>
                  <a:ahLst/>
                  <a:cxnLst/>
                  <a:rect l="l" t="t" r="r" b="b"/>
                  <a:pathLst>
                    <a:path w="4256" h="3599" extrusionOk="0">
                      <a:moveTo>
                        <a:pt x="2132" y="350"/>
                      </a:moveTo>
                      <a:cubicBezTo>
                        <a:pt x="2303" y="350"/>
                        <a:pt x="2474" y="375"/>
                        <a:pt x="2637" y="425"/>
                      </a:cubicBezTo>
                      <a:lnTo>
                        <a:pt x="2679" y="467"/>
                      </a:lnTo>
                      <a:cubicBezTo>
                        <a:pt x="3404" y="899"/>
                        <a:pt x="3823" y="1513"/>
                        <a:pt x="3321" y="2350"/>
                      </a:cubicBezTo>
                      <a:cubicBezTo>
                        <a:pt x="3018" y="2854"/>
                        <a:pt x="2505" y="3226"/>
                        <a:pt x="1954" y="3226"/>
                      </a:cubicBezTo>
                      <a:cubicBezTo>
                        <a:pt x="1742" y="3226"/>
                        <a:pt x="1525" y="3171"/>
                        <a:pt x="1312" y="3047"/>
                      </a:cubicBezTo>
                      <a:cubicBezTo>
                        <a:pt x="629" y="2643"/>
                        <a:pt x="447" y="1694"/>
                        <a:pt x="866" y="1025"/>
                      </a:cubicBezTo>
                      <a:cubicBezTo>
                        <a:pt x="1136" y="567"/>
                        <a:pt x="1631" y="350"/>
                        <a:pt x="2132" y="350"/>
                      </a:cubicBezTo>
                      <a:close/>
                      <a:moveTo>
                        <a:pt x="2100" y="0"/>
                      </a:moveTo>
                      <a:cubicBezTo>
                        <a:pt x="1411" y="0"/>
                        <a:pt x="748" y="356"/>
                        <a:pt x="433" y="997"/>
                      </a:cubicBezTo>
                      <a:cubicBezTo>
                        <a:pt x="1" y="1890"/>
                        <a:pt x="364" y="3019"/>
                        <a:pt x="1256" y="3438"/>
                      </a:cubicBezTo>
                      <a:cubicBezTo>
                        <a:pt x="1491" y="3548"/>
                        <a:pt x="1724" y="3598"/>
                        <a:pt x="1948" y="3598"/>
                      </a:cubicBezTo>
                      <a:cubicBezTo>
                        <a:pt x="2629" y="3598"/>
                        <a:pt x="3236" y="3140"/>
                        <a:pt x="3614" y="2531"/>
                      </a:cubicBezTo>
                      <a:cubicBezTo>
                        <a:pt x="4255" y="1527"/>
                        <a:pt x="3767" y="690"/>
                        <a:pt x="2860" y="160"/>
                      </a:cubicBezTo>
                      <a:cubicBezTo>
                        <a:pt x="2846" y="146"/>
                        <a:pt x="2819" y="118"/>
                        <a:pt x="2777" y="118"/>
                      </a:cubicBezTo>
                      <a:cubicBezTo>
                        <a:pt x="2556" y="39"/>
                        <a:pt x="2327" y="0"/>
                        <a:pt x="210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389" name="Google Shape;389;p19"/>
              <p:cNvGrpSpPr/>
              <p:nvPr/>
            </p:nvGrpSpPr>
            <p:grpSpPr>
              <a:xfrm>
                <a:off x="4842075" y="988225"/>
                <a:ext cx="696400" cy="98000"/>
                <a:chOff x="4983250" y="2368850"/>
                <a:chExt cx="696400" cy="98000"/>
              </a:xfrm>
            </p:grpSpPr>
            <p:sp>
              <p:nvSpPr>
                <p:cNvPr id="390" name="Google Shape;390;p19"/>
                <p:cNvSpPr/>
                <p:nvPr/>
              </p:nvSpPr>
              <p:spPr>
                <a:xfrm>
                  <a:off x="4983250" y="2369625"/>
                  <a:ext cx="110225" cy="84950"/>
                </a:xfrm>
                <a:custGeom>
                  <a:avLst/>
                  <a:gdLst/>
                  <a:ahLst/>
                  <a:cxnLst/>
                  <a:rect l="l" t="t" r="r" b="b"/>
                  <a:pathLst>
                    <a:path w="4409" h="3398" extrusionOk="0">
                      <a:moveTo>
                        <a:pt x="2511" y="371"/>
                      </a:moveTo>
                      <a:lnTo>
                        <a:pt x="2511" y="371"/>
                      </a:lnTo>
                      <a:cubicBezTo>
                        <a:pt x="3931" y="435"/>
                        <a:pt x="3857" y="3032"/>
                        <a:pt x="2280" y="3032"/>
                      </a:cubicBezTo>
                      <a:cubicBezTo>
                        <a:pt x="2153" y="3032"/>
                        <a:pt x="2016" y="3015"/>
                        <a:pt x="1869" y="2979"/>
                      </a:cubicBezTo>
                      <a:cubicBezTo>
                        <a:pt x="1102" y="2798"/>
                        <a:pt x="419" y="2268"/>
                        <a:pt x="767" y="1403"/>
                      </a:cubicBezTo>
                      <a:cubicBezTo>
                        <a:pt x="995" y="839"/>
                        <a:pt x="1439" y="389"/>
                        <a:pt x="2038" y="389"/>
                      </a:cubicBezTo>
                      <a:cubicBezTo>
                        <a:pt x="2136" y="389"/>
                        <a:pt x="2238" y="401"/>
                        <a:pt x="2343" y="426"/>
                      </a:cubicBezTo>
                      <a:cubicBezTo>
                        <a:pt x="2360" y="430"/>
                        <a:pt x="2376" y="431"/>
                        <a:pt x="2391" y="431"/>
                      </a:cubicBezTo>
                      <a:cubicBezTo>
                        <a:pt x="2439" y="431"/>
                        <a:pt x="2479" y="413"/>
                        <a:pt x="2511" y="371"/>
                      </a:cubicBezTo>
                      <a:close/>
                      <a:moveTo>
                        <a:pt x="2418" y="0"/>
                      </a:moveTo>
                      <a:cubicBezTo>
                        <a:pt x="2328" y="0"/>
                        <a:pt x="2233" y="7"/>
                        <a:pt x="2134" y="22"/>
                      </a:cubicBezTo>
                      <a:cubicBezTo>
                        <a:pt x="2107" y="20"/>
                        <a:pt x="2081" y="20"/>
                        <a:pt x="2054" y="20"/>
                      </a:cubicBezTo>
                      <a:cubicBezTo>
                        <a:pt x="1241" y="20"/>
                        <a:pt x="592" y="634"/>
                        <a:pt x="349" y="1431"/>
                      </a:cubicBezTo>
                      <a:cubicBezTo>
                        <a:pt x="0" y="2560"/>
                        <a:pt x="1102" y="3286"/>
                        <a:pt x="2134" y="3383"/>
                      </a:cubicBezTo>
                      <a:cubicBezTo>
                        <a:pt x="2212" y="3393"/>
                        <a:pt x="2287" y="3397"/>
                        <a:pt x="2359" y="3397"/>
                      </a:cubicBezTo>
                      <a:cubicBezTo>
                        <a:pt x="4334" y="3397"/>
                        <a:pt x="4409" y="0"/>
                        <a:pt x="241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91" name="Google Shape;391;p19"/>
                <p:cNvSpPr/>
                <p:nvPr/>
              </p:nvSpPr>
              <p:spPr>
                <a:xfrm>
                  <a:off x="5129350" y="2368850"/>
                  <a:ext cx="99400" cy="86275"/>
                </a:xfrm>
                <a:custGeom>
                  <a:avLst/>
                  <a:gdLst/>
                  <a:ahLst/>
                  <a:cxnLst/>
                  <a:rect l="l" t="t" r="r" b="b"/>
                  <a:pathLst>
                    <a:path w="3976" h="3451" extrusionOk="0">
                      <a:moveTo>
                        <a:pt x="2100" y="370"/>
                      </a:moveTo>
                      <a:cubicBezTo>
                        <a:pt x="2195" y="370"/>
                        <a:pt x="2290" y="380"/>
                        <a:pt x="2386" y="402"/>
                      </a:cubicBezTo>
                      <a:cubicBezTo>
                        <a:pt x="3223" y="569"/>
                        <a:pt x="3669" y="1476"/>
                        <a:pt x="3209" y="2243"/>
                      </a:cubicBezTo>
                      <a:cubicBezTo>
                        <a:pt x="2917" y="2710"/>
                        <a:pt x="2313" y="3098"/>
                        <a:pt x="1739" y="3098"/>
                      </a:cubicBezTo>
                      <a:cubicBezTo>
                        <a:pt x="1627" y="3098"/>
                        <a:pt x="1516" y="3084"/>
                        <a:pt x="1409" y="3052"/>
                      </a:cubicBezTo>
                      <a:cubicBezTo>
                        <a:pt x="698" y="2843"/>
                        <a:pt x="335" y="1796"/>
                        <a:pt x="684" y="1155"/>
                      </a:cubicBezTo>
                      <a:cubicBezTo>
                        <a:pt x="698" y="1113"/>
                        <a:pt x="698" y="1057"/>
                        <a:pt x="698" y="1029"/>
                      </a:cubicBezTo>
                      <a:cubicBezTo>
                        <a:pt x="1088" y="675"/>
                        <a:pt x="1578" y="370"/>
                        <a:pt x="2100" y="370"/>
                      </a:cubicBezTo>
                      <a:close/>
                      <a:moveTo>
                        <a:pt x="2125" y="0"/>
                      </a:moveTo>
                      <a:cubicBezTo>
                        <a:pt x="1458" y="0"/>
                        <a:pt x="803" y="375"/>
                        <a:pt x="321" y="876"/>
                      </a:cubicBezTo>
                      <a:cubicBezTo>
                        <a:pt x="252" y="946"/>
                        <a:pt x="252" y="1029"/>
                        <a:pt x="294" y="1085"/>
                      </a:cubicBezTo>
                      <a:cubicBezTo>
                        <a:pt x="1" y="1824"/>
                        <a:pt x="335" y="2870"/>
                        <a:pt x="1033" y="3275"/>
                      </a:cubicBezTo>
                      <a:cubicBezTo>
                        <a:pt x="1241" y="3397"/>
                        <a:pt x="1472" y="3451"/>
                        <a:pt x="1709" y="3451"/>
                      </a:cubicBezTo>
                      <a:cubicBezTo>
                        <a:pt x="2364" y="3451"/>
                        <a:pt x="3063" y="3045"/>
                        <a:pt x="3432" y="2564"/>
                      </a:cubicBezTo>
                      <a:cubicBezTo>
                        <a:pt x="3976" y="1824"/>
                        <a:pt x="3836" y="736"/>
                        <a:pt x="3013" y="248"/>
                      </a:cubicBezTo>
                      <a:cubicBezTo>
                        <a:pt x="2724" y="75"/>
                        <a:pt x="2423" y="0"/>
                        <a:pt x="212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92" name="Google Shape;392;p19"/>
                <p:cNvSpPr/>
                <p:nvPr/>
              </p:nvSpPr>
              <p:spPr>
                <a:xfrm>
                  <a:off x="5277900" y="2371250"/>
                  <a:ext cx="106400" cy="89925"/>
                </a:xfrm>
                <a:custGeom>
                  <a:avLst/>
                  <a:gdLst/>
                  <a:ahLst/>
                  <a:cxnLst/>
                  <a:rect l="l" t="t" r="r" b="b"/>
                  <a:pathLst>
                    <a:path w="4256" h="3597" extrusionOk="0">
                      <a:moveTo>
                        <a:pt x="2118" y="354"/>
                      </a:moveTo>
                      <a:cubicBezTo>
                        <a:pt x="2293" y="354"/>
                        <a:pt x="2469" y="380"/>
                        <a:pt x="2637" y="431"/>
                      </a:cubicBezTo>
                      <a:lnTo>
                        <a:pt x="2679" y="459"/>
                      </a:lnTo>
                      <a:cubicBezTo>
                        <a:pt x="3404" y="891"/>
                        <a:pt x="3809" y="1505"/>
                        <a:pt x="3320" y="2342"/>
                      </a:cubicBezTo>
                      <a:cubicBezTo>
                        <a:pt x="3019" y="2845"/>
                        <a:pt x="2507" y="3225"/>
                        <a:pt x="1957" y="3225"/>
                      </a:cubicBezTo>
                      <a:cubicBezTo>
                        <a:pt x="1744" y="3225"/>
                        <a:pt x="1526" y="3168"/>
                        <a:pt x="1312" y="3039"/>
                      </a:cubicBezTo>
                      <a:cubicBezTo>
                        <a:pt x="628" y="2635"/>
                        <a:pt x="447" y="1700"/>
                        <a:pt x="866" y="1017"/>
                      </a:cubicBezTo>
                      <a:cubicBezTo>
                        <a:pt x="1133" y="564"/>
                        <a:pt x="1622" y="354"/>
                        <a:pt x="2118" y="354"/>
                      </a:cubicBezTo>
                      <a:close/>
                      <a:moveTo>
                        <a:pt x="2120" y="0"/>
                      </a:moveTo>
                      <a:cubicBezTo>
                        <a:pt x="1428" y="0"/>
                        <a:pt x="765" y="357"/>
                        <a:pt x="447" y="1003"/>
                      </a:cubicBezTo>
                      <a:cubicBezTo>
                        <a:pt x="1" y="1896"/>
                        <a:pt x="377" y="3026"/>
                        <a:pt x="1256" y="3444"/>
                      </a:cubicBezTo>
                      <a:cubicBezTo>
                        <a:pt x="1487" y="3549"/>
                        <a:pt x="1715" y="3597"/>
                        <a:pt x="1936" y="3597"/>
                      </a:cubicBezTo>
                      <a:cubicBezTo>
                        <a:pt x="2622" y="3597"/>
                        <a:pt x="3233" y="3139"/>
                        <a:pt x="3613" y="2537"/>
                      </a:cubicBezTo>
                      <a:cubicBezTo>
                        <a:pt x="4255" y="1519"/>
                        <a:pt x="3767" y="710"/>
                        <a:pt x="2860" y="166"/>
                      </a:cubicBezTo>
                      <a:cubicBezTo>
                        <a:pt x="2846" y="152"/>
                        <a:pt x="2818" y="110"/>
                        <a:pt x="2776" y="110"/>
                      </a:cubicBezTo>
                      <a:cubicBezTo>
                        <a:pt x="2561" y="36"/>
                        <a:pt x="2339" y="0"/>
                        <a:pt x="212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93" name="Google Shape;393;p19"/>
                <p:cNvSpPr/>
                <p:nvPr/>
              </p:nvSpPr>
              <p:spPr>
                <a:xfrm>
                  <a:off x="5423325" y="2380850"/>
                  <a:ext cx="109800" cy="85275"/>
                </a:xfrm>
                <a:custGeom>
                  <a:avLst/>
                  <a:gdLst/>
                  <a:ahLst/>
                  <a:cxnLst/>
                  <a:rect l="l" t="t" r="r" b="b"/>
                  <a:pathLst>
                    <a:path w="4392" h="3411" extrusionOk="0">
                      <a:moveTo>
                        <a:pt x="2483" y="368"/>
                      </a:moveTo>
                      <a:cubicBezTo>
                        <a:pt x="3900" y="458"/>
                        <a:pt x="3854" y="3046"/>
                        <a:pt x="2267" y="3046"/>
                      </a:cubicBezTo>
                      <a:cubicBezTo>
                        <a:pt x="2136" y="3046"/>
                        <a:pt x="1994" y="3029"/>
                        <a:pt x="1841" y="2990"/>
                      </a:cubicBezTo>
                      <a:cubicBezTo>
                        <a:pt x="1074" y="2795"/>
                        <a:pt x="391" y="2279"/>
                        <a:pt x="740" y="1400"/>
                      </a:cubicBezTo>
                      <a:cubicBezTo>
                        <a:pt x="968" y="847"/>
                        <a:pt x="1414" y="387"/>
                        <a:pt x="2016" y="387"/>
                      </a:cubicBezTo>
                      <a:cubicBezTo>
                        <a:pt x="2112" y="387"/>
                        <a:pt x="2212" y="399"/>
                        <a:pt x="2316" y="424"/>
                      </a:cubicBezTo>
                      <a:cubicBezTo>
                        <a:pt x="2332" y="427"/>
                        <a:pt x="2348" y="429"/>
                        <a:pt x="2363" y="429"/>
                      </a:cubicBezTo>
                      <a:cubicBezTo>
                        <a:pt x="2411" y="429"/>
                        <a:pt x="2451" y="411"/>
                        <a:pt x="2483" y="368"/>
                      </a:cubicBezTo>
                      <a:close/>
                      <a:moveTo>
                        <a:pt x="2383" y="1"/>
                      </a:moveTo>
                      <a:cubicBezTo>
                        <a:pt x="2299" y="1"/>
                        <a:pt x="2212" y="7"/>
                        <a:pt x="2120" y="19"/>
                      </a:cubicBezTo>
                      <a:cubicBezTo>
                        <a:pt x="2102" y="19"/>
                        <a:pt x="2084" y="18"/>
                        <a:pt x="2066" y="18"/>
                      </a:cubicBezTo>
                      <a:cubicBezTo>
                        <a:pt x="1240" y="18"/>
                        <a:pt x="581" y="637"/>
                        <a:pt x="349" y="1442"/>
                      </a:cubicBezTo>
                      <a:cubicBezTo>
                        <a:pt x="0" y="2572"/>
                        <a:pt x="1088" y="3283"/>
                        <a:pt x="2120" y="3395"/>
                      </a:cubicBezTo>
                      <a:cubicBezTo>
                        <a:pt x="2201" y="3405"/>
                        <a:pt x="2279" y="3410"/>
                        <a:pt x="2354" y="3410"/>
                      </a:cubicBezTo>
                      <a:cubicBezTo>
                        <a:pt x="4315" y="3410"/>
                        <a:pt x="4391" y="1"/>
                        <a:pt x="2383"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94" name="Google Shape;394;p19"/>
                <p:cNvSpPr/>
                <p:nvPr/>
              </p:nvSpPr>
              <p:spPr>
                <a:xfrm>
                  <a:off x="5579900" y="2380425"/>
                  <a:ext cx="99750" cy="86425"/>
                </a:xfrm>
                <a:custGeom>
                  <a:avLst/>
                  <a:gdLst/>
                  <a:ahLst/>
                  <a:cxnLst/>
                  <a:rect l="l" t="t" r="r" b="b"/>
                  <a:pathLst>
                    <a:path w="3990" h="3457" extrusionOk="0">
                      <a:moveTo>
                        <a:pt x="2113" y="354"/>
                      </a:moveTo>
                      <a:cubicBezTo>
                        <a:pt x="2208" y="354"/>
                        <a:pt x="2303" y="364"/>
                        <a:pt x="2399" y="385"/>
                      </a:cubicBezTo>
                      <a:cubicBezTo>
                        <a:pt x="3250" y="580"/>
                        <a:pt x="3683" y="1473"/>
                        <a:pt x="3222" y="2240"/>
                      </a:cubicBezTo>
                      <a:cubicBezTo>
                        <a:pt x="2932" y="2705"/>
                        <a:pt x="2321" y="3083"/>
                        <a:pt x="1755" y="3083"/>
                      </a:cubicBezTo>
                      <a:cubicBezTo>
                        <a:pt x="1641" y="3083"/>
                        <a:pt x="1530" y="3068"/>
                        <a:pt x="1423" y="3035"/>
                      </a:cubicBezTo>
                      <a:cubicBezTo>
                        <a:pt x="712" y="2826"/>
                        <a:pt x="335" y="1780"/>
                        <a:pt x="684" y="1138"/>
                      </a:cubicBezTo>
                      <a:cubicBezTo>
                        <a:pt x="712" y="1110"/>
                        <a:pt x="712" y="1054"/>
                        <a:pt x="712" y="1013"/>
                      </a:cubicBezTo>
                      <a:cubicBezTo>
                        <a:pt x="1090" y="658"/>
                        <a:pt x="1588" y="354"/>
                        <a:pt x="2113" y="354"/>
                      </a:cubicBezTo>
                      <a:close/>
                      <a:moveTo>
                        <a:pt x="2137" y="0"/>
                      </a:moveTo>
                      <a:cubicBezTo>
                        <a:pt x="1463" y="0"/>
                        <a:pt x="805" y="380"/>
                        <a:pt x="321" y="873"/>
                      </a:cubicBezTo>
                      <a:cubicBezTo>
                        <a:pt x="251" y="943"/>
                        <a:pt x="251" y="1040"/>
                        <a:pt x="307" y="1082"/>
                      </a:cubicBezTo>
                      <a:cubicBezTo>
                        <a:pt x="0" y="1836"/>
                        <a:pt x="335" y="2882"/>
                        <a:pt x="1032" y="3286"/>
                      </a:cubicBezTo>
                      <a:cubicBezTo>
                        <a:pt x="1243" y="3404"/>
                        <a:pt x="1476" y="3456"/>
                        <a:pt x="1714" y="3456"/>
                      </a:cubicBezTo>
                      <a:cubicBezTo>
                        <a:pt x="2375" y="3456"/>
                        <a:pt x="3076" y="3057"/>
                        <a:pt x="3445" y="2575"/>
                      </a:cubicBezTo>
                      <a:cubicBezTo>
                        <a:pt x="3989" y="1822"/>
                        <a:pt x="3864" y="720"/>
                        <a:pt x="3027" y="245"/>
                      </a:cubicBezTo>
                      <a:cubicBezTo>
                        <a:pt x="2736" y="74"/>
                        <a:pt x="2435" y="0"/>
                        <a:pt x="21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395" name="Google Shape;395;p19"/>
              <p:cNvGrpSpPr/>
              <p:nvPr/>
            </p:nvGrpSpPr>
            <p:grpSpPr>
              <a:xfrm>
                <a:off x="5588075" y="989325"/>
                <a:ext cx="401050" cy="92325"/>
                <a:chOff x="4983250" y="2368850"/>
                <a:chExt cx="401050" cy="92325"/>
              </a:xfrm>
            </p:grpSpPr>
            <p:sp>
              <p:nvSpPr>
                <p:cNvPr id="396" name="Google Shape;396;p19"/>
                <p:cNvSpPr/>
                <p:nvPr/>
              </p:nvSpPr>
              <p:spPr>
                <a:xfrm>
                  <a:off x="4983250" y="2369625"/>
                  <a:ext cx="110225" cy="84950"/>
                </a:xfrm>
                <a:custGeom>
                  <a:avLst/>
                  <a:gdLst/>
                  <a:ahLst/>
                  <a:cxnLst/>
                  <a:rect l="l" t="t" r="r" b="b"/>
                  <a:pathLst>
                    <a:path w="4409" h="3398" extrusionOk="0">
                      <a:moveTo>
                        <a:pt x="2511" y="371"/>
                      </a:moveTo>
                      <a:lnTo>
                        <a:pt x="2511" y="371"/>
                      </a:lnTo>
                      <a:cubicBezTo>
                        <a:pt x="3931" y="435"/>
                        <a:pt x="3857" y="3032"/>
                        <a:pt x="2280" y="3032"/>
                      </a:cubicBezTo>
                      <a:cubicBezTo>
                        <a:pt x="2153" y="3032"/>
                        <a:pt x="2016" y="3015"/>
                        <a:pt x="1869" y="2979"/>
                      </a:cubicBezTo>
                      <a:cubicBezTo>
                        <a:pt x="1102" y="2798"/>
                        <a:pt x="419" y="2268"/>
                        <a:pt x="767" y="1403"/>
                      </a:cubicBezTo>
                      <a:cubicBezTo>
                        <a:pt x="995" y="839"/>
                        <a:pt x="1439" y="389"/>
                        <a:pt x="2038" y="389"/>
                      </a:cubicBezTo>
                      <a:cubicBezTo>
                        <a:pt x="2136" y="389"/>
                        <a:pt x="2238" y="401"/>
                        <a:pt x="2343" y="426"/>
                      </a:cubicBezTo>
                      <a:cubicBezTo>
                        <a:pt x="2360" y="430"/>
                        <a:pt x="2376" y="431"/>
                        <a:pt x="2391" y="431"/>
                      </a:cubicBezTo>
                      <a:cubicBezTo>
                        <a:pt x="2439" y="431"/>
                        <a:pt x="2479" y="413"/>
                        <a:pt x="2511" y="371"/>
                      </a:cubicBezTo>
                      <a:close/>
                      <a:moveTo>
                        <a:pt x="2418" y="0"/>
                      </a:moveTo>
                      <a:cubicBezTo>
                        <a:pt x="2328" y="0"/>
                        <a:pt x="2233" y="7"/>
                        <a:pt x="2134" y="22"/>
                      </a:cubicBezTo>
                      <a:cubicBezTo>
                        <a:pt x="2107" y="20"/>
                        <a:pt x="2081" y="20"/>
                        <a:pt x="2054" y="20"/>
                      </a:cubicBezTo>
                      <a:cubicBezTo>
                        <a:pt x="1241" y="20"/>
                        <a:pt x="592" y="634"/>
                        <a:pt x="349" y="1431"/>
                      </a:cubicBezTo>
                      <a:cubicBezTo>
                        <a:pt x="0" y="2560"/>
                        <a:pt x="1102" y="3286"/>
                        <a:pt x="2134" y="3383"/>
                      </a:cubicBezTo>
                      <a:cubicBezTo>
                        <a:pt x="2212" y="3393"/>
                        <a:pt x="2287" y="3397"/>
                        <a:pt x="2359" y="3397"/>
                      </a:cubicBezTo>
                      <a:cubicBezTo>
                        <a:pt x="4334" y="3397"/>
                        <a:pt x="4409" y="0"/>
                        <a:pt x="241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97" name="Google Shape;397;p19"/>
                <p:cNvSpPr/>
                <p:nvPr/>
              </p:nvSpPr>
              <p:spPr>
                <a:xfrm>
                  <a:off x="5129350" y="2368850"/>
                  <a:ext cx="99400" cy="86275"/>
                </a:xfrm>
                <a:custGeom>
                  <a:avLst/>
                  <a:gdLst/>
                  <a:ahLst/>
                  <a:cxnLst/>
                  <a:rect l="l" t="t" r="r" b="b"/>
                  <a:pathLst>
                    <a:path w="3976" h="3451" extrusionOk="0">
                      <a:moveTo>
                        <a:pt x="2100" y="370"/>
                      </a:moveTo>
                      <a:cubicBezTo>
                        <a:pt x="2195" y="370"/>
                        <a:pt x="2290" y="380"/>
                        <a:pt x="2386" y="402"/>
                      </a:cubicBezTo>
                      <a:cubicBezTo>
                        <a:pt x="3223" y="569"/>
                        <a:pt x="3669" y="1476"/>
                        <a:pt x="3209" y="2243"/>
                      </a:cubicBezTo>
                      <a:cubicBezTo>
                        <a:pt x="2917" y="2710"/>
                        <a:pt x="2313" y="3098"/>
                        <a:pt x="1739" y="3098"/>
                      </a:cubicBezTo>
                      <a:cubicBezTo>
                        <a:pt x="1627" y="3098"/>
                        <a:pt x="1516" y="3084"/>
                        <a:pt x="1409" y="3052"/>
                      </a:cubicBezTo>
                      <a:cubicBezTo>
                        <a:pt x="698" y="2843"/>
                        <a:pt x="335" y="1796"/>
                        <a:pt x="684" y="1155"/>
                      </a:cubicBezTo>
                      <a:cubicBezTo>
                        <a:pt x="698" y="1113"/>
                        <a:pt x="698" y="1057"/>
                        <a:pt x="698" y="1029"/>
                      </a:cubicBezTo>
                      <a:cubicBezTo>
                        <a:pt x="1088" y="675"/>
                        <a:pt x="1578" y="370"/>
                        <a:pt x="2100" y="370"/>
                      </a:cubicBezTo>
                      <a:close/>
                      <a:moveTo>
                        <a:pt x="2125" y="0"/>
                      </a:moveTo>
                      <a:cubicBezTo>
                        <a:pt x="1458" y="0"/>
                        <a:pt x="803" y="375"/>
                        <a:pt x="321" y="876"/>
                      </a:cubicBezTo>
                      <a:cubicBezTo>
                        <a:pt x="252" y="946"/>
                        <a:pt x="252" y="1029"/>
                        <a:pt x="294" y="1085"/>
                      </a:cubicBezTo>
                      <a:cubicBezTo>
                        <a:pt x="1" y="1824"/>
                        <a:pt x="335" y="2870"/>
                        <a:pt x="1033" y="3275"/>
                      </a:cubicBezTo>
                      <a:cubicBezTo>
                        <a:pt x="1241" y="3397"/>
                        <a:pt x="1472" y="3451"/>
                        <a:pt x="1709" y="3451"/>
                      </a:cubicBezTo>
                      <a:cubicBezTo>
                        <a:pt x="2364" y="3451"/>
                        <a:pt x="3063" y="3045"/>
                        <a:pt x="3432" y="2564"/>
                      </a:cubicBezTo>
                      <a:cubicBezTo>
                        <a:pt x="3976" y="1824"/>
                        <a:pt x="3836" y="736"/>
                        <a:pt x="3013" y="248"/>
                      </a:cubicBezTo>
                      <a:cubicBezTo>
                        <a:pt x="2724" y="75"/>
                        <a:pt x="2423" y="0"/>
                        <a:pt x="212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98" name="Google Shape;398;p19"/>
                <p:cNvSpPr/>
                <p:nvPr/>
              </p:nvSpPr>
              <p:spPr>
                <a:xfrm>
                  <a:off x="5277900" y="2371250"/>
                  <a:ext cx="106400" cy="89925"/>
                </a:xfrm>
                <a:custGeom>
                  <a:avLst/>
                  <a:gdLst/>
                  <a:ahLst/>
                  <a:cxnLst/>
                  <a:rect l="l" t="t" r="r" b="b"/>
                  <a:pathLst>
                    <a:path w="4256" h="3597" extrusionOk="0">
                      <a:moveTo>
                        <a:pt x="2118" y="354"/>
                      </a:moveTo>
                      <a:cubicBezTo>
                        <a:pt x="2293" y="354"/>
                        <a:pt x="2469" y="380"/>
                        <a:pt x="2637" y="431"/>
                      </a:cubicBezTo>
                      <a:lnTo>
                        <a:pt x="2679" y="459"/>
                      </a:lnTo>
                      <a:cubicBezTo>
                        <a:pt x="3404" y="891"/>
                        <a:pt x="3809" y="1505"/>
                        <a:pt x="3320" y="2342"/>
                      </a:cubicBezTo>
                      <a:cubicBezTo>
                        <a:pt x="3019" y="2845"/>
                        <a:pt x="2507" y="3225"/>
                        <a:pt x="1957" y="3225"/>
                      </a:cubicBezTo>
                      <a:cubicBezTo>
                        <a:pt x="1744" y="3225"/>
                        <a:pt x="1526" y="3168"/>
                        <a:pt x="1312" y="3039"/>
                      </a:cubicBezTo>
                      <a:cubicBezTo>
                        <a:pt x="628" y="2635"/>
                        <a:pt x="447" y="1700"/>
                        <a:pt x="866" y="1017"/>
                      </a:cubicBezTo>
                      <a:cubicBezTo>
                        <a:pt x="1133" y="564"/>
                        <a:pt x="1622" y="354"/>
                        <a:pt x="2118" y="354"/>
                      </a:cubicBezTo>
                      <a:close/>
                      <a:moveTo>
                        <a:pt x="2120" y="0"/>
                      </a:moveTo>
                      <a:cubicBezTo>
                        <a:pt x="1428" y="0"/>
                        <a:pt x="765" y="357"/>
                        <a:pt x="447" y="1003"/>
                      </a:cubicBezTo>
                      <a:cubicBezTo>
                        <a:pt x="1" y="1896"/>
                        <a:pt x="377" y="3026"/>
                        <a:pt x="1256" y="3444"/>
                      </a:cubicBezTo>
                      <a:cubicBezTo>
                        <a:pt x="1487" y="3549"/>
                        <a:pt x="1715" y="3597"/>
                        <a:pt x="1936" y="3597"/>
                      </a:cubicBezTo>
                      <a:cubicBezTo>
                        <a:pt x="2622" y="3597"/>
                        <a:pt x="3233" y="3139"/>
                        <a:pt x="3613" y="2537"/>
                      </a:cubicBezTo>
                      <a:cubicBezTo>
                        <a:pt x="4255" y="1519"/>
                        <a:pt x="3767" y="710"/>
                        <a:pt x="2860" y="166"/>
                      </a:cubicBezTo>
                      <a:cubicBezTo>
                        <a:pt x="2846" y="152"/>
                        <a:pt x="2818" y="110"/>
                        <a:pt x="2776" y="110"/>
                      </a:cubicBezTo>
                      <a:cubicBezTo>
                        <a:pt x="2561" y="36"/>
                        <a:pt x="2339" y="0"/>
                        <a:pt x="212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399" name="Google Shape;399;p19"/>
              <p:cNvSpPr/>
              <p:nvPr/>
            </p:nvSpPr>
            <p:spPr>
              <a:xfrm>
                <a:off x="5385931" y="521294"/>
                <a:ext cx="589429" cy="853713"/>
              </a:xfrm>
              <a:custGeom>
                <a:avLst/>
                <a:gdLst/>
                <a:ahLst/>
                <a:cxnLst/>
                <a:rect l="l" t="t" r="r" b="b"/>
                <a:pathLst>
                  <a:path w="10518" h="15234" extrusionOk="0">
                    <a:moveTo>
                      <a:pt x="7210" y="394"/>
                    </a:moveTo>
                    <a:cubicBezTo>
                      <a:pt x="7924" y="394"/>
                      <a:pt x="8677" y="836"/>
                      <a:pt x="9109" y="1201"/>
                    </a:cubicBezTo>
                    <a:cubicBezTo>
                      <a:pt x="9611" y="1620"/>
                      <a:pt x="9736" y="2066"/>
                      <a:pt x="9625" y="2624"/>
                    </a:cubicBezTo>
                    <a:cubicBezTo>
                      <a:pt x="9736" y="1829"/>
                      <a:pt x="9346" y="1480"/>
                      <a:pt x="8844" y="1131"/>
                    </a:cubicBezTo>
                    <a:cubicBezTo>
                      <a:pt x="8286" y="741"/>
                      <a:pt x="7742" y="532"/>
                      <a:pt x="7239" y="532"/>
                    </a:cubicBezTo>
                    <a:cubicBezTo>
                      <a:pt x="6947" y="532"/>
                      <a:pt x="6668" y="601"/>
                      <a:pt x="6403" y="741"/>
                    </a:cubicBezTo>
                    <a:cubicBezTo>
                      <a:pt x="6040" y="950"/>
                      <a:pt x="5691" y="1355"/>
                      <a:pt x="5370" y="1815"/>
                    </a:cubicBezTo>
                    <a:cubicBezTo>
                      <a:pt x="5635" y="1410"/>
                      <a:pt x="5928" y="1048"/>
                      <a:pt x="6235" y="769"/>
                    </a:cubicBezTo>
                    <a:cubicBezTo>
                      <a:pt x="6523" y="499"/>
                      <a:pt x="6862" y="394"/>
                      <a:pt x="7210" y="394"/>
                    </a:cubicBezTo>
                    <a:close/>
                    <a:moveTo>
                      <a:pt x="4115" y="7199"/>
                    </a:moveTo>
                    <a:lnTo>
                      <a:pt x="4115" y="7199"/>
                    </a:lnTo>
                    <a:cubicBezTo>
                      <a:pt x="3724" y="7897"/>
                      <a:pt x="3404" y="8580"/>
                      <a:pt x="3139" y="9277"/>
                    </a:cubicBezTo>
                    <a:lnTo>
                      <a:pt x="3125" y="9319"/>
                    </a:lnTo>
                    <a:cubicBezTo>
                      <a:pt x="2832" y="10114"/>
                      <a:pt x="2525" y="10882"/>
                      <a:pt x="3153" y="11621"/>
                    </a:cubicBezTo>
                    <a:cubicBezTo>
                      <a:pt x="3369" y="11862"/>
                      <a:pt x="3909" y="12176"/>
                      <a:pt x="4322" y="12176"/>
                    </a:cubicBezTo>
                    <a:cubicBezTo>
                      <a:pt x="4387" y="12176"/>
                      <a:pt x="4449" y="12168"/>
                      <a:pt x="4506" y="12151"/>
                    </a:cubicBezTo>
                    <a:cubicBezTo>
                      <a:pt x="4924" y="12025"/>
                      <a:pt x="5273" y="11732"/>
                      <a:pt x="5552" y="11370"/>
                    </a:cubicBezTo>
                    <a:lnTo>
                      <a:pt x="5552" y="11370"/>
                    </a:lnTo>
                    <a:cubicBezTo>
                      <a:pt x="5259" y="11872"/>
                      <a:pt x="5008" y="12207"/>
                      <a:pt x="4575" y="12249"/>
                    </a:cubicBezTo>
                    <a:cubicBezTo>
                      <a:pt x="4534" y="12254"/>
                      <a:pt x="4491" y="12256"/>
                      <a:pt x="4447" y="12256"/>
                    </a:cubicBezTo>
                    <a:cubicBezTo>
                      <a:pt x="3900" y="12256"/>
                      <a:pt x="3185" y="11872"/>
                      <a:pt x="2901" y="11523"/>
                    </a:cubicBezTo>
                    <a:cubicBezTo>
                      <a:pt x="2232" y="10686"/>
                      <a:pt x="3334" y="8552"/>
                      <a:pt x="4115" y="7199"/>
                    </a:cubicBezTo>
                    <a:close/>
                    <a:moveTo>
                      <a:pt x="2343" y="7157"/>
                    </a:moveTo>
                    <a:lnTo>
                      <a:pt x="2343" y="7157"/>
                    </a:lnTo>
                    <a:cubicBezTo>
                      <a:pt x="2148" y="7562"/>
                      <a:pt x="1953" y="7966"/>
                      <a:pt x="1800" y="8371"/>
                    </a:cubicBezTo>
                    <a:lnTo>
                      <a:pt x="1674" y="8650"/>
                    </a:lnTo>
                    <a:cubicBezTo>
                      <a:pt x="977" y="10198"/>
                      <a:pt x="112" y="12109"/>
                      <a:pt x="1018" y="13350"/>
                    </a:cubicBezTo>
                    <a:cubicBezTo>
                      <a:pt x="1437" y="13922"/>
                      <a:pt x="2120" y="14257"/>
                      <a:pt x="2650" y="14480"/>
                    </a:cubicBezTo>
                    <a:cubicBezTo>
                      <a:pt x="2991" y="14622"/>
                      <a:pt x="3358" y="14734"/>
                      <a:pt x="3740" y="14734"/>
                    </a:cubicBezTo>
                    <a:cubicBezTo>
                      <a:pt x="4372" y="14734"/>
                      <a:pt x="5044" y="14426"/>
                      <a:pt x="5705" y="13434"/>
                    </a:cubicBezTo>
                    <a:cubicBezTo>
                      <a:pt x="6416" y="12374"/>
                      <a:pt x="7058" y="11202"/>
                      <a:pt x="7644" y="9933"/>
                    </a:cubicBezTo>
                    <a:lnTo>
                      <a:pt x="7644" y="9933"/>
                    </a:lnTo>
                    <a:cubicBezTo>
                      <a:pt x="6891" y="11621"/>
                      <a:pt x="6110" y="12988"/>
                      <a:pt x="5273" y="14048"/>
                    </a:cubicBezTo>
                    <a:cubicBezTo>
                      <a:pt x="4798" y="14659"/>
                      <a:pt x="4290" y="14866"/>
                      <a:pt x="3784" y="14866"/>
                    </a:cubicBezTo>
                    <a:cubicBezTo>
                      <a:pt x="3307" y="14866"/>
                      <a:pt x="2831" y="14683"/>
                      <a:pt x="2385" y="14480"/>
                    </a:cubicBezTo>
                    <a:cubicBezTo>
                      <a:pt x="1451" y="14062"/>
                      <a:pt x="419" y="13392"/>
                      <a:pt x="600" y="11816"/>
                    </a:cubicBezTo>
                    <a:cubicBezTo>
                      <a:pt x="767" y="10338"/>
                      <a:pt x="1576" y="8678"/>
                      <a:pt x="2343" y="7157"/>
                    </a:cubicBezTo>
                    <a:close/>
                    <a:moveTo>
                      <a:pt x="7221" y="0"/>
                    </a:moveTo>
                    <a:cubicBezTo>
                      <a:pt x="6794" y="0"/>
                      <a:pt x="6369" y="129"/>
                      <a:pt x="5998" y="462"/>
                    </a:cubicBezTo>
                    <a:cubicBezTo>
                      <a:pt x="5426" y="1006"/>
                      <a:pt x="4924" y="1843"/>
                      <a:pt x="4464" y="2596"/>
                    </a:cubicBezTo>
                    <a:cubicBezTo>
                      <a:pt x="4366" y="2763"/>
                      <a:pt x="4254" y="2945"/>
                      <a:pt x="4157" y="3098"/>
                    </a:cubicBezTo>
                    <a:cubicBezTo>
                      <a:pt x="3557" y="4061"/>
                      <a:pt x="2985" y="5079"/>
                      <a:pt x="2441" y="6125"/>
                    </a:cubicBezTo>
                    <a:lnTo>
                      <a:pt x="2204" y="6599"/>
                    </a:lnTo>
                    <a:cubicBezTo>
                      <a:pt x="1367" y="8245"/>
                      <a:pt x="405" y="10086"/>
                      <a:pt x="209" y="11760"/>
                    </a:cubicBezTo>
                    <a:cubicBezTo>
                      <a:pt x="0" y="13602"/>
                      <a:pt x="1256" y="14383"/>
                      <a:pt x="2218" y="14815"/>
                    </a:cubicBezTo>
                    <a:cubicBezTo>
                      <a:pt x="2581" y="14969"/>
                      <a:pt x="3139" y="15234"/>
                      <a:pt x="3752" y="15234"/>
                    </a:cubicBezTo>
                    <a:cubicBezTo>
                      <a:pt x="4352" y="15234"/>
                      <a:pt x="4980" y="15010"/>
                      <a:pt x="5552" y="14257"/>
                    </a:cubicBezTo>
                    <a:cubicBezTo>
                      <a:pt x="6682" y="12820"/>
                      <a:pt x="7686" y="10896"/>
                      <a:pt x="8662" y="8357"/>
                    </a:cubicBezTo>
                    <a:cubicBezTo>
                      <a:pt x="8718" y="8217"/>
                      <a:pt x="8718" y="8078"/>
                      <a:pt x="8634" y="7980"/>
                    </a:cubicBezTo>
                    <a:cubicBezTo>
                      <a:pt x="8575" y="7886"/>
                      <a:pt x="8477" y="7851"/>
                      <a:pt x="8372" y="7851"/>
                    </a:cubicBezTo>
                    <a:cubicBezTo>
                      <a:pt x="8352" y="7851"/>
                      <a:pt x="8333" y="7853"/>
                      <a:pt x="8314" y="7855"/>
                    </a:cubicBezTo>
                    <a:cubicBezTo>
                      <a:pt x="8160" y="7869"/>
                      <a:pt x="8035" y="7994"/>
                      <a:pt x="7965" y="8148"/>
                    </a:cubicBezTo>
                    <a:cubicBezTo>
                      <a:pt x="7239" y="10031"/>
                      <a:pt x="6361" y="11746"/>
                      <a:pt x="5384" y="13211"/>
                    </a:cubicBezTo>
                    <a:cubicBezTo>
                      <a:pt x="4823" y="14044"/>
                      <a:pt x="4302" y="14348"/>
                      <a:pt x="3739" y="14348"/>
                    </a:cubicBezTo>
                    <a:cubicBezTo>
                      <a:pt x="3435" y="14348"/>
                      <a:pt x="3118" y="14260"/>
                      <a:pt x="2776" y="14118"/>
                    </a:cubicBezTo>
                    <a:cubicBezTo>
                      <a:pt x="2288" y="13908"/>
                      <a:pt x="1660" y="13615"/>
                      <a:pt x="1297" y="13099"/>
                    </a:cubicBezTo>
                    <a:cubicBezTo>
                      <a:pt x="502" y="12039"/>
                      <a:pt x="1325" y="10226"/>
                      <a:pt x="1995" y="8761"/>
                    </a:cubicBezTo>
                    <a:lnTo>
                      <a:pt x="2106" y="8482"/>
                    </a:lnTo>
                    <a:cubicBezTo>
                      <a:pt x="2901" y="6711"/>
                      <a:pt x="3780" y="5009"/>
                      <a:pt x="4757" y="3461"/>
                    </a:cubicBezTo>
                    <a:cubicBezTo>
                      <a:pt x="4854" y="3335"/>
                      <a:pt x="4938" y="3196"/>
                      <a:pt x="5022" y="3042"/>
                    </a:cubicBezTo>
                    <a:cubicBezTo>
                      <a:pt x="5440" y="2331"/>
                      <a:pt x="6040" y="1355"/>
                      <a:pt x="6598" y="1034"/>
                    </a:cubicBezTo>
                    <a:cubicBezTo>
                      <a:pt x="6806" y="917"/>
                      <a:pt x="7022" y="869"/>
                      <a:pt x="7239" y="869"/>
                    </a:cubicBezTo>
                    <a:cubicBezTo>
                      <a:pt x="7747" y="869"/>
                      <a:pt x="8253" y="1136"/>
                      <a:pt x="8634" y="1410"/>
                    </a:cubicBezTo>
                    <a:cubicBezTo>
                      <a:pt x="9150" y="1773"/>
                      <a:pt x="9457" y="2038"/>
                      <a:pt x="9178" y="3015"/>
                    </a:cubicBezTo>
                    <a:cubicBezTo>
                      <a:pt x="9109" y="3252"/>
                      <a:pt x="8969" y="3531"/>
                      <a:pt x="8844" y="3810"/>
                    </a:cubicBezTo>
                    <a:cubicBezTo>
                      <a:pt x="8774" y="3949"/>
                      <a:pt x="8718" y="4061"/>
                      <a:pt x="8662" y="4172"/>
                    </a:cubicBezTo>
                    <a:cubicBezTo>
                      <a:pt x="8341" y="4967"/>
                      <a:pt x="7937" y="5874"/>
                      <a:pt x="7518" y="6753"/>
                    </a:cubicBezTo>
                    <a:cubicBezTo>
                      <a:pt x="7044" y="7771"/>
                      <a:pt x="6612" y="8636"/>
                      <a:pt x="6193" y="9445"/>
                    </a:cubicBezTo>
                    <a:cubicBezTo>
                      <a:pt x="6124" y="9570"/>
                      <a:pt x="6054" y="9682"/>
                      <a:pt x="5984" y="9821"/>
                    </a:cubicBezTo>
                    <a:cubicBezTo>
                      <a:pt x="5580" y="10630"/>
                      <a:pt x="5133" y="11537"/>
                      <a:pt x="4394" y="11746"/>
                    </a:cubicBezTo>
                    <a:cubicBezTo>
                      <a:pt x="4368" y="11754"/>
                      <a:pt x="4337" y="11758"/>
                      <a:pt x="4304" y="11758"/>
                    </a:cubicBezTo>
                    <a:cubicBezTo>
                      <a:pt x="4040" y="11758"/>
                      <a:pt x="3593" y="11528"/>
                      <a:pt x="3431" y="11342"/>
                    </a:cubicBezTo>
                    <a:cubicBezTo>
                      <a:pt x="2957" y="10756"/>
                      <a:pt x="3180" y="10198"/>
                      <a:pt x="3473" y="9403"/>
                    </a:cubicBezTo>
                    <a:lnTo>
                      <a:pt x="3487" y="9361"/>
                    </a:lnTo>
                    <a:cubicBezTo>
                      <a:pt x="3836" y="8455"/>
                      <a:pt x="4296" y="7548"/>
                      <a:pt x="4882" y="6571"/>
                    </a:cubicBezTo>
                    <a:cubicBezTo>
                      <a:pt x="5022" y="6334"/>
                      <a:pt x="4952" y="6111"/>
                      <a:pt x="4798" y="6027"/>
                    </a:cubicBezTo>
                    <a:cubicBezTo>
                      <a:pt x="4752" y="6000"/>
                      <a:pt x="4693" y="5984"/>
                      <a:pt x="4630" y="5984"/>
                    </a:cubicBezTo>
                    <a:cubicBezTo>
                      <a:pt x="4504" y="5984"/>
                      <a:pt x="4361" y="6046"/>
                      <a:pt x="4268" y="6195"/>
                    </a:cubicBezTo>
                    <a:lnTo>
                      <a:pt x="4254" y="6223"/>
                    </a:lnTo>
                    <a:cubicBezTo>
                      <a:pt x="3418" y="7618"/>
                      <a:pt x="1646" y="10533"/>
                      <a:pt x="2609" y="11732"/>
                    </a:cubicBezTo>
                    <a:cubicBezTo>
                      <a:pt x="2940" y="12165"/>
                      <a:pt x="3735" y="12610"/>
                      <a:pt x="4413" y="12610"/>
                    </a:cubicBezTo>
                    <a:cubicBezTo>
                      <a:pt x="4477" y="12610"/>
                      <a:pt x="4541" y="12606"/>
                      <a:pt x="4603" y="12597"/>
                    </a:cubicBezTo>
                    <a:cubicBezTo>
                      <a:pt x="5273" y="12528"/>
                      <a:pt x="5607" y="11956"/>
                      <a:pt x="5900" y="11467"/>
                    </a:cubicBezTo>
                    <a:cubicBezTo>
                      <a:pt x="7170" y="9361"/>
                      <a:pt x="8188" y="7129"/>
                      <a:pt x="9192" y="4828"/>
                    </a:cubicBezTo>
                    <a:lnTo>
                      <a:pt x="9346" y="4451"/>
                    </a:lnTo>
                    <a:cubicBezTo>
                      <a:pt x="9973" y="3056"/>
                      <a:pt x="10517" y="1857"/>
                      <a:pt x="9374" y="894"/>
                    </a:cubicBezTo>
                    <a:cubicBezTo>
                      <a:pt x="8886" y="481"/>
                      <a:pt x="8048" y="0"/>
                      <a:pt x="7221" y="0"/>
                    </a:cubicBez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sp>
        <p:nvSpPr>
          <p:cNvPr id="400" name="Google Shape;400;p19"/>
          <p:cNvSpPr txBox="1">
            <a:spLocks noGrp="1"/>
          </p:cNvSpPr>
          <p:nvPr>
            <p:ph type="title"/>
          </p:nvPr>
        </p:nvSpPr>
        <p:spPr>
          <a:xfrm>
            <a:off x="3874000" y="2716433"/>
            <a:ext cx="4271200" cy="1195600"/>
          </a:xfrm>
          <a:prstGeom prst="rect">
            <a:avLst/>
          </a:prstGeom>
        </p:spPr>
        <p:txBody>
          <a:bodyPr spcFirstLastPara="1" wrap="square" lIns="91425" tIns="91425" rIns="91425" bIns="91425" anchor="b" anchorCtr="0">
            <a:normAutofit/>
          </a:bodyPr>
          <a:lstStyle>
            <a:lvl1pPr lvl="0" algn="ctr" rtl="0">
              <a:spcBef>
                <a:spcPts val="0"/>
              </a:spcBef>
              <a:spcAft>
                <a:spcPts val="0"/>
              </a:spcAft>
              <a:buSzPts val="4200"/>
              <a:buNone/>
              <a:defRPr sz="6400"/>
            </a:lvl1pPr>
            <a:lvl2pPr lvl="1" algn="ctr" rtl="0">
              <a:spcBef>
                <a:spcPts val="0"/>
              </a:spcBef>
              <a:spcAft>
                <a:spcPts val="0"/>
              </a:spcAft>
              <a:buSzPts val="4200"/>
              <a:buNone/>
              <a:defRPr sz="5600"/>
            </a:lvl2pPr>
            <a:lvl3pPr lvl="2" algn="ctr" rtl="0">
              <a:spcBef>
                <a:spcPts val="0"/>
              </a:spcBef>
              <a:spcAft>
                <a:spcPts val="0"/>
              </a:spcAft>
              <a:buSzPts val="4200"/>
              <a:buNone/>
              <a:defRPr sz="5600"/>
            </a:lvl3pPr>
            <a:lvl4pPr lvl="3" algn="ctr" rtl="0">
              <a:spcBef>
                <a:spcPts val="0"/>
              </a:spcBef>
              <a:spcAft>
                <a:spcPts val="0"/>
              </a:spcAft>
              <a:buSzPts val="4200"/>
              <a:buNone/>
              <a:defRPr sz="5600"/>
            </a:lvl4pPr>
            <a:lvl5pPr lvl="4" algn="ctr" rtl="0">
              <a:spcBef>
                <a:spcPts val="0"/>
              </a:spcBef>
              <a:spcAft>
                <a:spcPts val="0"/>
              </a:spcAft>
              <a:buSzPts val="4200"/>
              <a:buNone/>
              <a:defRPr sz="5600"/>
            </a:lvl5pPr>
            <a:lvl6pPr lvl="5" algn="ctr" rtl="0">
              <a:spcBef>
                <a:spcPts val="0"/>
              </a:spcBef>
              <a:spcAft>
                <a:spcPts val="0"/>
              </a:spcAft>
              <a:buSzPts val="4200"/>
              <a:buNone/>
              <a:defRPr sz="5600"/>
            </a:lvl6pPr>
            <a:lvl7pPr lvl="6" algn="ctr" rtl="0">
              <a:spcBef>
                <a:spcPts val="0"/>
              </a:spcBef>
              <a:spcAft>
                <a:spcPts val="0"/>
              </a:spcAft>
              <a:buSzPts val="4200"/>
              <a:buNone/>
              <a:defRPr sz="5600"/>
            </a:lvl7pPr>
            <a:lvl8pPr lvl="7" algn="ctr" rtl="0">
              <a:spcBef>
                <a:spcPts val="0"/>
              </a:spcBef>
              <a:spcAft>
                <a:spcPts val="0"/>
              </a:spcAft>
              <a:buSzPts val="4200"/>
              <a:buNone/>
              <a:defRPr sz="5600"/>
            </a:lvl8pPr>
            <a:lvl9pPr lvl="8" algn="ctr" rtl="0">
              <a:spcBef>
                <a:spcPts val="0"/>
              </a:spcBef>
              <a:spcAft>
                <a:spcPts val="0"/>
              </a:spcAft>
              <a:buSzPts val="4200"/>
              <a:buNone/>
              <a:defRPr sz="5600"/>
            </a:lvl9pPr>
          </a:lstStyle>
          <a:p>
            <a:endParaRPr/>
          </a:p>
        </p:txBody>
      </p:sp>
      <p:sp>
        <p:nvSpPr>
          <p:cNvPr id="401" name="Google Shape;401;p19"/>
          <p:cNvSpPr txBox="1">
            <a:spLocks noGrp="1"/>
          </p:cNvSpPr>
          <p:nvPr>
            <p:ph type="subTitle" idx="1"/>
          </p:nvPr>
        </p:nvSpPr>
        <p:spPr>
          <a:xfrm>
            <a:off x="4233000" y="4651833"/>
            <a:ext cx="3726000" cy="16468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2100"/>
              <a:buNone/>
              <a:defRPr/>
            </a:lvl1pPr>
            <a:lvl2pPr lvl="1" algn="ctr" rtl="0">
              <a:lnSpc>
                <a:spcPct val="100000"/>
              </a:lnSpc>
              <a:spcBef>
                <a:spcPts val="0"/>
              </a:spcBef>
              <a:spcAft>
                <a:spcPts val="0"/>
              </a:spcAft>
              <a:buSzPts val="2100"/>
              <a:buNone/>
              <a:defRPr sz="2800"/>
            </a:lvl2pPr>
            <a:lvl3pPr lvl="2" algn="ctr" rtl="0">
              <a:lnSpc>
                <a:spcPct val="100000"/>
              </a:lnSpc>
              <a:spcBef>
                <a:spcPts val="0"/>
              </a:spcBef>
              <a:spcAft>
                <a:spcPts val="0"/>
              </a:spcAft>
              <a:buSzPts val="2100"/>
              <a:buNone/>
              <a:defRPr sz="2800"/>
            </a:lvl3pPr>
            <a:lvl4pPr lvl="3" algn="ctr" rtl="0">
              <a:lnSpc>
                <a:spcPct val="100000"/>
              </a:lnSpc>
              <a:spcBef>
                <a:spcPts val="0"/>
              </a:spcBef>
              <a:spcAft>
                <a:spcPts val="0"/>
              </a:spcAft>
              <a:buSzPts val="2100"/>
              <a:buNone/>
              <a:defRPr sz="2800"/>
            </a:lvl4pPr>
            <a:lvl5pPr lvl="4" algn="ctr" rtl="0">
              <a:lnSpc>
                <a:spcPct val="100000"/>
              </a:lnSpc>
              <a:spcBef>
                <a:spcPts val="0"/>
              </a:spcBef>
              <a:spcAft>
                <a:spcPts val="0"/>
              </a:spcAft>
              <a:buSzPts val="2100"/>
              <a:buNone/>
              <a:defRPr sz="2800"/>
            </a:lvl5pPr>
            <a:lvl6pPr lvl="5" algn="ctr" rtl="0">
              <a:lnSpc>
                <a:spcPct val="100000"/>
              </a:lnSpc>
              <a:spcBef>
                <a:spcPts val="0"/>
              </a:spcBef>
              <a:spcAft>
                <a:spcPts val="0"/>
              </a:spcAft>
              <a:buSzPts val="2100"/>
              <a:buNone/>
              <a:defRPr sz="2800"/>
            </a:lvl6pPr>
            <a:lvl7pPr lvl="6" algn="ctr" rtl="0">
              <a:lnSpc>
                <a:spcPct val="100000"/>
              </a:lnSpc>
              <a:spcBef>
                <a:spcPts val="0"/>
              </a:spcBef>
              <a:spcAft>
                <a:spcPts val="0"/>
              </a:spcAft>
              <a:buSzPts val="2100"/>
              <a:buNone/>
              <a:defRPr sz="2800"/>
            </a:lvl7pPr>
            <a:lvl8pPr lvl="7" algn="ctr" rtl="0">
              <a:lnSpc>
                <a:spcPct val="100000"/>
              </a:lnSpc>
              <a:spcBef>
                <a:spcPts val="0"/>
              </a:spcBef>
              <a:spcAft>
                <a:spcPts val="0"/>
              </a:spcAft>
              <a:buSzPts val="2100"/>
              <a:buNone/>
              <a:defRPr sz="2800"/>
            </a:lvl8pPr>
            <a:lvl9pPr lvl="8" algn="ctr" rtl="0">
              <a:lnSpc>
                <a:spcPct val="100000"/>
              </a:lnSpc>
              <a:spcBef>
                <a:spcPts val="0"/>
              </a:spcBef>
              <a:spcAft>
                <a:spcPts val="0"/>
              </a:spcAft>
              <a:buSzPts val="2100"/>
              <a:buNone/>
              <a:defRPr sz="2800"/>
            </a:lvl9pPr>
          </a:lstStyle>
          <a:p>
            <a:endParaRPr/>
          </a:p>
        </p:txBody>
      </p:sp>
      <p:sp>
        <p:nvSpPr>
          <p:cNvPr id="402" name="Google Shape;402;p19"/>
          <p:cNvSpPr txBox="1">
            <a:spLocks noGrp="1"/>
          </p:cNvSpPr>
          <p:nvPr>
            <p:ph type="title" idx="2" hasCustomPrompt="1"/>
          </p:nvPr>
        </p:nvSpPr>
        <p:spPr>
          <a:xfrm>
            <a:off x="3874000" y="2240200"/>
            <a:ext cx="4271200" cy="770400"/>
          </a:xfrm>
          <a:prstGeom prst="rect">
            <a:avLst/>
          </a:prstGeom>
          <a:noFill/>
        </p:spPr>
        <p:txBody>
          <a:bodyPr spcFirstLastPara="1" wrap="square" lIns="91425" tIns="91425" rIns="91425" bIns="91425" anchor="ctr" anchorCtr="0">
            <a:normAutofit/>
          </a:bodyPr>
          <a:lstStyle>
            <a:lvl1pPr lvl="0" algn="ctr" rtl="0">
              <a:spcBef>
                <a:spcPts val="0"/>
              </a:spcBef>
              <a:spcAft>
                <a:spcPts val="0"/>
              </a:spcAft>
              <a:buSzPts val="5500"/>
              <a:buNone/>
              <a:defRPr sz="6400"/>
            </a:lvl1pPr>
            <a:lvl2pPr lvl="1"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2pPr>
            <a:lvl3pPr lvl="2"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3pPr>
            <a:lvl4pPr lvl="3"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4pPr>
            <a:lvl5pPr lvl="4"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5pPr>
            <a:lvl6pPr lvl="5"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6pPr>
            <a:lvl7pPr lvl="6"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7pPr>
            <a:lvl8pPr lvl="7"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8pPr>
            <a:lvl9pPr lvl="8"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9pPr>
          </a:lstStyle>
          <a:p>
            <a:r>
              <a:t>xx%</a:t>
            </a:r>
          </a:p>
        </p:txBody>
      </p:sp>
      <p:sp>
        <p:nvSpPr>
          <p:cNvPr id="403" name="Google Shape;403;p19"/>
          <p:cNvSpPr/>
          <p:nvPr/>
        </p:nvSpPr>
        <p:spPr>
          <a:xfrm>
            <a:off x="-151522" y="-48136"/>
            <a:ext cx="2244243" cy="955533"/>
          </a:xfrm>
          <a:custGeom>
            <a:avLst/>
            <a:gdLst/>
            <a:ahLst/>
            <a:cxnLst/>
            <a:rect l="l" t="t" r="r" b="b"/>
            <a:pathLst>
              <a:path w="17010" h="7242" extrusionOk="0">
                <a:moveTo>
                  <a:pt x="1" y="1"/>
                </a:moveTo>
                <a:cubicBezTo>
                  <a:pt x="677" y="4099"/>
                  <a:pt x="4238" y="7242"/>
                  <a:pt x="8515" y="7242"/>
                </a:cubicBezTo>
                <a:cubicBezTo>
                  <a:pt x="12792" y="7242"/>
                  <a:pt x="16333" y="4099"/>
                  <a:pt x="17009" y="1"/>
                </a:cubicBez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04" name="Google Shape;404;p19"/>
          <p:cNvSpPr/>
          <p:nvPr/>
        </p:nvSpPr>
        <p:spPr>
          <a:xfrm rot="-5400000" flipH="1">
            <a:off x="9346907" y="3879166"/>
            <a:ext cx="869860" cy="5357461"/>
          </a:xfrm>
          <a:custGeom>
            <a:avLst/>
            <a:gdLst/>
            <a:ahLst/>
            <a:cxnLst/>
            <a:rect l="l" t="t" r="r" b="b"/>
            <a:pathLst>
              <a:path w="18600" h="104829" extrusionOk="0">
                <a:moveTo>
                  <a:pt x="16360" y="1"/>
                </a:moveTo>
                <a:cubicBezTo>
                  <a:pt x="9962" y="1"/>
                  <a:pt x="4427" y="11283"/>
                  <a:pt x="3561" y="15670"/>
                </a:cubicBezTo>
                <a:cubicBezTo>
                  <a:pt x="1512" y="25875"/>
                  <a:pt x="9370" y="33772"/>
                  <a:pt x="10762" y="43341"/>
                </a:cubicBezTo>
                <a:cubicBezTo>
                  <a:pt x="11936" y="51337"/>
                  <a:pt x="10921" y="59692"/>
                  <a:pt x="7719" y="67132"/>
                </a:cubicBezTo>
                <a:cubicBezTo>
                  <a:pt x="5172" y="73120"/>
                  <a:pt x="1214" y="78750"/>
                  <a:pt x="657" y="85254"/>
                </a:cubicBezTo>
                <a:cubicBezTo>
                  <a:pt x="0" y="93609"/>
                  <a:pt x="9111" y="104590"/>
                  <a:pt x="18560" y="104829"/>
                </a:cubicBezTo>
                <a:lnTo>
                  <a:pt x="18560" y="104829"/>
                </a:lnTo>
                <a:cubicBezTo>
                  <a:pt x="18600" y="104809"/>
                  <a:pt x="18341" y="372"/>
                  <a:pt x="18341" y="372"/>
                </a:cubicBezTo>
                <a:cubicBezTo>
                  <a:pt x="17675" y="118"/>
                  <a:pt x="17013" y="1"/>
                  <a:pt x="16360" y="1"/>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05" name="Google Shape;405;p19"/>
          <p:cNvSpPr/>
          <p:nvPr/>
        </p:nvSpPr>
        <p:spPr>
          <a:xfrm>
            <a:off x="11206563" y="6017856"/>
            <a:ext cx="344784" cy="303995"/>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06" name="Google Shape;406;p19"/>
          <p:cNvSpPr/>
          <p:nvPr/>
        </p:nvSpPr>
        <p:spPr>
          <a:xfrm>
            <a:off x="11003366" y="5730896"/>
            <a:ext cx="230463" cy="203209"/>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4"/>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07" name="Google Shape;407;p19"/>
          <p:cNvSpPr/>
          <p:nvPr/>
        </p:nvSpPr>
        <p:spPr>
          <a:xfrm>
            <a:off x="3053900" y="4557995"/>
            <a:ext cx="165455" cy="145863"/>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08" name="Google Shape;408;p19"/>
          <p:cNvSpPr/>
          <p:nvPr/>
        </p:nvSpPr>
        <p:spPr>
          <a:xfrm>
            <a:off x="3162767" y="4245445"/>
            <a:ext cx="109184" cy="96256"/>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409" name="Google Shape;409;p19"/>
          <p:cNvGrpSpPr/>
          <p:nvPr/>
        </p:nvGrpSpPr>
        <p:grpSpPr>
          <a:xfrm rot="5770333" flipH="1">
            <a:off x="1478320" y="567880"/>
            <a:ext cx="409016" cy="635117"/>
            <a:chOff x="4452729" y="352000"/>
            <a:chExt cx="225596" cy="350302"/>
          </a:xfrm>
        </p:grpSpPr>
        <p:sp>
          <p:nvSpPr>
            <p:cNvPr id="410" name="Google Shape;410;p19"/>
            <p:cNvSpPr/>
            <p:nvPr/>
          </p:nvSpPr>
          <p:spPr>
            <a:xfrm>
              <a:off x="4624575" y="352000"/>
              <a:ext cx="53750" cy="53225"/>
            </a:xfrm>
            <a:custGeom>
              <a:avLst/>
              <a:gdLst/>
              <a:ahLst/>
              <a:cxnLst/>
              <a:rect l="l" t="t" r="r" b="b"/>
              <a:pathLst>
                <a:path w="2150" h="2129" extrusionOk="0">
                  <a:moveTo>
                    <a:pt x="1075" y="0"/>
                  </a:moveTo>
                  <a:cubicBezTo>
                    <a:pt x="478" y="0"/>
                    <a:pt x="1" y="478"/>
                    <a:pt x="1" y="1075"/>
                  </a:cubicBezTo>
                  <a:cubicBezTo>
                    <a:pt x="1" y="1671"/>
                    <a:pt x="478" y="2129"/>
                    <a:pt x="1075" y="2129"/>
                  </a:cubicBezTo>
                  <a:cubicBezTo>
                    <a:pt x="1672" y="2129"/>
                    <a:pt x="2149" y="1671"/>
                    <a:pt x="2149" y="1075"/>
                  </a:cubicBezTo>
                  <a:cubicBezTo>
                    <a:pt x="2149" y="478"/>
                    <a:pt x="1672" y="0"/>
                    <a:pt x="107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1" name="Google Shape;411;p19"/>
            <p:cNvSpPr/>
            <p:nvPr/>
          </p:nvSpPr>
          <p:spPr>
            <a:xfrm>
              <a:off x="4452729" y="426046"/>
              <a:ext cx="62200" cy="62700"/>
            </a:xfrm>
            <a:custGeom>
              <a:avLst/>
              <a:gdLst/>
              <a:ahLst/>
              <a:cxnLst/>
              <a:rect l="l" t="t" r="r" b="b"/>
              <a:pathLst>
                <a:path w="2488" h="2508" extrusionOk="0">
                  <a:moveTo>
                    <a:pt x="1254" y="1"/>
                  </a:moveTo>
                  <a:cubicBezTo>
                    <a:pt x="557" y="1"/>
                    <a:pt x="0" y="558"/>
                    <a:pt x="0" y="1254"/>
                  </a:cubicBezTo>
                  <a:cubicBezTo>
                    <a:pt x="0" y="1950"/>
                    <a:pt x="557" y="2507"/>
                    <a:pt x="1254" y="2507"/>
                  </a:cubicBezTo>
                  <a:cubicBezTo>
                    <a:pt x="1950" y="2507"/>
                    <a:pt x="2487" y="1950"/>
                    <a:pt x="2487" y="1254"/>
                  </a:cubicBezTo>
                  <a:cubicBezTo>
                    <a:pt x="2487" y="558"/>
                    <a:pt x="1950" y="1"/>
                    <a:pt x="125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2" name="Google Shape;412;p19"/>
            <p:cNvSpPr/>
            <p:nvPr/>
          </p:nvSpPr>
          <p:spPr>
            <a:xfrm>
              <a:off x="4503927" y="572104"/>
              <a:ext cx="130152" cy="130197"/>
            </a:xfrm>
            <a:custGeom>
              <a:avLst/>
              <a:gdLst/>
              <a:ahLst/>
              <a:cxnLst/>
              <a:rect l="l" t="t" r="r" b="b"/>
              <a:pathLst>
                <a:path w="2845" h="2846" extrusionOk="0">
                  <a:moveTo>
                    <a:pt x="1432" y="1"/>
                  </a:moveTo>
                  <a:cubicBezTo>
                    <a:pt x="656" y="1"/>
                    <a:pt x="0" y="618"/>
                    <a:pt x="0" y="1413"/>
                  </a:cubicBezTo>
                  <a:cubicBezTo>
                    <a:pt x="0" y="2189"/>
                    <a:pt x="637" y="2846"/>
                    <a:pt x="1432" y="2846"/>
                  </a:cubicBezTo>
                  <a:cubicBezTo>
                    <a:pt x="2188" y="2846"/>
                    <a:pt x="2845" y="2209"/>
                    <a:pt x="2845" y="1413"/>
                  </a:cubicBezTo>
                  <a:cubicBezTo>
                    <a:pt x="2845" y="618"/>
                    <a:pt x="2188" y="1"/>
                    <a:pt x="14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413" name="Google Shape;413;p19"/>
          <p:cNvSpPr/>
          <p:nvPr/>
        </p:nvSpPr>
        <p:spPr>
          <a:xfrm>
            <a:off x="3402067" y="4582783"/>
            <a:ext cx="109184" cy="96291"/>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194240605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Section title and description 2">
  <p:cSld name="Section title and description 2">
    <p:bg>
      <p:bgPr>
        <a:blipFill>
          <a:blip r:embed="rId2">
            <a:alphaModFix/>
          </a:blip>
          <a:stretch>
            <a:fillRect/>
          </a:stretch>
        </a:blipFill>
        <a:effectLst/>
      </p:bgPr>
    </p:bg>
    <p:spTree>
      <p:nvGrpSpPr>
        <p:cNvPr id="1" name="Shape 414"/>
        <p:cNvGrpSpPr/>
        <p:nvPr/>
      </p:nvGrpSpPr>
      <p:grpSpPr>
        <a:xfrm>
          <a:off x="0" y="0"/>
          <a:ext cx="0" cy="0"/>
          <a:chOff x="0" y="0"/>
          <a:chExt cx="0" cy="0"/>
        </a:xfrm>
      </p:grpSpPr>
      <p:grpSp>
        <p:nvGrpSpPr>
          <p:cNvPr id="415" name="Google Shape;415;p20"/>
          <p:cNvGrpSpPr/>
          <p:nvPr/>
        </p:nvGrpSpPr>
        <p:grpSpPr>
          <a:xfrm>
            <a:off x="3284634" y="486351"/>
            <a:ext cx="5679085" cy="5885285"/>
            <a:chOff x="3190142" y="3858843"/>
            <a:chExt cx="1210411" cy="1266306"/>
          </a:xfrm>
        </p:grpSpPr>
        <p:sp>
          <p:nvSpPr>
            <p:cNvPr id="416" name="Google Shape;416;p20"/>
            <p:cNvSpPr/>
            <p:nvPr/>
          </p:nvSpPr>
          <p:spPr>
            <a:xfrm>
              <a:off x="3196894" y="3870999"/>
              <a:ext cx="1197621" cy="1251167"/>
            </a:xfrm>
            <a:custGeom>
              <a:avLst/>
              <a:gdLst/>
              <a:ahLst/>
              <a:cxnLst/>
              <a:rect l="l" t="t" r="r" b="b"/>
              <a:pathLst>
                <a:path w="47007" h="45287" extrusionOk="0">
                  <a:moveTo>
                    <a:pt x="31033" y="1"/>
                  </a:moveTo>
                  <a:cubicBezTo>
                    <a:pt x="20925" y="1"/>
                    <a:pt x="10833" y="666"/>
                    <a:pt x="795" y="1987"/>
                  </a:cubicBezTo>
                  <a:cubicBezTo>
                    <a:pt x="1060" y="16215"/>
                    <a:pt x="781" y="30442"/>
                    <a:pt x="0" y="44628"/>
                  </a:cubicBezTo>
                  <a:cubicBezTo>
                    <a:pt x="446" y="44768"/>
                    <a:pt x="1088" y="44740"/>
                    <a:pt x="1465" y="44782"/>
                  </a:cubicBezTo>
                  <a:cubicBezTo>
                    <a:pt x="1953" y="44837"/>
                    <a:pt x="2413" y="44893"/>
                    <a:pt x="2901" y="44949"/>
                  </a:cubicBezTo>
                  <a:cubicBezTo>
                    <a:pt x="3808" y="45033"/>
                    <a:pt x="4701" y="45102"/>
                    <a:pt x="5607" y="45158"/>
                  </a:cubicBezTo>
                  <a:cubicBezTo>
                    <a:pt x="7316" y="45244"/>
                    <a:pt x="9014" y="45286"/>
                    <a:pt x="10720" y="45286"/>
                  </a:cubicBezTo>
                  <a:cubicBezTo>
                    <a:pt x="10964" y="45286"/>
                    <a:pt x="11208" y="45285"/>
                    <a:pt x="11452" y="45284"/>
                  </a:cubicBezTo>
                  <a:cubicBezTo>
                    <a:pt x="15357" y="45242"/>
                    <a:pt x="19277" y="45047"/>
                    <a:pt x="23183" y="44879"/>
                  </a:cubicBezTo>
                  <a:cubicBezTo>
                    <a:pt x="30980" y="44544"/>
                    <a:pt x="38749" y="44210"/>
                    <a:pt x="46547" y="43889"/>
                  </a:cubicBezTo>
                  <a:cubicBezTo>
                    <a:pt x="46407" y="37556"/>
                    <a:pt x="46686" y="31223"/>
                    <a:pt x="46839" y="24891"/>
                  </a:cubicBezTo>
                  <a:cubicBezTo>
                    <a:pt x="46979" y="19242"/>
                    <a:pt x="47007" y="13578"/>
                    <a:pt x="46477" y="7985"/>
                  </a:cubicBezTo>
                  <a:cubicBezTo>
                    <a:pt x="46323" y="6423"/>
                    <a:pt x="46142" y="4888"/>
                    <a:pt x="45905" y="3354"/>
                  </a:cubicBezTo>
                  <a:cubicBezTo>
                    <a:pt x="45793" y="2699"/>
                    <a:pt x="45751" y="1959"/>
                    <a:pt x="45556" y="1318"/>
                  </a:cubicBezTo>
                  <a:cubicBezTo>
                    <a:pt x="45221" y="271"/>
                    <a:pt x="44468" y="397"/>
                    <a:pt x="43562" y="341"/>
                  </a:cubicBezTo>
                  <a:cubicBezTo>
                    <a:pt x="40702" y="188"/>
                    <a:pt x="37829" y="76"/>
                    <a:pt x="34969" y="34"/>
                  </a:cubicBezTo>
                  <a:cubicBezTo>
                    <a:pt x="33657" y="12"/>
                    <a:pt x="32345" y="1"/>
                    <a:pt x="3103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7" name="Google Shape;417;p20"/>
            <p:cNvSpPr/>
            <p:nvPr/>
          </p:nvSpPr>
          <p:spPr>
            <a:xfrm>
              <a:off x="3190142" y="3858843"/>
              <a:ext cx="1210411" cy="1266306"/>
            </a:xfrm>
            <a:custGeom>
              <a:avLst/>
              <a:gdLst/>
              <a:ahLst/>
              <a:cxnLst/>
              <a:rect l="l" t="t" r="r" b="b"/>
              <a:pathLst>
                <a:path w="47509" h="45835" extrusionOk="0">
                  <a:moveTo>
                    <a:pt x="31268" y="532"/>
                  </a:moveTo>
                  <a:cubicBezTo>
                    <a:pt x="34605" y="532"/>
                    <a:pt x="37934" y="607"/>
                    <a:pt x="41246" y="753"/>
                  </a:cubicBezTo>
                  <a:cubicBezTo>
                    <a:pt x="42264" y="781"/>
                    <a:pt x="43255" y="837"/>
                    <a:pt x="44273" y="893"/>
                  </a:cubicBezTo>
                  <a:cubicBezTo>
                    <a:pt x="44873" y="921"/>
                    <a:pt x="45291" y="990"/>
                    <a:pt x="45556" y="1632"/>
                  </a:cubicBezTo>
                  <a:cubicBezTo>
                    <a:pt x="45765" y="2162"/>
                    <a:pt x="45779" y="2776"/>
                    <a:pt x="45849" y="3306"/>
                  </a:cubicBezTo>
                  <a:cubicBezTo>
                    <a:pt x="46156" y="5524"/>
                    <a:pt x="46449" y="7728"/>
                    <a:pt x="46602" y="9932"/>
                  </a:cubicBezTo>
                  <a:cubicBezTo>
                    <a:pt x="46993" y="14990"/>
                    <a:pt x="46965" y="20062"/>
                    <a:pt x="46854" y="25135"/>
                  </a:cubicBezTo>
                  <a:lnTo>
                    <a:pt x="46854" y="25135"/>
                  </a:lnTo>
                  <a:cubicBezTo>
                    <a:pt x="46854" y="25139"/>
                    <a:pt x="46853" y="25144"/>
                    <a:pt x="46853" y="25149"/>
                  </a:cubicBezTo>
                  <a:cubicBezTo>
                    <a:pt x="46688" y="31384"/>
                    <a:pt x="46414" y="37632"/>
                    <a:pt x="46541" y="43880"/>
                  </a:cubicBezTo>
                  <a:lnTo>
                    <a:pt x="46541" y="43880"/>
                  </a:lnTo>
                  <a:cubicBezTo>
                    <a:pt x="40507" y="44141"/>
                    <a:pt x="34461" y="44402"/>
                    <a:pt x="28441" y="44650"/>
                  </a:cubicBezTo>
                  <a:cubicBezTo>
                    <a:pt x="22553" y="44906"/>
                    <a:pt x="16679" y="45279"/>
                    <a:pt x="10804" y="45279"/>
                  </a:cubicBezTo>
                  <a:cubicBezTo>
                    <a:pt x="10597" y="45279"/>
                    <a:pt x="10390" y="45278"/>
                    <a:pt x="10182" y="45277"/>
                  </a:cubicBezTo>
                  <a:cubicBezTo>
                    <a:pt x="8467" y="45277"/>
                    <a:pt x="6751" y="45222"/>
                    <a:pt x="5035" y="45110"/>
                  </a:cubicBezTo>
                  <a:cubicBezTo>
                    <a:pt x="4212" y="45054"/>
                    <a:pt x="3417" y="44984"/>
                    <a:pt x="2594" y="44901"/>
                  </a:cubicBezTo>
                  <a:cubicBezTo>
                    <a:pt x="1912" y="44812"/>
                    <a:pt x="1196" y="44827"/>
                    <a:pt x="528" y="44685"/>
                  </a:cubicBezTo>
                  <a:lnTo>
                    <a:pt x="528" y="44685"/>
                  </a:lnTo>
                  <a:cubicBezTo>
                    <a:pt x="1310" y="30634"/>
                    <a:pt x="1586" y="16555"/>
                    <a:pt x="1329" y="2476"/>
                  </a:cubicBezTo>
                  <a:lnTo>
                    <a:pt x="1329" y="2476"/>
                  </a:lnTo>
                  <a:cubicBezTo>
                    <a:pt x="10140" y="1340"/>
                    <a:pt x="18991" y="682"/>
                    <a:pt x="27869" y="558"/>
                  </a:cubicBezTo>
                  <a:cubicBezTo>
                    <a:pt x="29003" y="540"/>
                    <a:pt x="30136" y="532"/>
                    <a:pt x="31268" y="532"/>
                  </a:cubicBezTo>
                  <a:close/>
                  <a:moveTo>
                    <a:pt x="31119" y="0"/>
                  </a:moveTo>
                  <a:cubicBezTo>
                    <a:pt x="26433" y="0"/>
                    <a:pt x="21760" y="154"/>
                    <a:pt x="17087" y="433"/>
                  </a:cubicBezTo>
                  <a:cubicBezTo>
                    <a:pt x="11731" y="767"/>
                    <a:pt x="6375" y="1283"/>
                    <a:pt x="1060" y="1981"/>
                  </a:cubicBezTo>
                  <a:cubicBezTo>
                    <a:pt x="921" y="2009"/>
                    <a:pt x="795" y="2092"/>
                    <a:pt x="795" y="2246"/>
                  </a:cubicBezTo>
                  <a:cubicBezTo>
                    <a:pt x="1060" y="16459"/>
                    <a:pt x="781" y="30687"/>
                    <a:pt x="0" y="44901"/>
                  </a:cubicBezTo>
                  <a:cubicBezTo>
                    <a:pt x="0" y="45012"/>
                    <a:pt x="84" y="45124"/>
                    <a:pt x="195" y="45152"/>
                  </a:cubicBezTo>
                  <a:cubicBezTo>
                    <a:pt x="1283" y="45431"/>
                    <a:pt x="2539" y="45431"/>
                    <a:pt x="3682" y="45542"/>
                  </a:cubicBezTo>
                  <a:cubicBezTo>
                    <a:pt x="5217" y="45682"/>
                    <a:pt x="6751" y="45752"/>
                    <a:pt x="8285" y="45807"/>
                  </a:cubicBezTo>
                  <a:cubicBezTo>
                    <a:pt x="9128" y="45826"/>
                    <a:pt x="9973" y="45835"/>
                    <a:pt x="10817" y="45835"/>
                  </a:cubicBezTo>
                  <a:cubicBezTo>
                    <a:pt x="13075" y="45835"/>
                    <a:pt x="15336" y="45773"/>
                    <a:pt x="17589" y="45682"/>
                  </a:cubicBezTo>
                  <a:cubicBezTo>
                    <a:pt x="23782" y="45431"/>
                    <a:pt x="29976" y="45138"/>
                    <a:pt x="36155" y="44873"/>
                  </a:cubicBezTo>
                  <a:cubicBezTo>
                    <a:pt x="39712" y="44719"/>
                    <a:pt x="43255" y="44580"/>
                    <a:pt x="46812" y="44426"/>
                  </a:cubicBezTo>
                  <a:cubicBezTo>
                    <a:pt x="46951" y="44426"/>
                    <a:pt x="47077" y="44301"/>
                    <a:pt x="47077" y="44161"/>
                  </a:cubicBezTo>
                  <a:cubicBezTo>
                    <a:pt x="46951" y="37843"/>
                    <a:pt x="47216" y="31510"/>
                    <a:pt x="47369" y="25177"/>
                  </a:cubicBezTo>
                  <a:cubicBezTo>
                    <a:pt x="47370" y="25168"/>
                    <a:pt x="47370" y="25158"/>
                    <a:pt x="47370" y="25149"/>
                  </a:cubicBezTo>
                  <a:lnTo>
                    <a:pt x="47370" y="25149"/>
                  </a:lnTo>
                  <a:cubicBezTo>
                    <a:pt x="47481" y="20309"/>
                    <a:pt x="47509" y="15469"/>
                    <a:pt x="47174" y="10643"/>
                  </a:cubicBezTo>
                  <a:cubicBezTo>
                    <a:pt x="47021" y="8425"/>
                    <a:pt x="46798" y="6221"/>
                    <a:pt x="46477" y="4031"/>
                  </a:cubicBezTo>
                  <a:cubicBezTo>
                    <a:pt x="46295" y="2734"/>
                    <a:pt x="46407" y="628"/>
                    <a:pt x="44733" y="391"/>
                  </a:cubicBezTo>
                  <a:cubicBezTo>
                    <a:pt x="42641" y="84"/>
                    <a:pt x="40437" y="154"/>
                    <a:pt x="38317" y="112"/>
                  </a:cubicBezTo>
                  <a:cubicBezTo>
                    <a:pt x="35918" y="42"/>
                    <a:pt x="33532" y="0"/>
                    <a:pt x="3111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418" name="Google Shape;418;p20"/>
          <p:cNvSpPr txBox="1">
            <a:spLocks noGrp="1"/>
          </p:cNvSpPr>
          <p:nvPr>
            <p:ph type="title"/>
          </p:nvPr>
        </p:nvSpPr>
        <p:spPr>
          <a:xfrm>
            <a:off x="3383867" y="4253833"/>
            <a:ext cx="5474400" cy="1195600"/>
          </a:xfrm>
          <a:prstGeom prst="rect">
            <a:avLst/>
          </a:prstGeom>
        </p:spPr>
        <p:txBody>
          <a:bodyPr spcFirstLastPara="1" wrap="square" lIns="91425" tIns="91425" rIns="91425" bIns="91425" anchor="b" anchorCtr="0">
            <a:normAutofit/>
          </a:bodyPr>
          <a:lstStyle>
            <a:lvl1pPr lvl="0" algn="ctr" rtl="0">
              <a:spcBef>
                <a:spcPts val="0"/>
              </a:spcBef>
              <a:spcAft>
                <a:spcPts val="0"/>
              </a:spcAft>
              <a:buSzPts val="4200"/>
              <a:buNone/>
              <a:defRPr sz="6400"/>
            </a:lvl1pPr>
            <a:lvl2pPr lvl="1" algn="ctr" rtl="0">
              <a:spcBef>
                <a:spcPts val="0"/>
              </a:spcBef>
              <a:spcAft>
                <a:spcPts val="0"/>
              </a:spcAft>
              <a:buSzPts val="4200"/>
              <a:buNone/>
              <a:defRPr sz="5600"/>
            </a:lvl2pPr>
            <a:lvl3pPr lvl="2" algn="ctr" rtl="0">
              <a:spcBef>
                <a:spcPts val="0"/>
              </a:spcBef>
              <a:spcAft>
                <a:spcPts val="0"/>
              </a:spcAft>
              <a:buSzPts val="4200"/>
              <a:buNone/>
              <a:defRPr sz="5600"/>
            </a:lvl3pPr>
            <a:lvl4pPr lvl="3" algn="ctr" rtl="0">
              <a:spcBef>
                <a:spcPts val="0"/>
              </a:spcBef>
              <a:spcAft>
                <a:spcPts val="0"/>
              </a:spcAft>
              <a:buSzPts val="4200"/>
              <a:buNone/>
              <a:defRPr sz="5600"/>
            </a:lvl4pPr>
            <a:lvl5pPr lvl="4" algn="ctr" rtl="0">
              <a:spcBef>
                <a:spcPts val="0"/>
              </a:spcBef>
              <a:spcAft>
                <a:spcPts val="0"/>
              </a:spcAft>
              <a:buSzPts val="4200"/>
              <a:buNone/>
              <a:defRPr sz="5600"/>
            </a:lvl5pPr>
            <a:lvl6pPr lvl="5" algn="ctr" rtl="0">
              <a:spcBef>
                <a:spcPts val="0"/>
              </a:spcBef>
              <a:spcAft>
                <a:spcPts val="0"/>
              </a:spcAft>
              <a:buSzPts val="4200"/>
              <a:buNone/>
              <a:defRPr sz="5600"/>
            </a:lvl6pPr>
            <a:lvl7pPr lvl="6" algn="ctr" rtl="0">
              <a:spcBef>
                <a:spcPts val="0"/>
              </a:spcBef>
              <a:spcAft>
                <a:spcPts val="0"/>
              </a:spcAft>
              <a:buSzPts val="4200"/>
              <a:buNone/>
              <a:defRPr sz="5600"/>
            </a:lvl7pPr>
            <a:lvl8pPr lvl="7" algn="ctr" rtl="0">
              <a:spcBef>
                <a:spcPts val="0"/>
              </a:spcBef>
              <a:spcAft>
                <a:spcPts val="0"/>
              </a:spcAft>
              <a:buSzPts val="4200"/>
              <a:buNone/>
              <a:defRPr sz="5600"/>
            </a:lvl8pPr>
            <a:lvl9pPr lvl="8" algn="ctr" rtl="0">
              <a:spcBef>
                <a:spcPts val="0"/>
              </a:spcBef>
              <a:spcAft>
                <a:spcPts val="0"/>
              </a:spcAft>
              <a:buSzPts val="4200"/>
              <a:buNone/>
              <a:defRPr sz="5600"/>
            </a:lvl9pPr>
          </a:lstStyle>
          <a:p>
            <a:endParaRPr/>
          </a:p>
        </p:txBody>
      </p:sp>
      <p:sp>
        <p:nvSpPr>
          <p:cNvPr id="419" name="Google Shape;419;p20"/>
          <p:cNvSpPr txBox="1">
            <a:spLocks noGrp="1"/>
          </p:cNvSpPr>
          <p:nvPr>
            <p:ph type="subTitle" idx="1"/>
          </p:nvPr>
        </p:nvSpPr>
        <p:spPr>
          <a:xfrm>
            <a:off x="4233000" y="5363033"/>
            <a:ext cx="3726000" cy="16468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2100"/>
              <a:buNone/>
              <a:defRPr/>
            </a:lvl1pPr>
            <a:lvl2pPr lvl="1" algn="ctr" rtl="0">
              <a:lnSpc>
                <a:spcPct val="100000"/>
              </a:lnSpc>
              <a:spcBef>
                <a:spcPts val="0"/>
              </a:spcBef>
              <a:spcAft>
                <a:spcPts val="0"/>
              </a:spcAft>
              <a:buSzPts val="2100"/>
              <a:buNone/>
              <a:defRPr sz="2800"/>
            </a:lvl2pPr>
            <a:lvl3pPr lvl="2" algn="ctr" rtl="0">
              <a:lnSpc>
                <a:spcPct val="100000"/>
              </a:lnSpc>
              <a:spcBef>
                <a:spcPts val="0"/>
              </a:spcBef>
              <a:spcAft>
                <a:spcPts val="0"/>
              </a:spcAft>
              <a:buSzPts val="2100"/>
              <a:buNone/>
              <a:defRPr sz="2800"/>
            </a:lvl3pPr>
            <a:lvl4pPr lvl="3" algn="ctr" rtl="0">
              <a:lnSpc>
                <a:spcPct val="100000"/>
              </a:lnSpc>
              <a:spcBef>
                <a:spcPts val="0"/>
              </a:spcBef>
              <a:spcAft>
                <a:spcPts val="0"/>
              </a:spcAft>
              <a:buSzPts val="2100"/>
              <a:buNone/>
              <a:defRPr sz="2800"/>
            </a:lvl4pPr>
            <a:lvl5pPr lvl="4" algn="ctr" rtl="0">
              <a:lnSpc>
                <a:spcPct val="100000"/>
              </a:lnSpc>
              <a:spcBef>
                <a:spcPts val="0"/>
              </a:spcBef>
              <a:spcAft>
                <a:spcPts val="0"/>
              </a:spcAft>
              <a:buSzPts val="2100"/>
              <a:buNone/>
              <a:defRPr sz="2800"/>
            </a:lvl5pPr>
            <a:lvl6pPr lvl="5" algn="ctr" rtl="0">
              <a:lnSpc>
                <a:spcPct val="100000"/>
              </a:lnSpc>
              <a:spcBef>
                <a:spcPts val="0"/>
              </a:spcBef>
              <a:spcAft>
                <a:spcPts val="0"/>
              </a:spcAft>
              <a:buSzPts val="2100"/>
              <a:buNone/>
              <a:defRPr sz="2800"/>
            </a:lvl6pPr>
            <a:lvl7pPr lvl="6" algn="ctr" rtl="0">
              <a:lnSpc>
                <a:spcPct val="100000"/>
              </a:lnSpc>
              <a:spcBef>
                <a:spcPts val="0"/>
              </a:spcBef>
              <a:spcAft>
                <a:spcPts val="0"/>
              </a:spcAft>
              <a:buSzPts val="2100"/>
              <a:buNone/>
              <a:defRPr sz="2800"/>
            </a:lvl7pPr>
            <a:lvl8pPr lvl="7" algn="ctr" rtl="0">
              <a:lnSpc>
                <a:spcPct val="100000"/>
              </a:lnSpc>
              <a:spcBef>
                <a:spcPts val="0"/>
              </a:spcBef>
              <a:spcAft>
                <a:spcPts val="0"/>
              </a:spcAft>
              <a:buSzPts val="2100"/>
              <a:buNone/>
              <a:defRPr sz="2800"/>
            </a:lvl8pPr>
            <a:lvl9pPr lvl="8" algn="ctr" rtl="0">
              <a:lnSpc>
                <a:spcPct val="100000"/>
              </a:lnSpc>
              <a:spcBef>
                <a:spcPts val="0"/>
              </a:spcBef>
              <a:spcAft>
                <a:spcPts val="0"/>
              </a:spcAft>
              <a:buSzPts val="2100"/>
              <a:buNone/>
              <a:defRPr sz="2800"/>
            </a:lvl9pPr>
          </a:lstStyle>
          <a:p>
            <a:endParaRPr/>
          </a:p>
        </p:txBody>
      </p:sp>
      <p:sp>
        <p:nvSpPr>
          <p:cNvPr id="420" name="Google Shape;420;p20"/>
          <p:cNvSpPr txBox="1">
            <a:spLocks noGrp="1"/>
          </p:cNvSpPr>
          <p:nvPr>
            <p:ph type="title" idx="2" hasCustomPrompt="1"/>
          </p:nvPr>
        </p:nvSpPr>
        <p:spPr>
          <a:xfrm>
            <a:off x="3383800" y="3865800"/>
            <a:ext cx="5474400" cy="770400"/>
          </a:xfrm>
          <a:prstGeom prst="rect">
            <a:avLst/>
          </a:prstGeom>
          <a:noFill/>
        </p:spPr>
        <p:txBody>
          <a:bodyPr spcFirstLastPara="1" wrap="square" lIns="91425" tIns="91425" rIns="91425" bIns="91425" anchor="ctr" anchorCtr="0">
            <a:normAutofit/>
          </a:bodyPr>
          <a:lstStyle>
            <a:lvl1pPr lvl="0" algn="ctr" rtl="0">
              <a:spcBef>
                <a:spcPts val="0"/>
              </a:spcBef>
              <a:spcAft>
                <a:spcPts val="0"/>
              </a:spcAft>
              <a:buSzPts val="5500"/>
              <a:buNone/>
              <a:defRPr sz="6400"/>
            </a:lvl1pPr>
            <a:lvl2pPr lvl="1"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2pPr>
            <a:lvl3pPr lvl="2"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3pPr>
            <a:lvl4pPr lvl="3"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4pPr>
            <a:lvl5pPr lvl="4"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5pPr>
            <a:lvl6pPr lvl="5"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6pPr>
            <a:lvl7pPr lvl="6"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7pPr>
            <a:lvl8pPr lvl="7"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8pPr>
            <a:lvl9pPr lvl="8" algn="ctr" rtl="0">
              <a:spcBef>
                <a:spcPts val="0"/>
              </a:spcBef>
              <a:spcAft>
                <a:spcPts val="0"/>
              </a:spcAft>
              <a:buClr>
                <a:srgbClr val="434343"/>
              </a:buClr>
              <a:buSzPts val="5500"/>
              <a:buFont typeface="Fira Sans Extra Condensed Medium"/>
              <a:buNone/>
              <a:defRPr sz="7333">
                <a:solidFill>
                  <a:srgbClr val="434343"/>
                </a:solidFill>
                <a:latin typeface="Fira Sans Extra Condensed Medium"/>
                <a:ea typeface="Fira Sans Extra Condensed Medium"/>
                <a:cs typeface="Fira Sans Extra Condensed Medium"/>
                <a:sym typeface="Fira Sans Extra Condensed Medium"/>
              </a:defRPr>
            </a:lvl9pPr>
          </a:lstStyle>
          <a:p>
            <a:r>
              <a:t>xx%</a:t>
            </a:r>
          </a:p>
        </p:txBody>
      </p:sp>
      <p:sp>
        <p:nvSpPr>
          <p:cNvPr id="421" name="Google Shape;421;p20"/>
          <p:cNvSpPr/>
          <p:nvPr/>
        </p:nvSpPr>
        <p:spPr>
          <a:xfrm rot="4636559" flipH="1">
            <a:off x="10184361" y="965077"/>
            <a:ext cx="1963460" cy="1091059"/>
          </a:xfrm>
          <a:custGeom>
            <a:avLst/>
            <a:gdLst/>
            <a:ahLst/>
            <a:cxnLst/>
            <a:rect l="l" t="t" r="r" b="b"/>
            <a:pathLst>
              <a:path w="110793" h="91933" extrusionOk="0">
                <a:moveTo>
                  <a:pt x="50743" y="6275"/>
                </a:moveTo>
                <a:cubicBezTo>
                  <a:pt x="53200" y="6275"/>
                  <a:pt x="56857" y="7419"/>
                  <a:pt x="59430" y="8276"/>
                </a:cubicBezTo>
                <a:cubicBezTo>
                  <a:pt x="59393" y="8455"/>
                  <a:pt x="59374" y="8636"/>
                  <a:pt x="59374" y="8815"/>
                </a:cubicBezTo>
                <a:cubicBezTo>
                  <a:pt x="57073" y="8172"/>
                  <a:pt x="54732" y="7731"/>
                  <a:pt x="52420" y="7679"/>
                </a:cubicBezTo>
                <a:cubicBezTo>
                  <a:pt x="52191" y="7535"/>
                  <a:pt x="51975" y="7387"/>
                  <a:pt x="51744" y="7243"/>
                </a:cubicBezTo>
                <a:cubicBezTo>
                  <a:pt x="51131" y="6867"/>
                  <a:pt x="50503" y="6708"/>
                  <a:pt x="49899" y="6708"/>
                </a:cubicBezTo>
                <a:cubicBezTo>
                  <a:pt x="49727" y="6708"/>
                  <a:pt x="49555" y="6719"/>
                  <a:pt x="49387" y="6743"/>
                </a:cubicBezTo>
                <a:cubicBezTo>
                  <a:pt x="49259" y="6667"/>
                  <a:pt x="49139" y="6623"/>
                  <a:pt x="49022" y="6623"/>
                </a:cubicBezTo>
                <a:cubicBezTo>
                  <a:pt x="48943" y="6623"/>
                  <a:pt x="48867" y="6647"/>
                  <a:pt x="48795" y="6691"/>
                </a:cubicBezTo>
                <a:cubicBezTo>
                  <a:pt x="49263" y="6395"/>
                  <a:pt x="49940" y="6275"/>
                  <a:pt x="50743" y="6275"/>
                </a:cubicBezTo>
                <a:close/>
                <a:moveTo>
                  <a:pt x="80740" y="16318"/>
                </a:moveTo>
                <a:lnTo>
                  <a:pt x="80740" y="16318"/>
                </a:lnTo>
                <a:cubicBezTo>
                  <a:pt x="84017" y="17727"/>
                  <a:pt x="87121" y="19182"/>
                  <a:pt x="90214" y="20887"/>
                </a:cubicBezTo>
                <a:cubicBezTo>
                  <a:pt x="92648" y="22231"/>
                  <a:pt x="95072" y="23584"/>
                  <a:pt x="97381" y="25064"/>
                </a:cubicBezTo>
                <a:cubicBezTo>
                  <a:pt x="95116" y="23708"/>
                  <a:pt x="92687" y="22528"/>
                  <a:pt x="90386" y="21443"/>
                </a:cubicBezTo>
                <a:cubicBezTo>
                  <a:pt x="87382" y="20027"/>
                  <a:pt x="84293" y="18730"/>
                  <a:pt x="81188" y="17466"/>
                </a:cubicBezTo>
                <a:cubicBezTo>
                  <a:pt x="81068" y="17066"/>
                  <a:pt x="80916" y="16686"/>
                  <a:pt x="80740" y="16318"/>
                </a:cubicBezTo>
                <a:close/>
                <a:moveTo>
                  <a:pt x="83589" y="25417"/>
                </a:moveTo>
                <a:lnTo>
                  <a:pt x="83589" y="25417"/>
                </a:lnTo>
                <a:cubicBezTo>
                  <a:pt x="86362" y="26565"/>
                  <a:pt x="89878" y="27965"/>
                  <a:pt x="92883" y="29734"/>
                </a:cubicBezTo>
                <a:cubicBezTo>
                  <a:pt x="91459" y="29509"/>
                  <a:pt x="90022" y="29221"/>
                  <a:pt x="88591" y="28874"/>
                </a:cubicBezTo>
                <a:cubicBezTo>
                  <a:pt x="88399" y="28802"/>
                  <a:pt x="88202" y="28726"/>
                  <a:pt x="88006" y="28650"/>
                </a:cubicBezTo>
                <a:cubicBezTo>
                  <a:pt x="86554" y="27553"/>
                  <a:pt x="85081" y="26477"/>
                  <a:pt x="83589" y="25417"/>
                </a:cubicBezTo>
                <a:close/>
                <a:moveTo>
                  <a:pt x="20022" y="28573"/>
                </a:moveTo>
                <a:cubicBezTo>
                  <a:pt x="21687" y="28573"/>
                  <a:pt x="23488" y="29394"/>
                  <a:pt x="25108" y="30374"/>
                </a:cubicBezTo>
                <a:cubicBezTo>
                  <a:pt x="25688" y="31262"/>
                  <a:pt x="26332" y="32135"/>
                  <a:pt x="27017" y="32979"/>
                </a:cubicBezTo>
                <a:cubicBezTo>
                  <a:pt x="26949" y="32942"/>
                  <a:pt x="26873" y="32899"/>
                  <a:pt x="26801" y="32859"/>
                </a:cubicBezTo>
                <a:cubicBezTo>
                  <a:pt x="24384" y="31514"/>
                  <a:pt x="21199" y="30130"/>
                  <a:pt x="17918" y="29322"/>
                </a:cubicBezTo>
                <a:cubicBezTo>
                  <a:pt x="18086" y="29073"/>
                  <a:pt x="18338" y="28885"/>
                  <a:pt x="18683" y="28774"/>
                </a:cubicBezTo>
                <a:cubicBezTo>
                  <a:pt x="19115" y="28634"/>
                  <a:pt x="19562" y="28573"/>
                  <a:pt x="20022" y="28573"/>
                </a:cubicBezTo>
                <a:close/>
                <a:moveTo>
                  <a:pt x="20775" y="36552"/>
                </a:moveTo>
                <a:cubicBezTo>
                  <a:pt x="21299" y="36800"/>
                  <a:pt x="21799" y="37048"/>
                  <a:pt x="22263" y="37288"/>
                </a:cubicBezTo>
                <a:cubicBezTo>
                  <a:pt x="22183" y="37572"/>
                  <a:pt x="22119" y="37856"/>
                  <a:pt x="22063" y="38140"/>
                </a:cubicBezTo>
                <a:cubicBezTo>
                  <a:pt x="21603" y="37604"/>
                  <a:pt x="21175" y="37076"/>
                  <a:pt x="20775" y="36552"/>
                </a:cubicBezTo>
                <a:close/>
                <a:moveTo>
                  <a:pt x="29277" y="41930"/>
                </a:moveTo>
                <a:lnTo>
                  <a:pt x="29277" y="41930"/>
                </a:lnTo>
                <a:cubicBezTo>
                  <a:pt x="30378" y="42705"/>
                  <a:pt x="31414" y="43542"/>
                  <a:pt x="32386" y="44430"/>
                </a:cubicBezTo>
                <a:cubicBezTo>
                  <a:pt x="31710" y="44526"/>
                  <a:pt x="31070" y="44766"/>
                  <a:pt x="30526" y="45106"/>
                </a:cubicBezTo>
                <a:cubicBezTo>
                  <a:pt x="29946" y="44066"/>
                  <a:pt x="29505" y="43001"/>
                  <a:pt x="29277" y="41930"/>
                </a:cubicBezTo>
                <a:close/>
                <a:moveTo>
                  <a:pt x="11292" y="34587"/>
                </a:moveTo>
                <a:cubicBezTo>
                  <a:pt x="12905" y="38401"/>
                  <a:pt x="16042" y="42149"/>
                  <a:pt x="18174" y="44350"/>
                </a:cubicBezTo>
                <a:cubicBezTo>
                  <a:pt x="18270" y="44450"/>
                  <a:pt x="18374" y="44554"/>
                  <a:pt x="18474" y="44658"/>
                </a:cubicBezTo>
                <a:cubicBezTo>
                  <a:pt x="17710" y="44942"/>
                  <a:pt x="17078" y="45466"/>
                  <a:pt x="16733" y="46166"/>
                </a:cubicBezTo>
                <a:cubicBezTo>
                  <a:pt x="16077" y="45618"/>
                  <a:pt x="15337" y="45387"/>
                  <a:pt x="14621" y="45387"/>
                </a:cubicBezTo>
                <a:cubicBezTo>
                  <a:pt x="12788" y="45387"/>
                  <a:pt x="11112" y="46911"/>
                  <a:pt x="11361" y="48635"/>
                </a:cubicBezTo>
                <a:cubicBezTo>
                  <a:pt x="9872" y="45282"/>
                  <a:pt x="9040" y="41753"/>
                  <a:pt x="9195" y="38072"/>
                </a:cubicBezTo>
                <a:cubicBezTo>
                  <a:pt x="9280" y="36111"/>
                  <a:pt x="10088" y="35051"/>
                  <a:pt x="11292" y="34587"/>
                </a:cubicBezTo>
                <a:close/>
                <a:moveTo>
                  <a:pt x="71694" y="42469"/>
                </a:moveTo>
                <a:lnTo>
                  <a:pt x="71694" y="42469"/>
                </a:lnTo>
                <a:cubicBezTo>
                  <a:pt x="72497" y="42633"/>
                  <a:pt x="73310" y="42781"/>
                  <a:pt x="74122" y="42918"/>
                </a:cubicBezTo>
                <a:cubicBezTo>
                  <a:pt x="77167" y="44783"/>
                  <a:pt x="80104" y="46766"/>
                  <a:pt x="82957" y="48859"/>
                </a:cubicBezTo>
                <a:cubicBezTo>
                  <a:pt x="82728" y="48831"/>
                  <a:pt x="82497" y="48807"/>
                  <a:pt x="82272" y="48775"/>
                </a:cubicBezTo>
                <a:cubicBezTo>
                  <a:pt x="81516" y="48679"/>
                  <a:pt x="80760" y="48555"/>
                  <a:pt x="80008" y="48427"/>
                </a:cubicBezTo>
                <a:cubicBezTo>
                  <a:pt x="78911" y="47831"/>
                  <a:pt x="77823" y="47223"/>
                  <a:pt x="76739" y="46611"/>
                </a:cubicBezTo>
                <a:cubicBezTo>
                  <a:pt x="75075" y="45219"/>
                  <a:pt x="73394" y="43834"/>
                  <a:pt x="71694" y="42469"/>
                </a:cubicBezTo>
                <a:close/>
                <a:moveTo>
                  <a:pt x="98873" y="50120"/>
                </a:moveTo>
                <a:cubicBezTo>
                  <a:pt x="99269" y="51124"/>
                  <a:pt x="99529" y="52140"/>
                  <a:pt x="99617" y="53156"/>
                </a:cubicBezTo>
                <a:cubicBezTo>
                  <a:pt x="99053" y="52153"/>
                  <a:pt x="98397" y="51164"/>
                  <a:pt x="97673" y="50192"/>
                </a:cubicBezTo>
                <a:lnTo>
                  <a:pt x="97673" y="50192"/>
                </a:lnTo>
                <a:cubicBezTo>
                  <a:pt x="97780" y="50199"/>
                  <a:pt x="97889" y="50203"/>
                  <a:pt x="97996" y="50203"/>
                </a:cubicBezTo>
                <a:cubicBezTo>
                  <a:pt x="98297" y="50203"/>
                  <a:pt x="98589" y="50175"/>
                  <a:pt x="98873" y="50120"/>
                </a:cubicBezTo>
                <a:close/>
                <a:moveTo>
                  <a:pt x="40269" y="55789"/>
                </a:moveTo>
                <a:cubicBezTo>
                  <a:pt x="41144" y="56349"/>
                  <a:pt x="42025" y="56906"/>
                  <a:pt x="42906" y="57466"/>
                </a:cubicBezTo>
                <a:cubicBezTo>
                  <a:pt x="43946" y="58962"/>
                  <a:pt x="44994" y="60439"/>
                  <a:pt x="46074" y="61859"/>
                </a:cubicBezTo>
                <a:cubicBezTo>
                  <a:pt x="44001" y="59867"/>
                  <a:pt x="41981" y="57830"/>
                  <a:pt x="39957" y="55797"/>
                </a:cubicBezTo>
                <a:cubicBezTo>
                  <a:pt x="40060" y="55797"/>
                  <a:pt x="40164" y="55793"/>
                  <a:pt x="40269" y="55789"/>
                </a:cubicBezTo>
                <a:close/>
                <a:moveTo>
                  <a:pt x="57753" y="48007"/>
                </a:moveTo>
                <a:lnTo>
                  <a:pt x="57753" y="48007"/>
                </a:lnTo>
                <a:cubicBezTo>
                  <a:pt x="59162" y="48567"/>
                  <a:pt x="60602" y="49111"/>
                  <a:pt x="62054" y="49640"/>
                </a:cubicBezTo>
                <a:cubicBezTo>
                  <a:pt x="66556" y="52604"/>
                  <a:pt x="71165" y="55429"/>
                  <a:pt x="75699" y="58046"/>
                </a:cubicBezTo>
                <a:cubicBezTo>
                  <a:pt x="76783" y="58670"/>
                  <a:pt x="78611" y="59623"/>
                  <a:pt x="80784" y="60587"/>
                </a:cubicBezTo>
                <a:cubicBezTo>
                  <a:pt x="82449" y="62083"/>
                  <a:pt x="84265" y="63804"/>
                  <a:pt x="85125" y="65744"/>
                </a:cubicBezTo>
                <a:cubicBezTo>
                  <a:pt x="83757" y="65556"/>
                  <a:pt x="82416" y="65168"/>
                  <a:pt x="81100" y="64672"/>
                </a:cubicBezTo>
                <a:cubicBezTo>
                  <a:pt x="74370" y="60947"/>
                  <a:pt x="68156" y="56474"/>
                  <a:pt x="61879" y="52076"/>
                </a:cubicBezTo>
                <a:cubicBezTo>
                  <a:pt x="60594" y="50676"/>
                  <a:pt x="59206" y="49324"/>
                  <a:pt x="57753" y="48007"/>
                </a:cubicBezTo>
                <a:close/>
                <a:moveTo>
                  <a:pt x="58690" y="67497"/>
                </a:moveTo>
                <a:cubicBezTo>
                  <a:pt x="62311" y="69802"/>
                  <a:pt x="65919" y="72114"/>
                  <a:pt x="69505" y="74455"/>
                </a:cubicBezTo>
                <a:cubicBezTo>
                  <a:pt x="69521" y="74479"/>
                  <a:pt x="69533" y="74503"/>
                  <a:pt x="69548" y="74527"/>
                </a:cubicBezTo>
                <a:cubicBezTo>
                  <a:pt x="68076" y="73630"/>
                  <a:pt x="66648" y="72775"/>
                  <a:pt x="65284" y="72010"/>
                </a:cubicBezTo>
                <a:cubicBezTo>
                  <a:pt x="63587" y="71062"/>
                  <a:pt x="61827" y="70193"/>
                  <a:pt x="60038" y="69353"/>
                </a:cubicBezTo>
                <a:cubicBezTo>
                  <a:pt x="59594" y="68721"/>
                  <a:pt x="59142" y="68101"/>
                  <a:pt x="58690" y="67497"/>
                </a:cubicBezTo>
                <a:close/>
                <a:moveTo>
                  <a:pt x="30729" y="77800"/>
                </a:moveTo>
                <a:cubicBezTo>
                  <a:pt x="34134" y="80208"/>
                  <a:pt x="37656" y="82513"/>
                  <a:pt x="41240" y="84742"/>
                </a:cubicBezTo>
                <a:cubicBezTo>
                  <a:pt x="37235" y="83349"/>
                  <a:pt x="33743" y="80681"/>
                  <a:pt x="30729" y="77800"/>
                </a:cubicBezTo>
                <a:close/>
                <a:moveTo>
                  <a:pt x="50300" y="1"/>
                </a:moveTo>
                <a:cubicBezTo>
                  <a:pt x="47687" y="1"/>
                  <a:pt x="45246" y="557"/>
                  <a:pt x="43441" y="2138"/>
                </a:cubicBezTo>
                <a:cubicBezTo>
                  <a:pt x="40832" y="4418"/>
                  <a:pt x="41004" y="6967"/>
                  <a:pt x="42425" y="9319"/>
                </a:cubicBezTo>
                <a:cubicBezTo>
                  <a:pt x="39384" y="7820"/>
                  <a:pt x="36391" y="6263"/>
                  <a:pt x="33506" y="4590"/>
                </a:cubicBezTo>
                <a:cubicBezTo>
                  <a:pt x="32866" y="4218"/>
                  <a:pt x="32222" y="4058"/>
                  <a:pt x="31614" y="4058"/>
                </a:cubicBezTo>
                <a:cubicBezTo>
                  <a:pt x="28862" y="4058"/>
                  <a:pt x="26849" y="7367"/>
                  <a:pt x="29065" y="9364"/>
                </a:cubicBezTo>
                <a:cubicBezTo>
                  <a:pt x="30686" y="10824"/>
                  <a:pt x="32394" y="12172"/>
                  <a:pt x="34162" y="13445"/>
                </a:cubicBezTo>
                <a:cubicBezTo>
                  <a:pt x="32682" y="14130"/>
                  <a:pt x="32122" y="15482"/>
                  <a:pt x="32394" y="16918"/>
                </a:cubicBezTo>
                <a:cubicBezTo>
                  <a:pt x="32410" y="17002"/>
                  <a:pt x="32439" y="17082"/>
                  <a:pt x="32454" y="17166"/>
                </a:cubicBezTo>
                <a:cubicBezTo>
                  <a:pt x="31482" y="16970"/>
                  <a:pt x="30498" y="16854"/>
                  <a:pt x="29510" y="16854"/>
                </a:cubicBezTo>
                <a:cubicBezTo>
                  <a:pt x="29438" y="16854"/>
                  <a:pt x="29366" y="16854"/>
                  <a:pt x="29294" y="16858"/>
                </a:cubicBezTo>
                <a:cubicBezTo>
                  <a:pt x="25996" y="16914"/>
                  <a:pt x="23900" y="18715"/>
                  <a:pt x="23032" y="20975"/>
                </a:cubicBezTo>
                <a:cubicBezTo>
                  <a:pt x="22347" y="21391"/>
                  <a:pt x="21855" y="21995"/>
                  <a:pt x="21747" y="22736"/>
                </a:cubicBezTo>
                <a:cubicBezTo>
                  <a:pt x="21095" y="22643"/>
                  <a:pt x="20443" y="22595"/>
                  <a:pt x="19795" y="22591"/>
                </a:cubicBezTo>
                <a:cubicBezTo>
                  <a:pt x="17458" y="22591"/>
                  <a:pt x="15154" y="23244"/>
                  <a:pt x="12988" y="24833"/>
                </a:cubicBezTo>
                <a:cubicBezTo>
                  <a:pt x="11472" y="25945"/>
                  <a:pt x="10668" y="27297"/>
                  <a:pt x="10380" y="28781"/>
                </a:cubicBezTo>
                <a:cubicBezTo>
                  <a:pt x="7627" y="29210"/>
                  <a:pt x="5226" y="30518"/>
                  <a:pt x="3690" y="33182"/>
                </a:cubicBezTo>
                <a:cubicBezTo>
                  <a:pt x="0" y="39588"/>
                  <a:pt x="2541" y="47491"/>
                  <a:pt x="6759" y="54305"/>
                </a:cubicBezTo>
                <a:cubicBezTo>
                  <a:pt x="5222" y="54873"/>
                  <a:pt x="4118" y="56369"/>
                  <a:pt x="4711" y="57758"/>
                </a:cubicBezTo>
                <a:cubicBezTo>
                  <a:pt x="7111" y="63375"/>
                  <a:pt x="13573" y="67237"/>
                  <a:pt x="19562" y="70585"/>
                </a:cubicBezTo>
                <a:cubicBezTo>
                  <a:pt x="20967" y="72446"/>
                  <a:pt x="22456" y="74247"/>
                  <a:pt x="23952" y="75963"/>
                </a:cubicBezTo>
                <a:cubicBezTo>
                  <a:pt x="28561" y="81249"/>
                  <a:pt x="34843" y="87395"/>
                  <a:pt x="42877" y="88943"/>
                </a:cubicBezTo>
                <a:cubicBezTo>
                  <a:pt x="43045" y="88975"/>
                  <a:pt x="43221" y="88991"/>
                  <a:pt x="43397" y="88991"/>
                </a:cubicBezTo>
                <a:cubicBezTo>
                  <a:pt x="44354" y="88991"/>
                  <a:pt x="45322" y="88518"/>
                  <a:pt x="45538" y="87687"/>
                </a:cubicBezTo>
                <a:cubicBezTo>
                  <a:pt x="45562" y="87595"/>
                  <a:pt x="45570" y="87499"/>
                  <a:pt x="45589" y="87406"/>
                </a:cubicBezTo>
                <a:cubicBezTo>
                  <a:pt x="47862" y="88775"/>
                  <a:pt x="50143" y="90127"/>
                  <a:pt x="52428" y="91464"/>
                </a:cubicBezTo>
                <a:cubicBezTo>
                  <a:pt x="52980" y="91792"/>
                  <a:pt x="53556" y="91932"/>
                  <a:pt x="54117" y="91932"/>
                </a:cubicBezTo>
                <a:cubicBezTo>
                  <a:pt x="55657" y="91932"/>
                  <a:pt x="57065" y="90856"/>
                  <a:pt x="57513" y="89611"/>
                </a:cubicBezTo>
                <a:cubicBezTo>
                  <a:pt x="58854" y="89940"/>
                  <a:pt x="60242" y="90147"/>
                  <a:pt x="61679" y="90204"/>
                </a:cubicBezTo>
                <a:cubicBezTo>
                  <a:pt x="61718" y="90204"/>
                  <a:pt x="61759" y="90208"/>
                  <a:pt x="61799" y="90208"/>
                </a:cubicBezTo>
                <a:cubicBezTo>
                  <a:pt x="62939" y="90208"/>
                  <a:pt x="64307" y="89587"/>
                  <a:pt x="64795" y="88723"/>
                </a:cubicBezTo>
                <a:cubicBezTo>
                  <a:pt x="64959" y="88435"/>
                  <a:pt x="65099" y="88143"/>
                  <a:pt x="65232" y="87846"/>
                </a:cubicBezTo>
                <a:cubicBezTo>
                  <a:pt x="69225" y="89599"/>
                  <a:pt x="73402" y="91015"/>
                  <a:pt x="77895" y="91800"/>
                </a:cubicBezTo>
                <a:cubicBezTo>
                  <a:pt x="78135" y="91844"/>
                  <a:pt x="78375" y="91864"/>
                  <a:pt x="78615" y="91864"/>
                </a:cubicBezTo>
                <a:cubicBezTo>
                  <a:pt x="80928" y="91864"/>
                  <a:pt x="83093" y="90007"/>
                  <a:pt x="82233" y="88115"/>
                </a:cubicBezTo>
                <a:lnTo>
                  <a:pt x="82233" y="88115"/>
                </a:lnTo>
                <a:cubicBezTo>
                  <a:pt x="86297" y="89748"/>
                  <a:pt x="90527" y="90887"/>
                  <a:pt x="94912" y="91048"/>
                </a:cubicBezTo>
                <a:cubicBezTo>
                  <a:pt x="94960" y="91048"/>
                  <a:pt x="95008" y="91052"/>
                  <a:pt x="95056" y="91052"/>
                </a:cubicBezTo>
                <a:cubicBezTo>
                  <a:pt x="97985" y="91052"/>
                  <a:pt x="99697" y="87678"/>
                  <a:pt x="97425" y="86014"/>
                </a:cubicBezTo>
                <a:cubicBezTo>
                  <a:pt x="95289" y="84450"/>
                  <a:pt x="93123" y="82909"/>
                  <a:pt x="90947" y="81381"/>
                </a:cubicBezTo>
                <a:cubicBezTo>
                  <a:pt x="93392" y="81273"/>
                  <a:pt x="95080" y="78456"/>
                  <a:pt x="93684" y="76716"/>
                </a:cubicBezTo>
                <a:lnTo>
                  <a:pt x="93684" y="76716"/>
                </a:lnTo>
                <a:cubicBezTo>
                  <a:pt x="94824" y="77059"/>
                  <a:pt x="95980" y="77379"/>
                  <a:pt x="97165" y="77667"/>
                </a:cubicBezTo>
                <a:cubicBezTo>
                  <a:pt x="97444" y="77732"/>
                  <a:pt x="97732" y="77763"/>
                  <a:pt x="98020" y="77763"/>
                </a:cubicBezTo>
                <a:cubicBezTo>
                  <a:pt x="100249" y="77763"/>
                  <a:pt x="102582" y="75896"/>
                  <a:pt x="101626" y="73966"/>
                </a:cubicBezTo>
                <a:cubicBezTo>
                  <a:pt x="99845" y="70374"/>
                  <a:pt x="97464" y="67148"/>
                  <a:pt x="94720" y="64151"/>
                </a:cubicBezTo>
                <a:lnTo>
                  <a:pt x="94720" y="64151"/>
                </a:lnTo>
                <a:cubicBezTo>
                  <a:pt x="95841" y="64312"/>
                  <a:pt x="96973" y="64432"/>
                  <a:pt x="98129" y="64476"/>
                </a:cubicBezTo>
                <a:lnTo>
                  <a:pt x="98277" y="64476"/>
                </a:lnTo>
                <a:cubicBezTo>
                  <a:pt x="100277" y="64476"/>
                  <a:pt x="101694" y="62995"/>
                  <a:pt x="101794" y="61435"/>
                </a:cubicBezTo>
                <a:cubicBezTo>
                  <a:pt x="101798" y="61407"/>
                  <a:pt x="101794" y="61383"/>
                  <a:pt x="101798" y="61359"/>
                </a:cubicBezTo>
                <a:cubicBezTo>
                  <a:pt x="103911" y="60707"/>
                  <a:pt x="105659" y="59434"/>
                  <a:pt x="106548" y="57285"/>
                </a:cubicBezTo>
                <a:cubicBezTo>
                  <a:pt x="109000" y="51364"/>
                  <a:pt x="104955" y="45071"/>
                  <a:pt x="100469" y="40009"/>
                </a:cubicBezTo>
                <a:cubicBezTo>
                  <a:pt x="99994" y="39173"/>
                  <a:pt x="99422" y="38373"/>
                  <a:pt x="98761" y="37612"/>
                </a:cubicBezTo>
                <a:lnTo>
                  <a:pt x="98761" y="37612"/>
                </a:lnTo>
                <a:cubicBezTo>
                  <a:pt x="99954" y="37744"/>
                  <a:pt x="101174" y="37828"/>
                  <a:pt x="102419" y="37856"/>
                </a:cubicBezTo>
                <a:cubicBezTo>
                  <a:pt x="102450" y="37856"/>
                  <a:pt x="102478" y="37860"/>
                  <a:pt x="102510" y="37860"/>
                </a:cubicBezTo>
                <a:cubicBezTo>
                  <a:pt x="104327" y="37860"/>
                  <a:pt x="105863" y="36608"/>
                  <a:pt x="106119" y="35175"/>
                </a:cubicBezTo>
                <a:cubicBezTo>
                  <a:pt x="108752" y="33999"/>
                  <a:pt x="110792" y="31699"/>
                  <a:pt x="110400" y="29210"/>
                </a:cubicBezTo>
                <a:cubicBezTo>
                  <a:pt x="109824" y="25540"/>
                  <a:pt x="106020" y="22864"/>
                  <a:pt x="102755" y="20667"/>
                </a:cubicBezTo>
                <a:cubicBezTo>
                  <a:pt x="97269" y="16970"/>
                  <a:pt x="91327" y="13781"/>
                  <a:pt x="85081" y="11068"/>
                </a:cubicBezTo>
                <a:cubicBezTo>
                  <a:pt x="77523" y="7783"/>
                  <a:pt x="69817" y="4678"/>
                  <a:pt x="61794" y="2246"/>
                </a:cubicBezTo>
                <a:cubicBezTo>
                  <a:pt x="58666" y="1293"/>
                  <a:pt x="54280" y="1"/>
                  <a:pt x="50300" y="1"/>
                </a:cubicBezTo>
                <a:close/>
              </a:path>
            </a:pathLst>
          </a:custGeom>
          <a:solidFill>
            <a:srgbClr val="FFFFFF">
              <a:alpha val="16520"/>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22" name="Google Shape;422;p20"/>
          <p:cNvSpPr/>
          <p:nvPr/>
        </p:nvSpPr>
        <p:spPr>
          <a:xfrm rot="-5400000">
            <a:off x="-697988" y="5575998"/>
            <a:ext cx="2244243" cy="955533"/>
          </a:xfrm>
          <a:custGeom>
            <a:avLst/>
            <a:gdLst/>
            <a:ahLst/>
            <a:cxnLst/>
            <a:rect l="l" t="t" r="r" b="b"/>
            <a:pathLst>
              <a:path w="17010" h="7242" extrusionOk="0">
                <a:moveTo>
                  <a:pt x="1" y="1"/>
                </a:moveTo>
                <a:cubicBezTo>
                  <a:pt x="677" y="4099"/>
                  <a:pt x="4238" y="7242"/>
                  <a:pt x="8515" y="7242"/>
                </a:cubicBezTo>
                <a:cubicBezTo>
                  <a:pt x="12792" y="7242"/>
                  <a:pt x="16333" y="4099"/>
                  <a:pt x="17009" y="1"/>
                </a:cubicBezTo>
                <a:close/>
              </a:path>
            </a:pathLst>
          </a:custGeom>
          <a:solidFill>
            <a:schemeClr val="accent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423" name="Google Shape;423;p20"/>
          <p:cNvGrpSpPr/>
          <p:nvPr/>
        </p:nvGrpSpPr>
        <p:grpSpPr>
          <a:xfrm rot="5770333" flipH="1">
            <a:off x="677553" y="4978114"/>
            <a:ext cx="409016" cy="635117"/>
            <a:chOff x="4452729" y="352000"/>
            <a:chExt cx="225596" cy="350302"/>
          </a:xfrm>
        </p:grpSpPr>
        <p:sp>
          <p:nvSpPr>
            <p:cNvPr id="424" name="Google Shape;424;p20"/>
            <p:cNvSpPr/>
            <p:nvPr/>
          </p:nvSpPr>
          <p:spPr>
            <a:xfrm>
              <a:off x="4624575" y="352000"/>
              <a:ext cx="53750" cy="53225"/>
            </a:xfrm>
            <a:custGeom>
              <a:avLst/>
              <a:gdLst/>
              <a:ahLst/>
              <a:cxnLst/>
              <a:rect l="l" t="t" r="r" b="b"/>
              <a:pathLst>
                <a:path w="2150" h="2129" extrusionOk="0">
                  <a:moveTo>
                    <a:pt x="1075" y="0"/>
                  </a:moveTo>
                  <a:cubicBezTo>
                    <a:pt x="478" y="0"/>
                    <a:pt x="1" y="478"/>
                    <a:pt x="1" y="1075"/>
                  </a:cubicBezTo>
                  <a:cubicBezTo>
                    <a:pt x="1" y="1671"/>
                    <a:pt x="478" y="2129"/>
                    <a:pt x="1075" y="2129"/>
                  </a:cubicBezTo>
                  <a:cubicBezTo>
                    <a:pt x="1672" y="2129"/>
                    <a:pt x="2149" y="1671"/>
                    <a:pt x="2149" y="1075"/>
                  </a:cubicBezTo>
                  <a:cubicBezTo>
                    <a:pt x="2149" y="478"/>
                    <a:pt x="1672" y="0"/>
                    <a:pt x="107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25" name="Google Shape;425;p20"/>
            <p:cNvSpPr/>
            <p:nvPr/>
          </p:nvSpPr>
          <p:spPr>
            <a:xfrm>
              <a:off x="4452729" y="426046"/>
              <a:ext cx="62200" cy="62700"/>
            </a:xfrm>
            <a:custGeom>
              <a:avLst/>
              <a:gdLst/>
              <a:ahLst/>
              <a:cxnLst/>
              <a:rect l="l" t="t" r="r" b="b"/>
              <a:pathLst>
                <a:path w="2488" h="2508" extrusionOk="0">
                  <a:moveTo>
                    <a:pt x="1254" y="1"/>
                  </a:moveTo>
                  <a:cubicBezTo>
                    <a:pt x="557" y="1"/>
                    <a:pt x="0" y="558"/>
                    <a:pt x="0" y="1254"/>
                  </a:cubicBezTo>
                  <a:cubicBezTo>
                    <a:pt x="0" y="1950"/>
                    <a:pt x="557" y="2507"/>
                    <a:pt x="1254" y="2507"/>
                  </a:cubicBezTo>
                  <a:cubicBezTo>
                    <a:pt x="1950" y="2507"/>
                    <a:pt x="2487" y="1950"/>
                    <a:pt x="2487" y="1254"/>
                  </a:cubicBezTo>
                  <a:cubicBezTo>
                    <a:pt x="2487" y="558"/>
                    <a:pt x="1950" y="1"/>
                    <a:pt x="125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26" name="Google Shape;426;p20"/>
            <p:cNvSpPr/>
            <p:nvPr/>
          </p:nvSpPr>
          <p:spPr>
            <a:xfrm>
              <a:off x="4503927" y="572104"/>
              <a:ext cx="130152" cy="130197"/>
            </a:xfrm>
            <a:custGeom>
              <a:avLst/>
              <a:gdLst/>
              <a:ahLst/>
              <a:cxnLst/>
              <a:rect l="l" t="t" r="r" b="b"/>
              <a:pathLst>
                <a:path w="2845" h="2846" extrusionOk="0">
                  <a:moveTo>
                    <a:pt x="1432" y="1"/>
                  </a:moveTo>
                  <a:cubicBezTo>
                    <a:pt x="656" y="1"/>
                    <a:pt x="0" y="618"/>
                    <a:pt x="0" y="1413"/>
                  </a:cubicBezTo>
                  <a:cubicBezTo>
                    <a:pt x="0" y="2189"/>
                    <a:pt x="637" y="2846"/>
                    <a:pt x="1432" y="2846"/>
                  </a:cubicBezTo>
                  <a:cubicBezTo>
                    <a:pt x="2188" y="2846"/>
                    <a:pt x="2845" y="2209"/>
                    <a:pt x="2845" y="1413"/>
                  </a:cubicBezTo>
                  <a:cubicBezTo>
                    <a:pt x="2845" y="618"/>
                    <a:pt x="2188" y="1"/>
                    <a:pt x="14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427" name="Google Shape;427;p20"/>
          <p:cNvSpPr/>
          <p:nvPr/>
        </p:nvSpPr>
        <p:spPr>
          <a:xfrm rot="5770296" flipH="1">
            <a:off x="9126183" y="6068416"/>
            <a:ext cx="235967" cy="236051"/>
          </a:xfrm>
          <a:custGeom>
            <a:avLst/>
            <a:gdLst/>
            <a:ahLst/>
            <a:cxnLst/>
            <a:rect l="l" t="t" r="r" b="b"/>
            <a:pathLst>
              <a:path w="2845" h="2846" extrusionOk="0">
                <a:moveTo>
                  <a:pt x="1432" y="1"/>
                </a:moveTo>
                <a:cubicBezTo>
                  <a:pt x="656" y="1"/>
                  <a:pt x="0" y="618"/>
                  <a:pt x="0" y="1413"/>
                </a:cubicBezTo>
                <a:cubicBezTo>
                  <a:pt x="0" y="2189"/>
                  <a:pt x="637" y="2846"/>
                  <a:pt x="1432" y="2846"/>
                </a:cubicBezTo>
                <a:cubicBezTo>
                  <a:pt x="2188" y="2846"/>
                  <a:pt x="2845" y="2209"/>
                  <a:pt x="2845" y="1413"/>
                </a:cubicBezTo>
                <a:cubicBezTo>
                  <a:pt x="2845" y="618"/>
                  <a:pt x="2188" y="1"/>
                  <a:pt x="1432" y="1"/>
                </a:cubicBez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28" name="Google Shape;428;p20"/>
          <p:cNvSpPr/>
          <p:nvPr/>
        </p:nvSpPr>
        <p:spPr>
          <a:xfrm rot="5770313" flipH="1">
            <a:off x="9326480" y="5817373"/>
            <a:ext cx="178973" cy="179065"/>
          </a:xfrm>
          <a:custGeom>
            <a:avLst/>
            <a:gdLst/>
            <a:ahLst/>
            <a:cxnLst/>
            <a:rect l="l" t="t" r="r" b="b"/>
            <a:pathLst>
              <a:path w="2845" h="2846" extrusionOk="0">
                <a:moveTo>
                  <a:pt x="1432" y="1"/>
                </a:moveTo>
                <a:cubicBezTo>
                  <a:pt x="656" y="1"/>
                  <a:pt x="0" y="618"/>
                  <a:pt x="0" y="1413"/>
                </a:cubicBezTo>
                <a:cubicBezTo>
                  <a:pt x="0" y="2189"/>
                  <a:pt x="637" y="2846"/>
                  <a:pt x="1432" y="2846"/>
                </a:cubicBezTo>
                <a:cubicBezTo>
                  <a:pt x="2188" y="2846"/>
                  <a:pt x="2845" y="2209"/>
                  <a:pt x="2845" y="1413"/>
                </a:cubicBezTo>
                <a:cubicBezTo>
                  <a:pt x="2845" y="618"/>
                  <a:pt x="2188" y="1"/>
                  <a:pt x="1432" y="1"/>
                </a:cubicBezTo>
                <a:close/>
              </a:path>
            </a:pathLst>
          </a:custGeom>
          <a:solidFill>
            <a:schemeClr val="accent4"/>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29378024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Title and Text 2">
  <p:cSld name="Title and Text 2">
    <p:bg>
      <p:bgPr>
        <a:blipFill>
          <a:blip r:embed="rId2">
            <a:alphaModFix/>
          </a:blip>
          <a:stretch>
            <a:fillRect/>
          </a:stretch>
        </a:blipFill>
        <a:effectLst/>
      </p:bgPr>
    </p:bg>
    <p:spTree>
      <p:nvGrpSpPr>
        <p:cNvPr id="1" name="Shape 429"/>
        <p:cNvGrpSpPr/>
        <p:nvPr/>
      </p:nvGrpSpPr>
      <p:grpSpPr>
        <a:xfrm>
          <a:off x="0" y="0"/>
          <a:ext cx="0" cy="0"/>
          <a:chOff x="0" y="0"/>
          <a:chExt cx="0" cy="0"/>
        </a:xfrm>
      </p:grpSpPr>
      <p:sp>
        <p:nvSpPr>
          <p:cNvPr id="430" name="Google Shape;430;p21"/>
          <p:cNvSpPr txBox="1">
            <a:spLocks noGrp="1"/>
          </p:cNvSpPr>
          <p:nvPr>
            <p:ph type="ctrTitle"/>
          </p:nvPr>
        </p:nvSpPr>
        <p:spPr>
          <a:xfrm flipH="1">
            <a:off x="1545333" y="2255833"/>
            <a:ext cx="2914000" cy="770400"/>
          </a:xfrm>
          <a:prstGeom prst="rect">
            <a:avLst/>
          </a:prstGeom>
        </p:spPr>
        <p:txBody>
          <a:bodyPr spcFirstLastPara="1" wrap="square" lIns="91425" tIns="91425" rIns="91425" bIns="91425" anchor="b" anchorCtr="0">
            <a:normAutofit/>
          </a:bodyPr>
          <a:lstStyle>
            <a:lvl1pPr lvl="0" rtl="0">
              <a:lnSpc>
                <a:spcPct val="70000"/>
              </a:lnSpc>
              <a:spcBef>
                <a:spcPts val="0"/>
              </a:spcBef>
              <a:spcAft>
                <a:spcPts val="0"/>
              </a:spcAft>
              <a:buSzPts val="2400"/>
              <a:buNone/>
              <a:defRPr sz="2933"/>
            </a:lvl1pPr>
            <a:lvl2pPr lvl="1" rtl="0">
              <a:spcBef>
                <a:spcPts val="0"/>
              </a:spcBef>
              <a:spcAft>
                <a:spcPts val="0"/>
              </a:spcAft>
              <a:buClr>
                <a:schemeClr val="dk2"/>
              </a:buClr>
              <a:buSzPts val="1800"/>
              <a:buNone/>
              <a:defRPr sz="2400">
                <a:solidFill>
                  <a:schemeClr val="dk2"/>
                </a:solidFill>
              </a:defRPr>
            </a:lvl2pPr>
            <a:lvl3pPr lvl="2" rtl="0">
              <a:spcBef>
                <a:spcPts val="0"/>
              </a:spcBef>
              <a:spcAft>
                <a:spcPts val="0"/>
              </a:spcAft>
              <a:buClr>
                <a:schemeClr val="dk2"/>
              </a:buClr>
              <a:buSzPts val="1800"/>
              <a:buNone/>
              <a:defRPr sz="2400">
                <a:solidFill>
                  <a:schemeClr val="dk2"/>
                </a:solidFill>
              </a:defRPr>
            </a:lvl3pPr>
            <a:lvl4pPr lvl="3" rtl="0">
              <a:spcBef>
                <a:spcPts val="0"/>
              </a:spcBef>
              <a:spcAft>
                <a:spcPts val="0"/>
              </a:spcAft>
              <a:buClr>
                <a:schemeClr val="dk2"/>
              </a:buClr>
              <a:buSzPts val="1800"/>
              <a:buNone/>
              <a:defRPr sz="2400">
                <a:solidFill>
                  <a:schemeClr val="dk2"/>
                </a:solidFill>
              </a:defRPr>
            </a:lvl4pPr>
            <a:lvl5pPr lvl="4" rtl="0">
              <a:spcBef>
                <a:spcPts val="0"/>
              </a:spcBef>
              <a:spcAft>
                <a:spcPts val="0"/>
              </a:spcAft>
              <a:buClr>
                <a:schemeClr val="dk2"/>
              </a:buClr>
              <a:buSzPts val="1800"/>
              <a:buNone/>
              <a:defRPr sz="2400">
                <a:solidFill>
                  <a:schemeClr val="dk2"/>
                </a:solidFill>
              </a:defRPr>
            </a:lvl5pPr>
            <a:lvl6pPr lvl="5" rtl="0">
              <a:spcBef>
                <a:spcPts val="0"/>
              </a:spcBef>
              <a:spcAft>
                <a:spcPts val="0"/>
              </a:spcAft>
              <a:buClr>
                <a:schemeClr val="dk2"/>
              </a:buClr>
              <a:buSzPts val="1800"/>
              <a:buNone/>
              <a:defRPr sz="2400">
                <a:solidFill>
                  <a:schemeClr val="dk2"/>
                </a:solidFill>
              </a:defRPr>
            </a:lvl6pPr>
            <a:lvl7pPr lvl="6" rtl="0">
              <a:spcBef>
                <a:spcPts val="0"/>
              </a:spcBef>
              <a:spcAft>
                <a:spcPts val="0"/>
              </a:spcAft>
              <a:buClr>
                <a:schemeClr val="dk2"/>
              </a:buClr>
              <a:buSzPts val="1800"/>
              <a:buNone/>
              <a:defRPr sz="2400">
                <a:solidFill>
                  <a:schemeClr val="dk2"/>
                </a:solidFill>
              </a:defRPr>
            </a:lvl7pPr>
            <a:lvl8pPr lvl="7" rtl="0">
              <a:spcBef>
                <a:spcPts val="0"/>
              </a:spcBef>
              <a:spcAft>
                <a:spcPts val="0"/>
              </a:spcAft>
              <a:buClr>
                <a:schemeClr val="dk2"/>
              </a:buClr>
              <a:buSzPts val="1800"/>
              <a:buNone/>
              <a:defRPr sz="2400">
                <a:solidFill>
                  <a:schemeClr val="dk2"/>
                </a:solidFill>
              </a:defRPr>
            </a:lvl8pPr>
            <a:lvl9pPr lvl="8" rtl="0">
              <a:spcBef>
                <a:spcPts val="0"/>
              </a:spcBef>
              <a:spcAft>
                <a:spcPts val="0"/>
              </a:spcAft>
              <a:buClr>
                <a:schemeClr val="dk2"/>
              </a:buClr>
              <a:buSzPts val="1800"/>
              <a:buNone/>
              <a:defRPr sz="2400">
                <a:solidFill>
                  <a:schemeClr val="dk2"/>
                </a:solidFill>
              </a:defRPr>
            </a:lvl9pPr>
          </a:lstStyle>
          <a:p>
            <a:endParaRPr/>
          </a:p>
        </p:txBody>
      </p:sp>
      <p:sp>
        <p:nvSpPr>
          <p:cNvPr id="431" name="Google Shape;431;p21"/>
          <p:cNvSpPr txBox="1">
            <a:spLocks noGrp="1"/>
          </p:cNvSpPr>
          <p:nvPr>
            <p:ph type="subTitle" idx="1"/>
          </p:nvPr>
        </p:nvSpPr>
        <p:spPr>
          <a:xfrm flipH="1">
            <a:off x="1545267" y="2862500"/>
            <a:ext cx="2914000" cy="770400"/>
          </a:xfrm>
          <a:prstGeom prst="rect">
            <a:avLst/>
          </a:prstGeom>
        </p:spPr>
        <p:txBody>
          <a:bodyPr spcFirstLastPara="1" wrap="square" lIns="91425" tIns="91425" rIns="91425" bIns="91425" anchor="t" anchorCtr="0">
            <a:normAutofit/>
          </a:bodyPr>
          <a:lstStyle>
            <a:lvl1pPr lvl="0" rtl="0">
              <a:lnSpc>
                <a:spcPct val="100000"/>
              </a:lnSpc>
              <a:spcBef>
                <a:spcPts val="0"/>
              </a:spcBef>
              <a:spcAft>
                <a:spcPts val="0"/>
              </a:spcAft>
              <a:buSzPts val="2000"/>
              <a:buNone/>
              <a:defRPr sz="1867" b="0"/>
            </a:lvl1pPr>
            <a:lvl2pPr lvl="1" rtl="0">
              <a:lnSpc>
                <a:spcPct val="100000"/>
              </a:lnSpc>
              <a:spcBef>
                <a:spcPts val="0"/>
              </a:spcBef>
              <a:spcAft>
                <a:spcPts val="0"/>
              </a:spcAft>
              <a:buSzPts val="1000"/>
              <a:buNone/>
              <a:defRPr sz="1333"/>
            </a:lvl2pPr>
            <a:lvl3pPr lvl="2" rtl="0">
              <a:lnSpc>
                <a:spcPct val="100000"/>
              </a:lnSpc>
              <a:spcBef>
                <a:spcPts val="0"/>
              </a:spcBef>
              <a:spcAft>
                <a:spcPts val="0"/>
              </a:spcAft>
              <a:buSzPts val="1000"/>
              <a:buNone/>
              <a:defRPr sz="1333"/>
            </a:lvl3pPr>
            <a:lvl4pPr lvl="3" rtl="0">
              <a:lnSpc>
                <a:spcPct val="100000"/>
              </a:lnSpc>
              <a:spcBef>
                <a:spcPts val="0"/>
              </a:spcBef>
              <a:spcAft>
                <a:spcPts val="0"/>
              </a:spcAft>
              <a:buSzPts val="1000"/>
              <a:buNone/>
              <a:defRPr sz="1333"/>
            </a:lvl4pPr>
            <a:lvl5pPr lvl="4" rtl="0">
              <a:lnSpc>
                <a:spcPct val="100000"/>
              </a:lnSpc>
              <a:spcBef>
                <a:spcPts val="0"/>
              </a:spcBef>
              <a:spcAft>
                <a:spcPts val="0"/>
              </a:spcAft>
              <a:buSzPts val="1000"/>
              <a:buNone/>
              <a:defRPr sz="1333"/>
            </a:lvl5pPr>
            <a:lvl6pPr lvl="5" rtl="0">
              <a:lnSpc>
                <a:spcPct val="100000"/>
              </a:lnSpc>
              <a:spcBef>
                <a:spcPts val="0"/>
              </a:spcBef>
              <a:spcAft>
                <a:spcPts val="0"/>
              </a:spcAft>
              <a:buSzPts val="1000"/>
              <a:buNone/>
              <a:defRPr sz="1333"/>
            </a:lvl6pPr>
            <a:lvl7pPr lvl="6" rtl="0">
              <a:lnSpc>
                <a:spcPct val="100000"/>
              </a:lnSpc>
              <a:spcBef>
                <a:spcPts val="0"/>
              </a:spcBef>
              <a:spcAft>
                <a:spcPts val="0"/>
              </a:spcAft>
              <a:buSzPts val="1000"/>
              <a:buNone/>
              <a:defRPr sz="1333"/>
            </a:lvl7pPr>
            <a:lvl8pPr lvl="7" rtl="0">
              <a:lnSpc>
                <a:spcPct val="100000"/>
              </a:lnSpc>
              <a:spcBef>
                <a:spcPts val="0"/>
              </a:spcBef>
              <a:spcAft>
                <a:spcPts val="0"/>
              </a:spcAft>
              <a:buSzPts val="1000"/>
              <a:buNone/>
              <a:defRPr sz="1333"/>
            </a:lvl8pPr>
            <a:lvl9pPr lvl="8" rtl="0">
              <a:lnSpc>
                <a:spcPct val="100000"/>
              </a:lnSpc>
              <a:spcBef>
                <a:spcPts val="0"/>
              </a:spcBef>
              <a:spcAft>
                <a:spcPts val="0"/>
              </a:spcAft>
              <a:buSzPts val="1000"/>
              <a:buNone/>
              <a:defRPr sz="1333"/>
            </a:lvl9pPr>
          </a:lstStyle>
          <a:p>
            <a:endParaRPr/>
          </a:p>
        </p:txBody>
      </p:sp>
      <p:sp>
        <p:nvSpPr>
          <p:cNvPr id="432" name="Google Shape;432;p21"/>
          <p:cNvSpPr/>
          <p:nvPr/>
        </p:nvSpPr>
        <p:spPr>
          <a:xfrm rot="-5586105" flipH="1">
            <a:off x="877762" y="4157474"/>
            <a:ext cx="1908007" cy="3797453"/>
          </a:xfrm>
          <a:custGeom>
            <a:avLst/>
            <a:gdLst/>
            <a:ahLst/>
            <a:cxnLst/>
            <a:rect l="l" t="t" r="r" b="b"/>
            <a:pathLst>
              <a:path w="45953" h="91459" extrusionOk="0">
                <a:moveTo>
                  <a:pt x="45455" y="0"/>
                </a:moveTo>
                <a:lnTo>
                  <a:pt x="4158" y="2010"/>
                </a:lnTo>
                <a:cubicBezTo>
                  <a:pt x="2408" y="6505"/>
                  <a:pt x="1" y="11140"/>
                  <a:pt x="498" y="15934"/>
                </a:cubicBezTo>
                <a:cubicBezTo>
                  <a:pt x="3581" y="45614"/>
                  <a:pt x="39209" y="21942"/>
                  <a:pt x="34196" y="50170"/>
                </a:cubicBezTo>
                <a:cubicBezTo>
                  <a:pt x="32525" y="59500"/>
                  <a:pt x="25046" y="67596"/>
                  <a:pt x="25841" y="77025"/>
                </a:cubicBezTo>
                <a:cubicBezTo>
                  <a:pt x="26506" y="84932"/>
                  <a:pt x="35320" y="91459"/>
                  <a:pt x="43397" y="91459"/>
                </a:cubicBezTo>
                <a:cubicBezTo>
                  <a:pt x="44261" y="91459"/>
                  <a:pt x="45116" y="91384"/>
                  <a:pt x="45953" y="91228"/>
                </a:cubicBezTo>
                <a:lnTo>
                  <a:pt x="45455" y="13090"/>
                </a:lnTo>
                <a:lnTo>
                  <a:pt x="45455" y="0"/>
                </a:lnTo>
                <a:close/>
              </a:path>
            </a:pathLst>
          </a:custGeom>
          <a:solidFill>
            <a:schemeClr val="accent4"/>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33" name="Google Shape;433;p21"/>
          <p:cNvSpPr/>
          <p:nvPr/>
        </p:nvSpPr>
        <p:spPr>
          <a:xfrm>
            <a:off x="10299773" y="-84517"/>
            <a:ext cx="2183233" cy="929559"/>
          </a:xfrm>
          <a:custGeom>
            <a:avLst/>
            <a:gdLst/>
            <a:ahLst/>
            <a:cxnLst/>
            <a:rect l="l" t="t" r="r" b="b"/>
            <a:pathLst>
              <a:path w="17010" h="7242" extrusionOk="0">
                <a:moveTo>
                  <a:pt x="1" y="1"/>
                </a:moveTo>
                <a:cubicBezTo>
                  <a:pt x="677" y="4099"/>
                  <a:pt x="4238" y="7242"/>
                  <a:pt x="8515" y="7242"/>
                </a:cubicBezTo>
                <a:cubicBezTo>
                  <a:pt x="12792" y="7242"/>
                  <a:pt x="16333" y="4099"/>
                  <a:pt x="17009"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434" name="Google Shape;434;p21"/>
          <p:cNvGrpSpPr/>
          <p:nvPr/>
        </p:nvGrpSpPr>
        <p:grpSpPr>
          <a:xfrm>
            <a:off x="1462512" y="5619531"/>
            <a:ext cx="895699" cy="631032"/>
            <a:chOff x="4259550" y="437326"/>
            <a:chExt cx="376112" cy="264976"/>
          </a:xfrm>
        </p:grpSpPr>
        <p:sp>
          <p:nvSpPr>
            <p:cNvPr id="435" name="Google Shape;435;p21"/>
            <p:cNvSpPr/>
            <p:nvPr/>
          </p:nvSpPr>
          <p:spPr>
            <a:xfrm>
              <a:off x="4581912" y="437326"/>
              <a:ext cx="53750" cy="53225"/>
            </a:xfrm>
            <a:custGeom>
              <a:avLst/>
              <a:gdLst/>
              <a:ahLst/>
              <a:cxnLst/>
              <a:rect l="l" t="t" r="r" b="b"/>
              <a:pathLst>
                <a:path w="2150" h="2129" extrusionOk="0">
                  <a:moveTo>
                    <a:pt x="1075" y="0"/>
                  </a:moveTo>
                  <a:cubicBezTo>
                    <a:pt x="478" y="0"/>
                    <a:pt x="1" y="478"/>
                    <a:pt x="1" y="1075"/>
                  </a:cubicBezTo>
                  <a:cubicBezTo>
                    <a:pt x="1" y="1671"/>
                    <a:pt x="478" y="2129"/>
                    <a:pt x="1075" y="2129"/>
                  </a:cubicBezTo>
                  <a:cubicBezTo>
                    <a:pt x="1672" y="2129"/>
                    <a:pt x="2149" y="1671"/>
                    <a:pt x="2149" y="1075"/>
                  </a:cubicBezTo>
                  <a:cubicBezTo>
                    <a:pt x="2149" y="478"/>
                    <a:pt x="1672" y="0"/>
                    <a:pt x="107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36" name="Google Shape;436;p21"/>
            <p:cNvSpPr/>
            <p:nvPr/>
          </p:nvSpPr>
          <p:spPr>
            <a:xfrm>
              <a:off x="4259550" y="485275"/>
              <a:ext cx="62200" cy="62700"/>
            </a:xfrm>
            <a:custGeom>
              <a:avLst/>
              <a:gdLst/>
              <a:ahLst/>
              <a:cxnLst/>
              <a:rect l="l" t="t" r="r" b="b"/>
              <a:pathLst>
                <a:path w="2488" h="2508" extrusionOk="0">
                  <a:moveTo>
                    <a:pt x="1254" y="1"/>
                  </a:moveTo>
                  <a:cubicBezTo>
                    <a:pt x="557" y="1"/>
                    <a:pt x="0" y="558"/>
                    <a:pt x="0" y="1254"/>
                  </a:cubicBezTo>
                  <a:cubicBezTo>
                    <a:pt x="0" y="1950"/>
                    <a:pt x="557" y="2507"/>
                    <a:pt x="1254" y="2507"/>
                  </a:cubicBezTo>
                  <a:cubicBezTo>
                    <a:pt x="1950" y="2507"/>
                    <a:pt x="2487" y="1950"/>
                    <a:pt x="2487" y="1254"/>
                  </a:cubicBezTo>
                  <a:cubicBezTo>
                    <a:pt x="2487" y="558"/>
                    <a:pt x="1950" y="1"/>
                    <a:pt x="125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37" name="Google Shape;437;p21"/>
            <p:cNvSpPr/>
            <p:nvPr/>
          </p:nvSpPr>
          <p:spPr>
            <a:xfrm>
              <a:off x="4503927" y="572104"/>
              <a:ext cx="130152" cy="130197"/>
            </a:xfrm>
            <a:custGeom>
              <a:avLst/>
              <a:gdLst/>
              <a:ahLst/>
              <a:cxnLst/>
              <a:rect l="l" t="t" r="r" b="b"/>
              <a:pathLst>
                <a:path w="2845" h="2846" extrusionOk="0">
                  <a:moveTo>
                    <a:pt x="1432" y="1"/>
                  </a:moveTo>
                  <a:cubicBezTo>
                    <a:pt x="656" y="1"/>
                    <a:pt x="0" y="618"/>
                    <a:pt x="0" y="1413"/>
                  </a:cubicBezTo>
                  <a:cubicBezTo>
                    <a:pt x="0" y="2189"/>
                    <a:pt x="637" y="2846"/>
                    <a:pt x="1432" y="2846"/>
                  </a:cubicBezTo>
                  <a:cubicBezTo>
                    <a:pt x="2188" y="2846"/>
                    <a:pt x="2845" y="2209"/>
                    <a:pt x="2845" y="1413"/>
                  </a:cubicBezTo>
                  <a:cubicBezTo>
                    <a:pt x="2845" y="618"/>
                    <a:pt x="2188" y="1"/>
                    <a:pt x="143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438" name="Google Shape;438;p21"/>
          <p:cNvGrpSpPr/>
          <p:nvPr/>
        </p:nvGrpSpPr>
        <p:grpSpPr>
          <a:xfrm>
            <a:off x="615667" y="3937700"/>
            <a:ext cx="795033" cy="1109200"/>
            <a:chOff x="1656350" y="2894175"/>
            <a:chExt cx="596275" cy="831900"/>
          </a:xfrm>
        </p:grpSpPr>
        <p:sp>
          <p:nvSpPr>
            <p:cNvPr id="439" name="Google Shape;439;p21"/>
            <p:cNvSpPr/>
            <p:nvPr/>
          </p:nvSpPr>
          <p:spPr>
            <a:xfrm>
              <a:off x="1656350" y="2894175"/>
              <a:ext cx="596275" cy="831900"/>
            </a:xfrm>
            <a:custGeom>
              <a:avLst/>
              <a:gdLst/>
              <a:ahLst/>
              <a:cxnLst/>
              <a:rect l="l" t="t" r="r" b="b"/>
              <a:pathLst>
                <a:path w="23851" h="33276" extrusionOk="0">
                  <a:moveTo>
                    <a:pt x="15172" y="15177"/>
                  </a:moveTo>
                  <a:cubicBezTo>
                    <a:pt x="15174" y="15177"/>
                    <a:pt x="15176" y="15177"/>
                    <a:pt x="15178" y="15178"/>
                  </a:cubicBezTo>
                  <a:cubicBezTo>
                    <a:pt x="15512" y="15378"/>
                    <a:pt x="16979" y="25152"/>
                    <a:pt x="16646" y="25719"/>
                  </a:cubicBezTo>
                  <a:cubicBezTo>
                    <a:pt x="16549" y="25885"/>
                    <a:pt x="15935" y="25948"/>
                    <a:pt x="15103" y="25948"/>
                  </a:cubicBezTo>
                  <a:cubicBezTo>
                    <a:pt x="13082" y="25948"/>
                    <a:pt x="9772" y="25575"/>
                    <a:pt x="9441" y="25386"/>
                  </a:cubicBezTo>
                  <a:cubicBezTo>
                    <a:pt x="9209" y="25220"/>
                    <a:pt x="14837" y="15177"/>
                    <a:pt x="15172" y="15177"/>
                  </a:cubicBezTo>
                  <a:close/>
                  <a:moveTo>
                    <a:pt x="18382" y="1"/>
                  </a:moveTo>
                  <a:cubicBezTo>
                    <a:pt x="18382" y="1"/>
                    <a:pt x="18381" y="1"/>
                    <a:pt x="18380" y="1"/>
                  </a:cubicBezTo>
                  <a:cubicBezTo>
                    <a:pt x="17013" y="34"/>
                    <a:pt x="1" y="29722"/>
                    <a:pt x="501" y="30222"/>
                  </a:cubicBezTo>
                  <a:cubicBezTo>
                    <a:pt x="1669" y="31390"/>
                    <a:pt x="14511" y="33275"/>
                    <a:pt x="20352" y="33275"/>
                  </a:cubicBezTo>
                  <a:cubicBezTo>
                    <a:pt x="21853" y="33275"/>
                    <a:pt x="22891" y="33151"/>
                    <a:pt x="23151" y="32858"/>
                  </a:cubicBezTo>
                  <a:cubicBezTo>
                    <a:pt x="23851" y="32024"/>
                    <a:pt x="19519" y="1"/>
                    <a:pt x="1838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40" name="Google Shape;440;p21"/>
            <p:cNvSpPr/>
            <p:nvPr/>
          </p:nvSpPr>
          <p:spPr>
            <a:xfrm>
              <a:off x="2074150" y="3041775"/>
              <a:ext cx="85925" cy="20050"/>
            </a:xfrm>
            <a:custGeom>
              <a:avLst/>
              <a:gdLst/>
              <a:ahLst/>
              <a:cxnLst/>
              <a:rect l="l" t="t" r="r" b="b"/>
              <a:pathLst>
                <a:path w="3437" h="802" extrusionOk="0">
                  <a:moveTo>
                    <a:pt x="3170" y="1"/>
                  </a:moveTo>
                  <a:cubicBezTo>
                    <a:pt x="2669" y="68"/>
                    <a:pt x="2135" y="168"/>
                    <a:pt x="1635" y="268"/>
                  </a:cubicBezTo>
                  <a:cubicBezTo>
                    <a:pt x="1101" y="335"/>
                    <a:pt x="601" y="468"/>
                    <a:pt x="101" y="601"/>
                  </a:cubicBezTo>
                  <a:cubicBezTo>
                    <a:pt x="34" y="601"/>
                    <a:pt x="1" y="635"/>
                    <a:pt x="67" y="735"/>
                  </a:cubicBezTo>
                  <a:cubicBezTo>
                    <a:pt x="67" y="768"/>
                    <a:pt x="134" y="802"/>
                    <a:pt x="167" y="802"/>
                  </a:cubicBezTo>
                  <a:cubicBezTo>
                    <a:pt x="668" y="768"/>
                    <a:pt x="1201" y="735"/>
                    <a:pt x="1702" y="635"/>
                  </a:cubicBezTo>
                  <a:cubicBezTo>
                    <a:pt x="2202" y="568"/>
                    <a:pt x="2769" y="501"/>
                    <a:pt x="3270" y="435"/>
                  </a:cubicBezTo>
                  <a:cubicBezTo>
                    <a:pt x="3370" y="401"/>
                    <a:pt x="3436" y="301"/>
                    <a:pt x="3436" y="168"/>
                  </a:cubicBezTo>
                  <a:cubicBezTo>
                    <a:pt x="3370" y="101"/>
                    <a:pt x="3303" y="1"/>
                    <a:pt x="317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41" name="Google Shape;441;p21"/>
            <p:cNvSpPr/>
            <p:nvPr/>
          </p:nvSpPr>
          <p:spPr>
            <a:xfrm>
              <a:off x="2106675" y="3254450"/>
              <a:ext cx="85075" cy="20050"/>
            </a:xfrm>
            <a:custGeom>
              <a:avLst/>
              <a:gdLst/>
              <a:ahLst/>
              <a:cxnLst/>
              <a:rect l="l" t="t" r="r" b="b"/>
              <a:pathLst>
                <a:path w="3403" h="802" extrusionOk="0">
                  <a:moveTo>
                    <a:pt x="3169" y="0"/>
                  </a:moveTo>
                  <a:cubicBezTo>
                    <a:pt x="2669" y="67"/>
                    <a:pt x="2135" y="167"/>
                    <a:pt x="1635" y="267"/>
                  </a:cubicBezTo>
                  <a:cubicBezTo>
                    <a:pt x="1068" y="334"/>
                    <a:pt x="568" y="467"/>
                    <a:pt x="67" y="601"/>
                  </a:cubicBezTo>
                  <a:cubicBezTo>
                    <a:pt x="34" y="601"/>
                    <a:pt x="1" y="634"/>
                    <a:pt x="67" y="701"/>
                  </a:cubicBezTo>
                  <a:cubicBezTo>
                    <a:pt x="67" y="768"/>
                    <a:pt x="101" y="801"/>
                    <a:pt x="167" y="801"/>
                  </a:cubicBezTo>
                  <a:cubicBezTo>
                    <a:pt x="668" y="768"/>
                    <a:pt x="1201" y="701"/>
                    <a:pt x="1702" y="634"/>
                  </a:cubicBezTo>
                  <a:cubicBezTo>
                    <a:pt x="2202" y="568"/>
                    <a:pt x="2736" y="501"/>
                    <a:pt x="3236" y="434"/>
                  </a:cubicBezTo>
                  <a:cubicBezTo>
                    <a:pt x="3370" y="367"/>
                    <a:pt x="3403" y="301"/>
                    <a:pt x="3403" y="167"/>
                  </a:cubicBezTo>
                  <a:cubicBezTo>
                    <a:pt x="3370" y="101"/>
                    <a:pt x="3303" y="0"/>
                    <a:pt x="316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42" name="Google Shape;442;p21"/>
            <p:cNvSpPr/>
            <p:nvPr/>
          </p:nvSpPr>
          <p:spPr>
            <a:xfrm>
              <a:off x="2102500" y="3097650"/>
              <a:ext cx="66750" cy="17550"/>
            </a:xfrm>
            <a:custGeom>
              <a:avLst/>
              <a:gdLst/>
              <a:ahLst/>
              <a:cxnLst/>
              <a:rect l="l" t="t" r="r" b="b"/>
              <a:pathLst>
                <a:path w="2670" h="702" extrusionOk="0">
                  <a:moveTo>
                    <a:pt x="2402" y="1"/>
                  </a:moveTo>
                  <a:cubicBezTo>
                    <a:pt x="2036" y="34"/>
                    <a:pt x="1635" y="134"/>
                    <a:pt x="1235" y="201"/>
                  </a:cubicBezTo>
                  <a:cubicBezTo>
                    <a:pt x="835" y="301"/>
                    <a:pt x="468" y="368"/>
                    <a:pt x="67" y="501"/>
                  </a:cubicBezTo>
                  <a:cubicBezTo>
                    <a:pt x="34" y="501"/>
                    <a:pt x="1" y="535"/>
                    <a:pt x="67" y="635"/>
                  </a:cubicBezTo>
                  <a:cubicBezTo>
                    <a:pt x="67" y="668"/>
                    <a:pt x="134" y="701"/>
                    <a:pt x="168" y="701"/>
                  </a:cubicBezTo>
                  <a:cubicBezTo>
                    <a:pt x="534" y="668"/>
                    <a:pt x="935" y="635"/>
                    <a:pt x="1335" y="568"/>
                  </a:cubicBezTo>
                  <a:cubicBezTo>
                    <a:pt x="1702" y="535"/>
                    <a:pt x="2102" y="501"/>
                    <a:pt x="2503" y="401"/>
                  </a:cubicBezTo>
                  <a:cubicBezTo>
                    <a:pt x="2636" y="368"/>
                    <a:pt x="2669" y="301"/>
                    <a:pt x="2669" y="168"/>
                  </a:cubicBezTo>
                  <a:cubicBezTo>
                    <a:pt x="2636" y="34"/>
                    <a:pt x="2536" y="1"/>
                    <a:pt x="240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43" name="Google Shape;443;p21"/>
            <p:cNvSpPr/>
            <p:nvPr/>
          </p:nvSpPr>
          <p:spPr>
            <a:xfrm>
              <a:off x="2110850" y="3147700"/>
              <a:ext cx="66725" cy="17525"/>
            </a:xfrm>
            <a:custGeom>
              <a:avLst/>
              <a:gdLst/>
              <a:ahLst/>
              <a:cxnLst/>
              <a:rect l="l" t="t" r="r" b="b"/>
              <a:pathLst>
                <a:path w="2669" h="701" extrusionOk="0">
                  <a:moveTo>
                    <a:pt x="2402" y="0"/>
                  </a:moveTo>
                  <a:cubicBezTo>
                    <a:pt x="2035" y="34"/>
                    <a:pt x="1635" y="134"/>
                    <a:pt x="1235" y="200"/>
                  </a:cubicBezTo>
                  <a:cubicBezTo>
                    <a:pt x="834" y="301"/>
                    <a:pt x="467" y="367"/>
                    <a:pt x="67" y="501"/>
                  </a:cubicBezTo>
                  <a:cubicBezTo>
                    <a:pt x="34" y="501"/>
                    <a:pt x="0" y="534"/>
                    <a:pt x="67" y="634"/>
                  </a:cubicBezTo>
                  <a:cubicBezTo>
                    <a:pt x="67" y="667"/>
                    <a:pt x="134" y="701"/>
                    <a:pt x="167" y="701"/>
                  </a:cubicBezTo>
                  <a:cubicBezTo>
                    <a:pt x="534" y="667"/>
                    <a:pt x="934" y="634"/>
                    <a:pt x="1335" y="567"/>
                  </a:cubicBezTo>
                  <a:cubicBezTo>
                    <a:pt x="1702" y="534"/>
                    <a:pt x="2102" y="501"/>
                    <a:pt x="2502" y="401"/>
                  </a:cubicBezTo>
                  <a:cubicBezTo>
                    <a:pt x="2636" y="367"/>
                    <a:pt x="2669" y="301"/>
                    <a:pt x="2669" y="167"/>
                  </a:cubicBezTo>
                  <a:cubicBezTo>
                    <a:pt x="2636" y="34"/>
                    <a:pt x="2535" y="0"/>
                    <a:pt x="240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44" name="Google Shape;444;p21"/>
            <p:cNvSpPr/>
            <p:nvPr/>
          </p:nvSpPr>
          <p:spPr>
            <a:xfrm>
              <a:off x="2115850" y="3201075"/>
              <a:ext cx="65900" cy="17525"/>
            </a:xfrm>
            <a:custGeom>
              <a:avLst/>
              <a:gdLst/>
              <a:ahLst/>
              <a:cxnLst/>
              <a:rect l="l" t="t" r="r" b="b"/>
              <a:pathLst>
                <a:path w="2636" h="701" extrusionOk="0">
                  <a:moveTo>
                    <a:pt x="2369" y="0"/>
                  </a:moveTo>
                  <a:cubicBezTo>
                    <a:pt x="2002" y="34"/>
                    <a:pt x="1602" y="100"/>
                    <a:pt x="1201" y="200"/>
                  </a:cubicBezTo>
                  <a:cubicBezTo>
                    <a:pt x="801" y="267"/>
                    <a:pt x="434" y="367"/>
                    <a:pt x="34" y="467"/>
                  </a:cubicBezTo>
                  <a:cubicBezTo>
                    <a:pt x="0" y="534"/>
                    <a:pt x="0" y="567"/>
                    <a:pt x="34" y="601"/>
                  </a:cubicBezTo>
                  <a:cubicBezTo>
                    <a:pt x="34" y="634"/>
                    <a:pt x="101" y="701"/>
                    <a:pt x="134" y="701"/>
                  </a:cubicBezTo>
                  <a:cubicBezTo>
                    <a:pt x="501" y="634"/>
                    <a:pt x="901" y="601"/>
                    <a:pt x="1301" y="567"/>
                  </a:cubicBezTo>
                  <a:cubicBezTo>
                    <a:pt x="1668" y="534"/>
                    <a:pt x="2069" y="467"/>
                    <a:pt x="2469" y="400"/>
                  </a:cubicBezTo>
                  <a:cubicBezTo>
                    <a:pt x="2602" y="367"/>
                    <a:pt x="2636" y="267"/>
                    <a:pt x="2636" y="134"/>
                  </a:cubicBezTo>
                  <a:cubicBezTo>
                    <a:pt x="2602" y="34"/>
                    <a:pt x="2502" y="0"/>
                    <a:pt x="236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45" name="Google Shape;445;p21"/>
            <p:cNvSpPr/>
            <p:nvPr/>
          </p:nvSpPr>
          <p:spPr>
            <a:xfrm>
              <a:off x="2129200" y="3302825"/>
              <a:ext cx="66725" cy="17525"/>
            </a:xfrm>
            <a:custGeom>
              <a:avLst/>
              <a:gdLst/>
              <a:ahLst/>
              <a:cxnLst/>
              <a:rect l="l" t="t" r="r" b="b"/>
              <a:pathLst>
                <a:path w="2669" h="701" extrusionOk="0">
                  <a:moveTo>
                    <a:pt x="2435" y="0"/>
                  </a:moveTo>
                  <a:cubicBezTo>
                    <a:pt x="2068" y="34"/>
                    <a:pt x="1635" y="134"/>
                    <a:pt x="1268" y="200"/>
                  </a:cubicBezTo>
                  <a:cubicBezTo>
                    <a:pt x="834" y="300"/>
                    <a:pt x="467" y="367"/>
                    <a:pt x="100" y="501"/>
                  </a:cubicBezTo>
                  <a:cubicBezTo>
                    <a:pt x="67" y="501"/>
                    <a:pt x="0" y="534"/>
                    <a:pt x="100" y="634"/>
                  </a:cubicBezTo>
                  <a:cubicBezTo>
                    <a:pt x="100" y="667"/>
                    <a:pt x="134" y="701"/>
                    <a:pt x="167" y="701"/>
                  </a:cubicBezTo>
                  <a:cubicBezTo>
                    <a:pt x="534" y="667"/>
                    <a:pt x="968" y="634"/>
                    <a:pt x="1334" y="567"/>
                  </a:cubicBezTo>
                  <a:cubicBezTo>
                    <a:pt x="1701" y="534"/>
                    <a:pt x="2135" y="501"/>
                    <a:pt x="2502" y="400"/>
                  </a:cubicBezTo>
                  <a:cubicBezTo>
                    <a:pt x="2635" y="367"/>
                    <a:pt x="2669" y="300"/>
                    <a:pt x="2669" y="167"/>
                  </a:cubicBezTo>
                  <a:cubicBezTo>
                    <a:pt x="2635" y="34"/>
                    <a:pt x="2535" y="0"/>
                    <a:pt x="243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46" name="Google Shape;446;p21"/>
            <p:cNvSpPr/>
            <p:nvPr/>
          </p:nvSpPr>
          <p:spPr>
            <a:xfrm>
              <a:off x="2137525" y="3352850"/>
              <a:ext cx="66750" cy="17550"/>
            </a:xfrm>
            <a:custGeom>
              <a:avLst/>
              <a:gdLst/>
              <a:ahLst/>
              <a:cxnLst/>
              <a:rect l="l" t="t" r="r" b="b"/>
              <a:pathLst>
                <a:path w="2670" h="702" extrusionOk="0">
                  <a:moveTo>
                    <a:pt x="2436" y="1"/>
                  </a:moveTo>
                  <a:cubicBezTo>
                    <a:pt x="2069" y="34"/>
                    <a:pt x="1635" y="134"/>
                    <a:pt x="1268" y="201"/>
                  </a:cubicBezTo>
                  <a:cubicBezTo>
                    <a:pt x="835" y="301"/>
                    <a:pt x="468" y="368"/>
                    <a:pt x="101" y="501"/>
                  </a:cubicBezTo>
                  <a:cubicBezTo>
                    <a:pt x="67" y="501"/>
                    <a:pt x="1" y="534"/>
                    <a:pt x="101" y="634"/>
                  </a:cubicBezTo>
                  <a:cubicBezTo>
                    <a:pt x="101" y="668"/>
                    <a:pt x="134" y="701"/>
                    <a:pt x="168" y="701"/>
                  </a:cubicBezTo>
                  <a:cubicBezTo>
                    <a:pt x="534" y="668"/>
                    <a:pt x="968" y="634"/>
                    <a:pt x="1335" y="568"/>
                  </a:cubicBezTo>
                  <a:cubicBezTo>
                    <a:pt x="1702" y="534"/>
                    <a:pt x="2136" y="501"/>
                    <a:pt x="2503" y="401"/>
                  </a:cubicBezTo>
                  <a:cubicBezTo>
                    <a:pt x="2636" y="368"/>
                    <a:pt x="2669" y="301"/>
                    <a:pt x="2669" y="167"/>
                  </a:cubicBezTo>
                  <a:cubicBezTo>
                    <a:pt x="2636" y="34"/>
                    <a:pt x="2536" y="1"/>
                    <a:pt x="2436"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47" name="Google Shape;447;p21"/>
            <p:cNvSpPr/>
            <p:nvPr/>
          </p:nvSpPr>
          <p:spPr>
            <a:xfrm>
              <a:off x="2143375" y="3406225"/>
              <a:ext cx="65075" cy="17525"/>
            </a:xfrm>
            <a:custGeom>
              <a:avLst/>
              <a:gdLst/>
              <a:ahLst/>
              <a:cxnLst/>
              <a:rect l="l" t="t" r="r" b="b"/>
              <a:pathLst>
                <a:path w="2603" h="701" extrusionOk="0">
                  <a:moveTo>
                    <a:pt x="2369" y="0"/>
                  </a:moveTo>
                  <a:cubicBezTo>
                    <a:pt x="2002" y="34"/>
                    <a:pt x="1568" y="101"/>
                    <a:pt x="1201" y="201"/>
                  </a:cubicBezTo>
                  <a:cubicBezTo>
                    <a:pt x="767" y="267"/>
                    <a:pt x="401" y="367"/>
                    <a:pt x="34" y="467"/>
                  </a:cubicBezTo>
                  <a:cubicBezTo>
                    <a:pt x="34" y="534"/>
                    <a:pt x="0" y="568"/>
                    <a:pt x="34" y="601"/>
                  </a:cubicBezTo>
                  <a:cubicBezTo>
                    <a:pt x="34" y="634"/>
                    <a:pt x="67" y="701"/>
                    <a:pt x="100" y="701"/>
                  </a:cubicBezTo>
                  <a:cubicBezTo>
                    <a:pt x="467" y="634"/>
                    <a:pt x="901" y="601"/>
                    <a:pt x="1268" y="568"/>
                  </a:cubicBezTo>
                  <a:cubicBezTo>
                    <a:pt x="1635" y="534"/>
                    <a:pt x="2068" y="467"/>
                    <a:pt x="2435" y="401"/>
                  </a:cubicBezTo>
                  <a:cubicBezTo>
                    <a:pt x="2569" y="367"/>
                    <a:pt x="2602" y="267"/>
                    <a:pt x="2602" y="134"/>
                  </a:cubicBezTo>
                  <a:cubicBezTo>
                    <a:pt x="2569" y="34"/>
                    <a:pt x="2502" y="0"/>
                    <a:pt x="236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48" name="Google Shape;448;p21"/>
            <p:cNvSpPr/>
            <p:nvPr/>
          </p:nvSpPr>
          <p:spPr>
            <a:xfrm>
              <a:off x="2133350" y="3462925"/>
              <a:ext cx="85925" cy="20050"/>
            </a:xfrm>
            <a:custGeom>
              <a:avLst/>
              <a:gdLst/>
              <a:ahLst/>
              <a:cxnLst/>
              <a:rect l="l" t="t" r="r" b="b"/>
              <a:pathLst>
                <a:path w="3437" h="802" extrusionOk="0">
                  <a:moveTo>
                    <a:pt x="3170" y="1"/>
                  </a:moveTo>
                  <a:cubicBezTo>
                    <a:pt x="2670" y="67"/>
                    <a:pt x="2136" y="168"/>
                    <a:pt x="1635" y="268"/>
                  </a:cubicBezTo>
                  <a:cubicBezTo>
                    <a:pt x="1102" y="334"/>
                    <a:pt x="601" y="468"/>
                    <a:pt x="101" y="601"/>
                  </a:cubicBezTo>
                  <a:cubicBezTo>
                    <a:pt x="68" y="601"/>
                    <a:pt x="1" y="635"/>
                    <a:pt x="101" y="701"/>
                  </a:cubicBezTo>
                  <a:cubicBezTo>
                    <a:pt x="101" y="768"/>
                    <a:pt x="134" y="801"/>
                    <a:pt x="168" y="801"/>
                  </a:cubicBezTo>
                  <a:cubicBezTo>
                    <a:pt x="668" y="768"/>
                    <a:pt x="1235" y="701"/>
                    <a:pt x="1736" y="635"/>
                  </a:cubicBezTo>
                  <a:cubicBezTo>
                    <a:pt x="2236" y="568"/>
                    <a:pt x="2770" y="501"/>
                    <a:pt x="3270" y="434"/>
                  </a:cubicBezTo>
                  <a:cubicBezTo>
                    <a:pt x="3403" y="368"/>
                    <a:pt x="3437" y="301"/>
                    <a:pt x="3437" y="168"/>
                  </a:cubicBezTo>
                  <a:cubicBezTo>
                    <a:pt x="3403" y="101"/>
                    <a:pt x="3303" y="1"/>
                    <a:pt x="317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49" name="Google Shape;449;p21"/>
            <p:cNvSpPr/>
            <p:nvPr/>
          </p:nvSpPr>
          <p:spPr>
            <a:xfrm>
              <a:off x="2156700" y="3511300"/>
              <a:ext cx="66750" cy="17525"/>
            </a:xfrm>
            <a:custGeom>
              <a:avLst/>
              <a:gdLst/>
              <a:ahLst/>
              <a:cxnLst/>
              <a:rect l="l" t="t" r="r" b="b"/>
              <a:pathLst>
                <a:path w="2670" h="701" extrusionOk="0">
                  <a:moveTo>
                    <a:pt x="2403" y="0"/>
                  </a:moveTo>
                  <a:cubicBezTo>
                    <a:pt x="2036" y="34"/>
                    <a:pt x="1635" y="134"/>
                    <a:pt x="1235" y="201"/>
                  </a:cubicBezTo>
                  <a:cubicBezTo>
                    <a:pt x="835" y="301"/>
                    <a:pt x="468" y="367"/>
                    <a:pt x="68" y="501"/>
                  </a:cubicBezTo>
                  <a:cubicBezTo>
                    <a:pt x="34" y="534"/>
                    <a:pt x="1" y="534"/>
                    <a:pt x="68" y="634"/>
                  </a:cubicBezTo>
                  <a:cubicBezTo>
                    <a:pt x="68" y="668"/>
                    <a:pt x="134" y="701"/>
                    <a:pt x="168" y="701"/>
                  </a:cubicBezTo>
                  <a:cubicBezTo>
                    <a:pt x="535" y="668"/>
                    <a:pt x="935" y="634"/>
                    <a:pt x="1335" y="568"/>
                  </a:cubicBezTo>
                  <a:cubicBezTo>
                    <a:pt x="1702" y="534"/>
                    <a:pt x="2102" y="501"/>
                    <a:pt x="2503" y="401"/>
                  </a:cubicBezTo>
                  <a:cubicBezTo>
                    <a:pt x="2636" y="367"/>
                    <a:pt x="2670" y="301"/>
                    <a:pt x="2670" y="167"/>
                  </a:cubicBezTo>
                  <a:cubicBezTo>
                    <a:pt x="2636" y="34"/>
                    <a:pt x="2536" y="0"/>
                    <a:pt x="240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50" name="Google Shape;450;p21"/>
            <p:cNvSpPr/>
            <p:nvPr/>
          </p:nvSpPr>
          <p:spPr>
            <a:xfrm>
              <a:off x="2165875" y="3561325"/>
              <a:ext cx="65925" cy="17550"/>
            </a:xfrm>
            <a:custGeom>
              <a:avLst/>
              <a:gdLst/>
              <a:ahLst/>
              <a:cxnLst/>
              <a:rect l="l" t="t" r="r" b="b"/>
              <a:pathLst>
                <a:path w="2637" h="702" extrusionOk="0">
                  <a:moveTo>
                    <a:pt x="2369" y="1"/>
                  </a:moveTo>
                  <a:cubicBezTo>
                    <a:pt x="2002" y="34"/>
                    <a:pt x="1602" y="134"/>
                    <a:pt x="1202" y="201"/>
                  </a:cubicBezTo>
                  <a:cubicBezTo>
                    <a:pt x="801" y="301"/>
                    <a:pt x="435" y="368"/>
                    <a:pt x="34" y="501"/>
                  </a:cubicBezTo>
                  <a:cubicBezTo>
                    <a:pt x="1" y="501"/>
                    <a:pt x="1" y="535"/>
                    <a:pt x="34" y="635"/>
                  </a:cubicBezTo>
                  <a:cubicBezTo>
                    <a:pt x="34" y="668"/>
                    <a:pt x="101" y="701"/>
                    <a:pt x="134" y="701"/>
                  </a:cubicBezTo>
                  <a:cubicBezTo>
                    <a:pt x="501" y="668"/>
                    <a:pt x="902" y="635"/>
                    <a:pt x="1302" y="568"/>
                  </a:cubicBezTo>
                  <a:cubicBezTo>
                    <a:pt x="1669" y="535"/>
                    <a:pt x="2069" y="501"/>
                    <a:pt x="2469" y="401"/>
                  </a:cubicBezTo>
                  <a:cubicBezTo>
                    <a:pt x="2603" y="368"/>
                    <a:pt x="2636" y="301"/>
                    <a:pt x="2636" y="168"/>
                  </a:cubicBezTo>
                  <a:cubicBezTo>
                    <a:pt x="2603" y="34"/>
                    <a:pt x="2503" y="1"/>
                    <a:pt x="236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51" name="Google Shape;451;p21"/>
            <p:cNvSpPr/>
            <p:nvPr/>
          </p:nvSpPr>
          <p:spPr>
            <a:xfrm>
              <a:off x="2170050" y="3615550"/>
              <a:ext cx="66750" cy="17525"/>
            </a:xfrm>
            <a:custGeom>
              <a:avLst/>
              <a:gdLst/>
              <a:ahLst/>
              <a:cxnLst/>
              <a:rect l="l" t="t" r="r" b="b"/>
              <a:pathLst>
                <a:path w="2670" h="701" extrusionOk="0">
                  <a:moveTo>
                    <a:pt x="2436" y="0"/>
                  </a:moveTo>
                  <a:cubicBezTo>
                    <a:pt x="2035" y="33"/>
                    <a:pt x="1635" y="134"/>
                    <a:pt x="1268" y="200"/>
                  </a:cubicBezTo>
                  <a:cubicBezTo>
                    <a:pt x="835" y="300"/>
                    <a:pt x="468" y="367"/>
                    <a:pt x="101" y="500"/>
                  </a:cubicBezTo>
                  <a:cubicBezTo>
                    <a:pt x="34" y="500"/>
                    <a:pt x="1" y="534"/>
                    <a:pt x="67" y="634"/>
                  </a:cubicBezTo>
                  <a:cubicBezTo>
                    <a:pt x="67" y="667"/>
                    <a:pt x="134" y="701"/>
                    <a:pt x="167" y="701"/>
                  </a:cubicBezTo>
                  <a:cubicBezTo>
                    <a:pt x="534" y="667"/>
                    <a:pt x="968" y="634"/>
                    <a:pt x="1335" y="567"/>
                  </a:cubicBezTo>
                  <a:cubicBezTo>
                    <a:pt x="1702" y="534"/>
                    <a:pt x="2136" y="500"/>
                    <a:pt x="2502" y="400"/>
                  </a:cubicBezTo>
                  <a:cubicBezTo>
                    <a:pt x="2636" y="367"/>
                    <a:pt x="2669" y="300"/>
                    <a:pt x="2669" y="167"/>
                  </a:cubicBezTo>
                  <a:cubicBezTo>
                    <a:pt x="2636" y="33"/>
                    <a:pt x="2536" y="0"/>
                    <a:pt x="243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52" name="Google Shape;452;p21"/>
            <p:cNvSpPr/>
            <p:nvPr/>
          </p:nvSpPr>
          <p:spPr>
            <a:xfrm>
              <a:off x="1883175" y="3549650"/>
              <a:ext cx="33400" cy="45125"/>
            </a:xfrm>
            <a:custGeom>
              <a:avLst/>
              <a:gdLst/>
              <a:ahLst/>
              <a:cxnLst/>
              <a:rect l="l" t="t" r="r" b="b"/>
              <a:pathLst>
                <a:path w="1336" h="1805" extrusionOk="0">
                  <a:moveTo>
                    <a:pt x="368" y="0"/>
                  </a:moveTo>
                  <a:cubicBezTo>
                    <a:pt x="301" y="0"/>
                    <a:pt x="201" y="67"/>
                    <a:pt x="168" y="67"/>
                  </a:cubicBezTo>
                  <a:cubicBezTo>
                    <a:pt x="134" y="67"/>
                    <a:pt x="101" y="101"/>
                    <a:pt x="101" y="101"/>
                  </a:cubicBezTo>
                  <a:cubicBezTo>
                    <a:pt x="34" y="101"/>
                    <a:pt x="1" y="167"/>
                    <a:pt x="34" y="234"/>
                  </a:cubicBezTo>
                  <a:cubicBezTo>
                    <a:pt x="34" y="258"/>
                    <a:pt x="68" y="281"/>
                    <a:pt x="111" y="281"/>
                  </a:cubicBezTo>
                  <a:cubicBezTo>
                    <a:pt x="129" y="281"/>
                    <a:pt x="148" y="277"/>
                    <a:pt x="168" y="267"/>
                  </a:cubicBezTo>
                  <a:lnTo>
                    <a:pt x="535" y="267"/>
                  </a:lnTo>
                  <a:cubicBezTo>
                    <a:pt x="601" y="267"/>
                    <a:pt x="635" y="301"/>
                    <a:pt x="668" y="301"/>
                  </a:cubicBezTo>
                  <a:cubicBezTo>
                    <a:pt x="701" y="301"/>
                    <a:pt x="768" y="334"/>
                    <a:pt x="768" y="334"/>
                  </a:cubicBezTo>
                  <a:cubicBezTo>
                    <a:pt x="768" y="334"/>
                    <a:pt x="801" y="334"/>
                    <a:pt x="801" y="401"/>
                  </a:cubicBezTo>
                  <a:cubicBezTo>
                    <a:pt x="501" y="401"/>
                    <a:pt x="201" y="634"/>
                    <a:pt x="168" y="1001"/>
                  </a:cubicBezTo>
                  <a:cubicBezTo>
                    <a:pt x="134" y="1401"/>
                    <a:pt x="334" y="1768"/>
                    <a:pt x="668" y="1802"/>
                  </a:cubicBezTo>
                  <a:cubicBezTo>
                    <a:pt x="689" y="1804"/>
                    <a:pt x="710" y="1805"/>
                    <a:pt x="731" y="1805"/>
                  </a:cubicBezTo>
                  <a:cubicBezTo>
                    <a:pt x="1038" y="1805"/>
                    <a:pt x="1304" y="1574"/>
                    <a:pt x="1335" y="1168"/>
                  </a:cubicBezTo>
                  <a:cubicBezTo>
                    <a:pt x="1335" y="934"/>
                    <a:pt x="1302" y="768"/>
                    <a:pt x="1302" y="701"/>
                  </a:cubicBezTo>
                  <a:cubicBezTo>
                    <a:pt x="1302" y="668"/>
                    <a:pt x="1268" y="634"/>
                    <a:pt x="1268" y="568"/>
                  </a:cubicBezTo>
                  <a:cubicBezTo>
                    <a:pt x="1268" y="501"/>
                    <a:pt x="1235" y="434"/>
                    <a:pt x="1168" y="401"/>
                  </a:cubicBezTo>
                  <a:cubicBezTo>
                    <a:pt x="1135" y="334"/>
                    <a:pt x="1102" y="267"/>
                    <a:pt x="1068" y="234"/>
                  </a:cubicBezTo>
                  <a:cubicBezTo>
                    <a:pt x="1002" y="167"/>
                    <a:pt x="935" y="134"/>
                    <a:pt x="868" y="101"/>
                  </a:cubicBezTo>
                  <a:cubicBezTo>
                    <a:pt x="835" y="67"/>
                    <a:pt x="768" y="67"/>
                    <a:pt x="7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53" name="Google Shape;453;p21"/>
            <p:cNvSpPr/>
            <p:nvPr/>
          </p:nvSpPr>
          <p:spPr>
            <a:xfrm>
              <a:off x="2015775" y="3566325"/>
              <a:ext cx="33375" cy="45150"/>
            </a:xfrm>
            <a:custGeom>
              <a:avLst/>
              <a:gdLst/>
              <a:ahLst/>
              <a:cxnLst/>
              <a:rect l="l" t="t" r="r" b="b"/>
              <a:pathLst>
                <a:path w="1335" h="1806" extrusionOk="0">
                  <a:moveTo>
                    <a:pt x="368" y="1"/>
                  </a:moveTo>
                  <a:cubicBezTo>
                    <a:pt x="301" y="1"/>
                    <a:pt x="201" y="67"/>
                    <a:pt x="167" y="67"/>
                  </a:cubicBezTo>
                  <a:cubicBezTo>
                    <a:pt x="134" y="67"/>
                    <a:pt x="67" y="101"/>
                    <a:pt x="67" y="101"/>
                  </a:cubicBezTo>
                  <a:cubicBezTo>
                    <a:pt x="34" y="101"/>
                    <a:pt x="1" y="167"/>
                    <a:pt x="34" y="234"/>
                  </a:cubicBezTo>
                  <a:cubicBezTo>
                    <a:pt x="34" y="258"/>
                    <a:pt x="51" y="281"/>
                    <a:pt x="96" y="281"/>
                  </a:cubicBezTo>
                  <a:cubicBezTo>
                    <a:pt x="114" y="281"/>
                    <a:pt x="138" y="277"/>
                    <a:pt x="167" y="267"/>
                  </a:cubicBezTo>
                  <a:lnTo>
                    <a:pt x="534" y="267"/>
                  </a:lnTo>
                  <a:cubicBezTo>
                    <a:pt x="568" y="267"/>
                    <a:pt x="634" y="301"/>
                    <a:pt x="668" y="301"/>
                  </a:cubicBezTo>
                  <a:cubicBezTo>
                    <a:pt x="701" y="301"/>
                    <a:pt x="734" y="334"/>
                    <a:pt x="734" y="334"/>
                  </a:cubicBezTo>
                  <a:cubicBezTo>
                    <a:pt x="734" y="334"/>
                    <a:pt x="801" y="334"/>
                    <a:pt x="801" y="401"/>
                  </a:cubicBezTo>
                  <a:cubicBezTo>
                    <a:pt x="501" y="401"/>
                    <a:pt x="201" y="634"/>
                    <a:pt x="167" y="1001"/>
                  </a:cubicBezTo>
                  <a:cubicBezTo>
                    <a:pt x="134" y="1402"/>
                    <a:pt x="334" y="1769"/>
                    <a:pt x="668" y="1802"/>
                  </a:cubicBezTo>
                  <a:cubicBezTo>
                    <a:pt x="689" y="1804"/>
                    <a:pt x="710" y="1805"/>
                    <a:pt x="730" y="1805"/>
                  </a:cubicBezTo>
                  <a:cubicBezTo>
                    <a:pt x="1038" y="1805"/>
                    <a:pt x="1304" y="1574"/>
                    <a:pt x="1335" y="1168"/>
                  </a:cubicBezTo>
                  <a:cubicBezTo>
                    <a:pt x="1335" y="935"/>
                    <a:pt x="1302" y="768"/>
                    <a:pt x="1302" y="734"/>
                  </a:cubicBezTo>
                  <a:cubicBezTo>
                    <a:pt x="1302" y="668"/>
                    <a:pt x="1268" y="634"/>
                    <a:pt x="1268" y="568"/>
                  </a:cubicBezTo>
                  <a:cubicBezTo>
                    <a:pt x="1268" y="501"/>
                    <a:pt x="1201" y="434"/>
                    <a:pt x="1168" y="401"/>
                  </a:cubicBezTo>
                  <a:cubicBezTo>
                    <a:pt x="1135" y="334"/>
                    <a:pt x="1101" y="267"/>
                    <a:pt x="1035" y="234"/>
                  </a:cubicBezTo>
                  <a:cubicBezTo>
                    <a:pt x="1001" y="167"/>
                    <a:pt x="935" y="134"/>
                    <a:pt x="868" y="101"/>
                  </a:cubicBezTo>
                  <a:cubicBezTo>
                    <a:pt x="835" y="67"/>
                    <a:pt x="768" y="67"/>
                    <a:pt x="70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54" name="Google Shape;454;p21"/>
            <p:cNvSpPr/>
            <p:nvPr/>
          </p:nvSpPr>
          <p:spPr>
            <a:xfrm>
              <a:off x="2026625" y="3611950"/>
              <a:ext cx="98425" cy="93900"/>
            </a:xfrm>
            <a:custGeom>
              <a:avLst/>
              <a:gdLst/>
              <a:ahLst/>
              <a:cxnLst/>
              <a:rect l="l" t="t" r="r" b="b"/>
              <a:pathLst>
                <a:path w="3937" h="3756" extrusionOk="0">
                  <a:moveTo>
                    <a:pt x="2006" y="1"/>
                  </a:moveTo>
                  <a:cubicBezTo>
                    <a:pt x="1052" y="1"/>
                    <a:pt x="225" y="677"/>
                    <a:pt x="100" y="1645"/>
                  </a:cubicBezTo>
                  <a:cubicBezTo>
                    <a:pt x="0" y="2679"/>
                    <a:pt x="701" y="3613"/>
                    <a:pt x="1735" y="3746"/>
                  </a:cubicBezTo>
                  <a:cubicBezTo>
                    <a:pt x="1801" y="3753"/>
                    <a:pt x="1866" y="3756"/>
                    <a:pt x="1931" y="3756"/>
                  </a:cubicBezTo>
                  <a:cubicBezTo>
                    <a:pt x="2885" y="3756"/>
                    <a:pt x="3711" y="3080"/>
                    <a:pt x="3836" y="2112"/>
                  </a:cubicBezTo>
                  <a:cubicBezTo>
                    <a:pt x="3936" y="1078"/>
                    <a:pt x="3203" y="144"/>
                    <a:pt x="2202" y="10"/>
                  </a:cubicBezTo>
                  <a:cubicBezTo>
                    <a:pt x="2136" y="4"/>
                    <a:pt x="2071" y="1"/>
                    <a:pt x="20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55" name="Google Shape;455;p21"/>
            <p:cNvSpPr/>
            <p:nvPr/>
          </p:nvSpPr>
          <p:spPr>
            <a:xfrm>
              <a:off x="1791450" y="3581775"/>
              <a:ext cx="99275" cy="93400"/>
            </a:xfrm>
            <a:custGeom>
              <a:avLst/>
              <a:gdLst/>
              <a:ahLst/>
              <a:cxnLst/>
              <a:rect l="l" t="t" r="r" b="b"/>
              <a:pathLst>
                <a:path w="3971" h="3736" extrusionOk="0">
                  <a:moveTo>
                    <a:pt x="1986" y="1"/>
                  </a:moveTo>
                  <a:cubicBezTo>
                    <a:pt x="1031" y="1"/>
                    <a:pt x="257" y="699"/>
                    <a:pt x="134" y="1651"/>
                  </a:cubicBezTo>
                  <a:cubicBezTo>
                    <a:pt x="1" y="2652"/>
                    <a:pt x="734" y="3552"/>
                    <a:pt x="1768" y="3719"/>
                  </a:cubicBezTo>
                  <a:cubicBezTo>
                    <a:pt x="1853" y="3730"/>
                    <a:pt x="1937" y="3735"/>
                    <a:pt x="2020" y="3735"/>
                  </a:cubicBezTo>
                  <a:cubicBezTo>
                    <a:pt x="2950" y="3735"/>
                    <a:pt x="3745" y="3067"/>
                    <a:pt x="3837" y="2118"/>
                  </a:cubicBezTo>
                  <a:cubicBezTo>
                    <a:pt x="3970" y="1050"/>
                    <a:pt x="3270" y="150"/>
                    <a:pt x="2235" y="16"/>
                  </a:cubicBezTo>
                  <a:cubicBezTo>
                    <a:pt x="2151" y="6"/>
                    <a:pt x="2068" y="1"/>
                    <a:pt x="198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56" name="Google Shape;456;p21"/>
            <p:cNvSpPr/>
            <p:nvPr/>
          </p:nvSpPr>
          <p:spPr>
            <a:xfrm>
              <a:off x="1928225" y="3590175"/>
              <a:ext cx="74225" cy="38050"/>
            </a:xfrm>
            <a:custGeom>
              <a:avLst/>
              <a:gdLst/>
              <a:ahLst/>
              <a:cxnLst/>
              <a:rect l="l" t="t" r="r" b="b"/>
              <a:pathLst>
                <a:path w="2969" h="1522" extrusionOk="0">
                  <a:moveTo>
                    <a:pt x="191" y="0"/>
                  </a:moveTo>
                  <a:cubicBezTo>
                    <a:pt x="173" y="0"/>
                    <a:pt x="153" y="4"/>
                    <a:pt x="134" y="14"/>
                  </a:cubicBezTo>
                  <a:cubicBezTo>
                    <a:pt x="33" y="14"/>
                    <a:pt x="0" y="81"/>
                    <a:pt x="0" y="181"/>
                  </a:cubicBezTo>
                  <a:cubicBezTo>
                    <a:pt x="67" y="514"/>
                    <a:pt x="234" y="815"/>
                    <a:pt x="467" y="1048"/>
                  </a:cubicBezTo>
                  <a:cubicBezTo>
                    <a:pt x="667" y="1315"/>
                    <a:pt x="1001" y="1482"/>
                    <a:pt x="1368" y="1515"/>
                  </a:cubicBezTo>
                  <a:cubicBezTo>
                    <a:pt x="1409" y="1519"/>
                    <a:pt x="1453" y="1521"/>
                    <a:pt x="1497" y="1521"/>
                  </a:cubicBezTo>
                  <a:cubicBezTo>
                    <a:pt x="1807" y="1521"/>
                    <a:pt x="2164" y="1419"/>
                    <a:pt x="2368" y="1215"/>
                  </a:cubicBezTo>
                  <a:cubicBezTo>
                    <a:pt x="2669" y="981"/>
                    <a:pt x="2835" y="714"/>
                    <a:pt x="2936" y="381"/>
                  </a:cubicBezTo>
                  <a:cubicBezTo>
                    <a:pt x="2969" y="314"/>
                    <a:pt x="2936" y="281"/>
                    <a:pt x="2869" y="214"/>
                  </a:cubicBezTo>
                  <a:cubicBezTo>
                    <a:pt x="2852" y="181"/>
                    <a:pt x="2810" y="164"/>
                    <a:pt x="2769" y="164"/>
                  </a:cubicBezTo>
                  <a:cubicBezTo>
                    <a:pt x="2727" y="164"/>
                    <a:pt x="2685" y="181"/>
                    <a:pt x="2669" y="214"/>
                  </a:cubicBezTo>
                  <a:cubicBezTo>
                    <a:pt x="2502" y="448"/>
                    <a:pt x="2302" y="614"/>
                    <a:pt x="2102" y="714"/>
                  </a:cubicBezTo>
                  <a:cubicBezTo>
                    <a:pt x="1923" y="816"/>
                    <a:pt x="1764" y="860"/>
                    <a:pt x="1610" y="860"/>
                  </a:cubicBezTo>
                  <a:cubicBezTo>
                    <a:pt x="1562" y="860"/>
                    <a:pt x="1515" y="856"/>
                    <a:pt x="1468" y="848"/>
                  </a:cubicBezTo>
                  <a:cubicBezTo>
                    <a:pt x="1268" y="848"/>
                    <a:pt x="1034" y="748"/>
                    <a:pt x="834" y="614"/>
                  </a:cubicBezTo>
                  <a:cubicBezTo>
                    <a:pt x="634" y="481"/>
                    <a:pt x="467" y="281"/>
                    <a:pt x="300" y="47"/>
                  </a:cubicBezTo>
                  <a:cubicBezTo>
                    <a:pt x="277" y="24"/>
                    <a:pt x="236" y="0"/>
                    <a:pt x="19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457" name="Google Shape;457;p21"/>
          <p:cNvSpPr/>
          <p:nvPr/>
        </p:nvSpPr>
        <p:spPr>
          <a:xfrm>
            <a:off x="1112607" y="844332"/>
            <a:ext cx="128004" cy="126753"/>
          </a:xfrm>
          <a:custGeom>
            <a:avLst/>
            <a:gdLst/>
            <a:ahLst/>
            <a:cxnLst/>
            <a:rect l="l" t="t" r="r" b="b"/>
            <a:pathLst>
              <a:path w="2150" h="2129" extrusionOk="0">
                <a:moveTo>
                  <a:pt x="1075" y="0"/>
                </a:moveTo>
                <a:cubicBezTo>
                  <a:pt x="478" y="0"/>
                  <a:pt x="1" y="478"/>
                  <a:pt x="1" y="1075"/>
                </a:cubicBezTo>
                <a:cubicBezTo>
                  <a:pt x="1" y="1671"/>
                  <a:pt x="478" y="2129"/>
                  <a:pt x="1075" y="2129"/>
                </a:cubicBezTo>
                <a:cubicBezTo>
                  <a:pt x="1672" y="2129"/>
                  <a:pt x="2149" y="1671"/>
                  <a:pt x="2149" y="1075"/>
                </a:cubicBezTo>
                <a:cubicBezTo>
                  <a:pt x="2149" y="478"/>
                  <a:pt x="1672" y="0"/>
                  <a:pt x="1075" y="0"/>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58" name="Google Shape;458;p21"/>
          <p:cNvSpPr/>
          <p:nvPr/>
        </p:nvSpPr>
        <p:spPr>
          <a:xfrm>
            <a:off x="1315807" y="1047532"/>
            <a:ext cx="128004" cy="126753"/>
          </a:xfrm>
          <a:custGeom>
            <a:avLst/>
            <a:gdLst/>
            <a:ahLst/>
            <a:cxnLst/>
            <a:rect l="l" t="t" r="r" b="b"/>
            <a:pathLst>
              <a:path w="2150" h="2129" extrusionOk="0">
                <a:moveTo>
                  <a:pt x="1075" y="0"/>
                </a:moveTo>
                <a:cubicBezTo>
                  <a:pt x="478" y="0"/>
                  <a:pt x="1" y="478"/>
                  <a:pt x="1" y="1075"/>
                </a:cubicBezTo>
                <a:cubicBezTo>
                  <a:pt x="1" y="1671"/>
                  <a:pt x="478" y="2129"/>
                  <a:pt x="1075" y="2129"/>
                </a:cubicBezTo>
                <a:cubicBezTo>
                  <a:pt x="1672" y="2129"/>
                  <a:pt x="2149" y="1671"/>
                  <a:pt x="2149" y="1075"/>
                </a:cubicBezTo>
                <a:cubicBezTo>
                  <a:pt x="2149" y="478"/>
                  <a:pt x="1672" y="0"/>
                  <a:pt x="1075" y="0"/>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59" name="Google Shape;459;p21"/>
          <p:cNvSpPr/>
          <p:nvPr/>
        </p:nvSpPr>
        <p:spPr>
          <a:xfrm>
            <a:off x="10212932" y="245028"/>
            <a:ext cx="458336" cy="404065"/>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4398210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280E2-D05E-6C36-A126-8F5AA413A9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18951586-4B9F-B1A6-8CBC-C165EDFD5C5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1FA4DF50-782A-0322-C0E6-34ED8C0E1A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158BBF7-7676-5B72-75CD-FCBC51DF86D3}"/>
              </a:ext>
            </a:extLst>
          </p:cNvPr>
          <p:cNvSpPr>
            <a:spLocks noGrp="1"/>
          </p:cNvSpPr>
          <p:nvPr>
            <p:ph type="dt" sz="half" idx="10"/>
          </p:nvPr>
        </p:nvSpPr>
        <p:spPr/>
        <p:txBody>
          <a:bodyPr/>
          <a:lstStyle/>
          <a:p>
            <a:fld id="{1E32E15C-1ABB-4FCE-A664-E12BA74059BF}" type="datetimeFigureOut">
              <a:rPr lang="en-IN" smtClean="0"/>
              <a:t>13-01-2023</a:t>
            </a:fld>
            <a:endParaRPr lang="en-IN"/>
          </a:p>
        </p:txBody>
      </p:sp>
      <p:sp>
        <p:nvSpPr>
          <p:cNvPr id="6" name="Footer Placeholder 5">
            <a:extLst>
              <a:ext uri="{FF2B5EF4-FFF2-40B4-BE49-F238E27FC236}">
                <a16:creationId xmlns:a16="http://schemas.microsoft.com/office/drawing/2014/main" id="{90D9C90A-0606-3D4D-8ED2-71AE6697CDB8}"/>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E509B8F2-5C9F-22A9-32E2-65A9F538C0F7}"/>
              </a:ext>
            </a:extLst>
          </p:cNvPr>
          <p:cNvSpPr>
            <a:spLocks noGrp="1"/>
          </p:cNvSpPr>
          <p:nvPr>
            <p:ph type="sldNum" sz="quarter" idx="12"/>
          </p:nvPr>
        </p:nvSpPr>
        <p:spPr/>
        <p:txBody>
          <a:bodyPr/>
          <a:lstStyle/>
          <a:p>
            <a:fld id="{B4B60327-AE25-4737-85CF-0B04EF4FAC0C}" type="slidenum">
              <a:rPr lang="en-IN" smtClean="0"/>
              <a:t>‹#›</a:t>
            </a:fld>
            <a:endParaRPr lang="en-IN"/>
          </a:p>
        </p:txBody>
      </p:sp>
    </p:spTree>
    <p:extLst>
      <p:ext uri="{BB962C8B-B14F-4D97-AF65-F5344CB8AC3E}">
        <p14:creationId xmlns:p14="http://schemas.microsoft.com/office/powerpoint/2010/main" val="216506224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Meet Our Professors by Slidesgo">
  <p:cSld name="Meet Our Professors by Slidesgo">
    <p:bg>
      <p:bgPr>
        <a:blipFill>
          <a:blip r:embed="rId2">
            <a:alphaModFix/>
          </a:blip>
          <a:stretch>
            <a:fillRect/>
          </a:stretch>
        </a:blipFill>
        <a:effectLst/>
      </p:bgPr>
    </p:bg>
    <p:spTree>
      <p:nvGrpSpPr>
        <p:cNvPr id="1" name="Shape 460"/>
        <p:cNvGrpSpPr/>
        <p:nvPr/>
      </p:nvGrpSpPr>
      <p:grpSpPr>
        <a:xfrm>
          <a:off x="0" y="0"/>
          <a:ext cx="0" cy="0"/>
          <a:chOff x="0" y="0"/>
          <a:chExt cx="0" cy="0"/>
        </a:xfrm>
      </p:grpSpPr>
      <p:sp>
        <p:nvSpPr>
          <p:cNvPr id="461" name="Google Shape;461;p22"/>
          <p:cNvSpPr txBox="1">
            <a:spLocks noGrp="1"/>
          </p:cNvSpPr>
          <p:nvPr>
            <p:ph type="ctrTitle"/>
          </p:nvPr>
        </p:nvSpPr>
        <p:spPr>
          <a:xfrm>
            <a:off x="1912549" y="2233147"/>
            <a:ext cx="2542000" cy="770400"/>
          </a:xfrm>
          <a:prstGeom prst="rect">
            <a:avLst/>
          </a:prstGeom>
        </p:spPr>
        <p:txBody>
          <a:bodyPr spcFirstLastPara="1" wrap="square" lIns="91425" tIns="91425" rIns="91425" bIns="91425" anchor="b" anchorCtr="0">
            <a:normAutofit/>
          </a:bodyPr>
          <a:lstStyle>
            <a:lvl1pPr lvl="0" algn="ctr" rtl="0">
              <a:spcBef>
                <a:spcPts val="0"/>
              </a:spcBef>
              <a:spcAft>
                <a:spcPts val="0"/>
              </a:spcAft>
              <a:buSzPts val="2200"/>
              <a:buNone/>
              <a:defRPr sz="2933">
                <a:solidFill>
                  <a:schemeClr val="accent1"/>
                </a:solidFill>
              </a:defRPr>
            </a:lvl1pPr>
            <a:lvl2pPr lvl="1"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2pPr>
            <a:lvl3pPr lvl="2"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3pPr>
            <a:lvl4pPr lvl="3"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4pPr>
            <a:lvl5pPr lvl="4"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5pPr>
            <a:lvl6pPr lvl="5"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6pPr>
            <a:lvl7pPr lvl="6"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7pPr>
            <a:lvl8pPr lvl="7"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8pPr>
            <a:lvl9pPr lvl="8"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9pPr>
          </a:lstStyle>
          <a:p>
            <a:endParaRPr/>
          </a:p>
        </p:txBody>
      </p:sp>
      <p:sp>
        <p:nvSpPr>
          <p:cNvPr id="462" name="Google Shape;462;p22"/>
          <p:cNvSpPr txBox="1">
            <a:spLocks noGrp="1"/>
          </p:cNvSpPr>
          <p:nvPr>
            <p:ph type="subTitle" idx="1"/>
          </p:nvPr>
        </p:nvSpPr>
        <p:spPr>
          <a:xfrm>
            <a:off x="1896117" y="2828384"/>
            <a:ext cx="2574800" cy="4904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1000"/>
              <a:buNone/>
              <a:defRPr sz="1867" b="0"/>
            </a:lvl1pPr>
            <a:lvl2pPr lvl="1" algn="ctr" rtl="0">
              <a:lnSpc>
                <a:spcPct val="100000"/>
              </a:lnSpc>
              <a:spcBef>
                <a:spcPts val="0"/>
              </a:spcBef>
              <a:spcAft>
                <a:spcPts val="0"/>
              </a:spcAft>
              <a:buSzPts val="1000"/>
              <a:buNone/>
              <a:defRPr sz="1333"/>
            </a:lvl2pPr>
            <a:lvl3pPr lvl="2" algn="ctr" rtl="0">
              <a:lnSpc>
                <a:spcPct val="100000"/>
              </a:lnSpc>
              <a:spcBef>
                <a:spcPts val="0"/>
              </a:spcBef>
              <a:spcAft>
                <a:spcPts val="0"/>
              </a:spcAft>
              <a:buSzPts val="1000"/>
              <a:buNone/>
              <a:defRPr sz="1333"/>
            </a:lvl3pPr>
            <a:lvl4pPr lvl="3" algn="ctr" rtl="0">
              <a:lnSpc>
                <a:spcPct val="100000"/>
              </a:lnSpc>
              <a:spcBef>
                <a:spcPts val="0"/>
              </a:spcBef>
              <a:spcAft>
                <a:spcPts val="0"/>
              </a:spcAft>
              <a:buSzPts val="1000"/>
              <a:buNone/>
              <a:defRPr sz="1333"/>
            </a:lvl4pPr>
            <a:lvl5pPr lvl="4" algn="ctr" rtl="0">
              <a:lnSpc>
                <a:spcPct val="100000"/>
              </a:lnSpc>
              <a:spcBef>
                <a:spcPts val="0"/>
              </a:spcBef>
              <a:spcAft>
                <a:spcPts val="0"/>
              </a:spcAft>
              <a:buSzPts val="1000"/>
              <a:buNone/>
              <a:defRPr sz="1333"/>
            </a:lvl5pPr>
            <a:lvl6pPr lvl="5" algn="ctr" rtl="0">
              <a:lnSpc>
                <a:spcPct val="100000"/>
              </a:lnSpc>
              <a:spcBef>
                <a:spcPts val="0"/>
              </a:spcBef>
              <a:spcAft>
                <a:spcPts val="0"/>
              </a:spcAft>
              <a:buSzPts val="1000"/>
              <a:buNone/>
              <a:defRPr sz="1333"/>
            </a:lvl6pPr>
            <a:lvl7pPr lvl="6" algn="ctr" rtl="0">
              <a:lnSpc>
                <a:spcPct val="100000"/>
              </a:lnSpc>
              <a:spcBef>
                <a:spcPts val="0"/>
              </a:spcBef>
              <a:spcAft>
                <a:spcPts val="0"/>
              </a:spcAft>
              <a:buSzPts val="1000"/>
              <a:buNone/>
              <a:defRPr sz="1333"/>
            </a:lvl7pPr>
            <a:lvl8pPr lvl="7" algn="ctr" rtl="0">
              <a:lnSpc>
                <a:spcPct val="100000"/>
              </a:lnSpc>
              <a:spcBef>
                <a:spcPts val="0"/>
              </a:spcBef>
              <a:spcAft>
                <a:spcPts val="0"/>
              </a:spcAft>
              <a:buSzPts val="1000"/>
              <a:buNone/>
              <a:defRPr sz="1333"/>
            </a:lvl8pPr>
            <a:lvl9pPr lvl="8" algn="ctr" rtl="0">
              <a:lnSpc>
                <a:spcPct val="100000"/>
              </a:lnSpc>
              <a:spcBef>
                <a:spcPts val="0"/>
              </a:spcBef>
              <a:spcAft>
                <a:spcPts val="0"/>
              </a:spcAft>
              <a:buSzPts val="1000"/>
              <a:buNone/>
              <a:defRPr sz="1333"/>
            </a:lvl9pPr>
          </a:lstStyle>
          <a:p>
            <a:endParaRPr/>
          </a:p>
        </p:txBody>
      </p:sp>
      <p:sp>
        <p:nvSpPr>
          <p:cNvPr id="463" name="Google Shape;463;p22"/>
          <p:cNvSpPr txBox="1">
            <a:spLocks noGrp="1"/>
          </p:cNvSpPr>
          <p:nvPr>
            <p:ph type="ctrTitle" idx="2"/>
          </p:nvPr>
        </p:nvSpPr>
        <p:spPr>
          <a:xfrm>
            <a:off x="4803133" y="2228613"/>
            <a:ext cx="2542000" cy="770400"/>
          </a:xfrm>
          <a:prstGeom prst="rect">
            <a:avLst/>
          </a:prstGeom>
        </p:spPr>
        <p:txBody>
          <a:bodyPr spcFirstLastPara="1" wrap="square" lIns="91425" tIns="91425" rIns="91425" bIns="91425" anchor="b" anchorCtr="0">
            <a:normAutofit/>
          </a:bodyPr>
          <a:lstStyle>
            <a:lvl1pPr lvl="0" algn="ctr" rtl="0">
              <a:spcBef>
                <a:spcPts val="0"/>
              </a:spcBef>
              <a:spcAft>
                <a:spcPts val="0"/>
              </a:spcAft>
              <a:buSzPts val="2200"/>
              <a:buNone/>
              <a:defRPr sz="2933">
                <a:solidFill>
                  <a:schemeClr val="accent4"/>
                </a:solidFill>
              </a:defRPr>
            </a:lvl1pPr>
            <a:lvl2pPr lvl="1"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2pPr>
            <a:lvl3pPr lvl="2"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3pPr>
            <a:lvl4pPr lvl="3"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4pPr>
            <a:lvl5pPr lvl="4"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5pPr>
            <a:lvl6pPr lvl="5"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6pPr>
            <a:lvl7pPr lvl="6"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7pPr>
            <a:lvl8pPr lvl="7"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8pPr>
            <a:lvl9pPr lvl="8"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9pPr>
          </a:lstStyle>
          <a:p>
            <a:endParaRPr/>
          </a:p>
        </p:txBody>
      </p:sp>
      <p:sp>
        <p:nvSpPr>
          <p:cNvPr id="464" name="Google Shape;464;p22"/>
          <p:cNvSpPr txBox="1">
            <a:spLocks noGrp="1"/>
          </p:cNvSpPr>
          <p:nvPr>
            <p:ph type="subTitle" idx="3"/>
          </p:nvPr>
        </p:nvSpPr>
        <p:spPr>
          <a:xfrm>
            <a:off x="4775532" y="2828400"/>
            <a:ext cx="2542000" cy="4904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1000"/>
              <a:buNone/>
              <a:defRPr sz="1867" b="0"/>
            </a:lvl1pPr>
            <a:lvl2pPr lvl="1" algn="ctr" rtl="0">
              <a:lnSpc>
                <a:spcPct val="100000"/>
              </a:lnSpc>
              <a:spcBef>
                <a:spcPts val="0"/>
              </a:spcBef>
              <a:spcAft>
                <a:spcPts val="0"/>
              </a:spcAft>
              <a:buSzPts val="1000"/>
              <a:buNone/>
              <a:defRPr sz="1333"/>
            </a:lvl2pPr>
            <a:lvl3pPr lvl="2" algn="ctr" rtl="0">
              <a:lnSpc>
                <a:spcPct val="100000"/>
              </a:lnSpc>
              <a:spcBef>
                <a:spcPts val="0"/>
              </a:spcBef>
              <a:spcAft>
                <a:spcPts val="0"/>
              </a:spcAft>
              <a:buSzPts val="1000"/>
              <a:buNone/>
              <a:defRPr sz="1333"/>
            </a:lvl3pPr>
            <a:lvl4pPr lvl="3" algn="ctr" rtl="0">
              <a:lnSpc>
                <a:spcPct val="100000"/>
              </a:lnSpc>
              <a:spcBef>
                <a:spcPts val="0"/>
              </a:spcBef>
              <a:spcAft>
                <a:spcPts val="0"/>
              </a:spcAft>
              <a:buSzPts val="1000"/>
              <a:buNone/>
              <a:defRPr sz="1333"/>
            </a:lvl4pPr>
            <a:lvl5pPr lvl="4" algn="ctr" rtl="0">
              <a:lnSpc>
                <a:spcPct val="100000"/>
              </a:lnSpc>
              <a:spcBef>
                <a:spcPts val="0"/>
              </a:spcBef>
              <a:spcAft>
                <a:spcPts val="0"/>
              </a:spcAft>
              <a:buSzPts val="1000"/>
              <a:buNone/>
              <a:defRPr sz="1333"/>
            </a:lvl5pPr>
            <a:lvl6pPr lvl="5" algn="ctr" rtl="0">
              <a:lnSpc>
                <a:spcPct val="100000"/>
              </a:lnSpc>
              <a:spcBef>
                <a:spcPts val="0"/>
              </a:spcBef>
              <a:spcAft>
                <a:spcPts val="0"/>
              </a:spcAft>
              <a:buSzPts val="1000"/>
              <a:buNone/>
              <a:defRPr sz="1333"/>
            </a:lvl6pPr>
            <a:lvl7pPr lvl="6" algn="ctr" rtl="0">
              <a:lnSpc>
                <a:spcPct val="100000"/>
              </a:lnSpc>
              <a:spcBef>
                <a:spcPts val="0"/>
              </a:spcBef>
              <a:spcAft>
                <a:spcPts val="0"/>
              </a:spcAft>
              <a:buSzPts val="1000"/>
              <a:buNone/>
              <a:defRPr sz="1333"/>
            </a:lvl7pPr>
            <a:lvl8pPr lvl="7" algn="ctr" rtl="0">
              <a:lnSpc>
                <a:spcPct val="100000"/>
              </a:lnSpc>
              <a:spcBef>
                <a:spcPts val="0"/>
              </a:spcBef>
              <a:spcAft>
                <a:spcPts val="0"/>
              </a:spcAft>
              <a:buSzPts val="1000"/>
              <a:buNone/>
              <a:defRPr sz="1333"/>
            </a:lvl8pPr>
            <a:lvl9pPr lvl="8" algn="ctr" rtl="0">
              <a:lnSpc>
                <a:spcPct val="100000"/>
              </a:lnSpc>
              <a:spcBef>
                <a:spcPts val="0"/>
              </a:spcBef>
              <a:spcAft>
                <a:spcPts val="0"/>
              </a:spcAft>
              <a:buSzPts val="1000"/>
              <a:buNone/>
              <a:defRPr sz="1333"/>
            </a:lvl9pPr>
          </a:lstStyle>
          <a:p>
            <a:endParaRPr/>
          </a:p>
        </p:txBody>
      </p:sp>
      <p:sp>
        <p:nvSpPr>
          <p:cNvPr id="465" name="Google Shape;465;p22"/>
          <p:cNvSpPr txBox="1">
            <a:spLocks noGrp="1"/>
          </p:cNvSpPr>
          <p:nvPr>
            <p:ph type="ctrTitle" idx="4"/>
          </p:nvPr>
        </p:nvSpPr>
        <p:spPr>
          <a:xfrm>
            <a:off x="7693733" y="2228647"/>
            <a:ext cx="2542000" cy="770400"/>
          </a:xfrm>
          <a:prstGeom prst="rect">
            <a:avLst/>
          </a:prstGeom>
        </p:spPr>
        <p:txBody>
          <a:bodyPr spcFirstLastPara="1" wrap="square" lIns="91425" tIns="91425" rIns="91425" bIns="91425" anchor="b" anchorCtr="0">
            <a:normAutofit/>
          </a:bodyPr>
          <a:lstStyle>
            <a:lvl1pPr lvl="0" algn="ctr" rtl="0">
              <a:spcBef>
                <a:spcPts val="0"/>
              </a:spcBef>
              <a:spcAft>
                <a:spcPts val="0"/>
              </a:spcAft>
              <a:buSzPts val="2200"/>
              <a:buNone/>
              <a:defRPr sz="2933">
                <a:solidFill>
                  <a:schemeClr val="accent3"/>
                </a:solidFill>
              </a:defRPr>
            </a:lvl1pPr>
            <a:lvl2pPr lvl="1"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2pPr>
            <a:lvl3pPr lvl="2"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3pPr>
            <a:lvl4pPr lvl="3"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4pPr>
            <a:lvl5pPr lvl="4"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5pPr>
            <a:lvl6pPr lvl="5"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6pPr>
            <a:lvl7pPr lvl="6"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7pPr>
            <a:lvl8pPr lvl="7"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8pPr>
            <a:lvl9pPr lvl="8"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9pPr>
          </a:lstStyle>
          <a:p>
            <a:endParaRPr/>
          </a:p>
        </p:txBody>
      </p:sp>
      <p:sp>
        <p:nvSpPr>
          <p:cNvPr id="466" name="Google Shape;466;p22"/>
          <p:cNvSpPr txBox="1">
            <a:spLocks noGrp="1"/>
          </p:cNvSpPr>
          <p:nvPr>
            <p:ph type="subTitle" idx="5"/>
          </p:nvPr>
        </p:nvSpPr>
        <p:spPr>
          <a:xfrm>
            <a:off x="7693733" y="2828400"/>
            <a:ext cx="2652400" cy="4904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1000"/>
              <a:buNone/>
              <a:defRPr sz="1867" b="0"/>
            </a:lvl1pPr>
            <a:lvl2pPr lvl="1" algn="ctr" rtl="0">
              <a:lnSpc>
                <a:spcPct val="100000"/>
              </a:lnSpc>
              <a:spcBef>
                <a:spcPts val="0"/>
              </a:spcBef>
              <a:spcAft>
                <a:spcPts val="0"/>
              </a:spcAft>
              <a:buSzPts val="1000"/>
              <a:buNone/>
              <a:defRPr sz="1333"/>
            </a:lvl2pPr>
            <a:lvl3pPr lvl="2" algn="ctr" rtl="0">
              <a:lnSpc>
                <a:spcPct val="100000"/>
              </a:lnSpc>
              <a:spcBef>
                <a:spcPts val="0"/>
              </a:spcBef>
              <a:spcAft>
                <a:spcPts val="0"/>
              </a:spcAft>
              <a:buSzPts val="1000"/>
              <a:buNone/>
              <a:defRPr sz="1333"/>
            </a:lvl3pPr>
            <a:lvl4pPr lvl="3" algn="ctr" rtl="0">
              <a:lnSpc>
                <a:spcPct val="100000"/>
              </a:lnSpc>
              <a:spcBef>
                <a:spcPts val="0"/>
              </a:spcBef>
              <a:spcAft>
                <a:spcPts val="0"/>
              </a:spcAft>
              <a:buSzPts val="1000"/>
              <a:buNone/>
              <a:defRPr sz="1333"/>
            </a:lvl4pPr>
            <a:lvl5pPr lvl="4" algn="ctr" rtl="0">
              <a:lnSpc>
                <a:spcPct val="100000"/>
              </a:lnSpc>
              <a:spcBef>
                <a:spcPts val="0"/>
              </a:spcBef>
              <a:spcAft>
                <a:spcPts val="0"/>
              </a:spcAft>
              <a:buSzPts val="1000"/>
              <a:buNone/>
              <a:defRPr sz="1333"/>
            </a:lvl5pPr>
            <a:lvl6pPr lvl="5" algn="ctr" rtl="0">
              <a:lnSpc>
                <a:spcPct val="100000"/>
              </a:lnSpc>
              <a:spcBef>
                <a:spcPts val="0"/>
              </a:spcBef>
              <a:spcAft>
                <a:spcPts val="0"/>
              </a:spcAft>
              <a:buSzPts val="1000"/>
              <a:buNone/>
              <a:defRPr sz="1333"/>
            </a:lvl6pPr>
            <a:lvl7pPr lvl="6" algn="ctr" rtl="0">
              <a:lnSpc>
                <a:spcPct val="100000"/>
              </a:lnSpc>
              <a:spcBef>
                <a:spcPts val="0"/>
              </a:spcBef>
              <a:spcAft>
                <a:spcPts val="0"/>
              </a:spcAft>
              <a:buSzPts val="1000"/>
              <a:buNone/>
              <a:defRPr sz="1333"/>
            </a:lvl7pPr>
            <a:lvl8pPr lvl="7" algn="ctr" rtl="0">
              <a:lnSpc>
                <a:spcPct val="100000"/>
              </a:lnSpc>
              <a:spcBef>
                <a:spcPts val="0"/>
              </a:spcBef>
              <a:spcAft>
                <a:spcPts val="0"/>
              </a:spcAft>
              <a:buSzPts val="1000"/>
              <a:buNone/>
              <a:defRPr sz="1333"/>
            </a:lvl8pPr>
            <a:lvl9pPr lvl="8" algn="ctr" rtl="0">
              <a:lnSpc>
                <a:spcPct val="100000"/>
              </a:lnSpc>
              <a:spcBef>
                <a:spcPts val="0"/>
              </a:spcBef>
              <a:spcAft>
                <a:spcPts val="0"/>
              </a:spcAft>
              <a:buSzPts val="1000"/>
              <a:buNone/>
              <a:defRPr sz="1333"/>
            </a:lvl9pPr>
          </a:lstStyle>
          <a:p>
            <a:endParaRPr/>
          </a:p>
        </p:txBody>
      </p:sp>
      <p:sp>
        <p:nvSpPr>
          <p:cNvPr id="467" name="Google Shape;467;p22"/>
          <p:cNvSpPr txBox="1">
            <a:spLocks noGrp="1"/>
          </p:cNvSpPr>
          <p:nvPr>
            <p:ph type="ctrTitle" idx="6"/>
          </p:nvPr>
        </p:nvSpPr>
        <p:spPr>
          <a:xfrm>
            <a:off x="1912549" y="4470647"/>
            <a:ext cx="2542000" cy="770400"/>
          </a:xfrm>
          <a:prstGeom prst="rect">
            <a:avLst/>
          </a:prstGeom>
        </p:spPr>
        <p:txBody>
          <a:bodyPr spcFirstLastPara="1" wrap="square" lIns="91425" tIns="91425" rIns="91425" bIns="91425" anchor="b" anchorCtr="0">
            <a:normAutofit/>
          </a:bodyPr>
          <a:lstStyle>
            <a:lvl1pPr lvl="0" algn="ctr" rtl="0">
              <a:spcBef>
                <a:spcPts val="0"/>
              </a:spcBef>
              <a:spcAft>
                <a:spcPts val="0"/>
              </a:spcAft>
              <a:buSzPts val="2200"/>
              <a:buNone/>
              <a:defRPr sz="2933">
                <a:solidFill>
                  <a:schemeClr val="accent6"/>
                </a:solidFill>
              </a:defRPr>
            </a:lvl1pPr>
            <a:lvl2pPr lvl="1"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2pPr>
            <a:lvl3pPr lvl="2"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3pPr>
            <a:lvl4pPr lvl="3"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4pPr>
            <a:lvl5pPr lvl="4"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5pPr>
            <a:lvl6pPr lvl="5"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6pPr>
            <a:lvl7pPr lvl="6"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7pPr>
            <a:lvl8pPr lvl="7"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8pPr>
            <a:lvl9pPr lvl="8"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9pPr>
          </a:lstStyle>
          <a:p>
            <a:endParaRPr/>
          </a:p>
        </p:txBody>
      </p:sp>
      <p:sp>
        <p:nvSpPr>
          <p:cNvPr id="468" name="Google Shape;468;p22"/>
          <p:cNvSpPr txBox="1">
            <a:spLocks noGrp="1"/>
          </p:cNvSpPr>
          <p:nvPr>
            <p:ph type="subTitle" idx="7"/>
          </p:nvPr>
        </p:nvSpPr>
        <p:spPr>
          <a:xfrm>
            <a:off x="1912500" y="5167500"/>
            <a:ext cx="2542000" cy="4904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1400"/>
              <a:buNone/>
              <a:defRPr sz="1867" b="0"/>
            </a:lvl1pPr>
            <a:lvl2pPr lvl="1" algn="ctr" rtl="0">
              <a:lnSpc>
                <a:spcPct val="100000"/>
              </a:lnSpc>
              <a:spcBef>
                <a:spcPts val="0"/>
              </a:spcBef>
              <a:spcAft>
                <a:spcPts val="0"/>
              </a:spcAft>
              <a:buSzPts val="1000"/>
              <a:buNone/>
              <a:defRPr sz="1333"/>
            </a:lvl2pPr>
            <a:lvl3pPr lvl="2" algn="ctr" rtl="0">
              <a:lnSpc>
                <a:spcPct val="100000"/>
              </a:lnSpc>
              <a:spcBef>
                <a:spcPts val="0"/>
              </a:spcBef>
              <a:spcAft>
                <a:spcPts val="0"/>
              </a:spcAft>
              <a:buSzPts val="1000"/>
              <a:buNone/>
              <a:defRPr sz="1333"/>
            </a:lvl3pPr>
            <a:lvl4pPr lvl="3" algn="ctr" rtl="0">
              <a:lnSpc>
                <a:spcPct val="100000"/>
              </a:lnSpc>
              <a:spcBef>
                <a:spcPts val="0"/>
              </a:spcBef>
              <a:spcAft>
                <a:spcPts val="0"/>
              </a:spcAft>
              <a:buSzPts val="1000"/>
              <a:buNone/>
              <a:defRPr sz="1333"/>
            </a:lvl4pPr>
            <a:lvl5pPr lvl="4" algn="ctr" rtl="0">
              <a:lnSpc>
                <a:spcPct val="100000"/>
              </a:lnSpc>
              <a:spcBef>
                <a:spcPts val="0"/>
              </a:spcBef>
              <a:spcAft>
                <a:spcPts val="0"/>
              </a:spcAft>
              <a:buSzPts val="1000"/>
              <a:buNone/>
              <a:defRPr sz="1333"/>
            </a:lvl5pPr>
            <a:lvl6pPr lvl="5" algn="ctr" rtl="0">
              <a:lnSpc>
                <a:spcPct val="100000"/>
              </a:lnSpc>
              <a:spcBef>
                <a:spcPts val="0"/>
              </a:spcBef>
              <a:spcAft>
                <a:spcPts val="0"/>
              </a:spcAft>
              <a:buSzPts val="1000"/>
              <a:buNone/>
              <a:defRPr sz="1333"/>
            </a:lvl6pPr>
            <a:lvl7pPr lvl="6" algn="ctr" rtl="0">
              <a:lnSpc>
                <a:spcPct val="100000"/>
              </a:lnSpc>
              <a:spcBef>
                <a:spcPts val="0"/>
              </a:spcBef>
              <a:spcAft>
                <a:spcPts val="0"/>
              </a:spcAft>
              <a:buSzPts val="1000"/>
              <a:buNone/>
              <a:defRPr sz="1333"/>
            </a:lvl7pPr>
            <a:lvl8pPr lvl="7" algn="ctr" rtl="0">
              <a:lnSpc>
                <a:spcPct val="100000"/>
              </a:lnSpc>
              <a:spcBef>
                <a:spcPts val="0"/>
              </a:spcBef>
              <a:spcAft>
                <a:spcPts val="0"/>
              </a:spcAft>
              <a:buSzPts val="1000"/>
              <a:buNone/>
              <a:defRPr sz="1333"/>
            </a:lvl8pPr>
            <a:lvl9pPr lvl="8" algn="ctr" rtl="0">
              <a:lnSpc>
                <a:spcPct val="100000"/>
              </a:lnSpc>
              <a:spcBef>
                <a:spcPts val="0"/>
              </a:spcBef>
              <a:spcAft>
                <a:spcPts val="0"/>
              </a:spcAft>
              <a:buSzPts val="1000"/>
              <a:buNone/>
              <a:defRPr sz="1333"/>
            </a:lvl9pPr>
          </a:lstStyle>
          <a:p>
            <a:endParaRPr/>
          </a:p>
        </p:txBody>
      </p:sp>
      <p:sp>
        <p:nvSpPr>
          <p:cNvPr id="469" name="Google Shape;469;p22"/>
          <p:cNvSpPr txBox="1">
            <a:spLocks noGrp="1"/>
          </p:cNvSpPr>
          <p:nvPr>
            <p:ph type="ctrTitle" idx="8"/>
          </p:nvPr>
        </p:nvSpPr>
        <p:spPr>
          <a:xfrm>
            <a:off x="4803133" y="4466113"/>
            <a:ext cx="2542000" cy="770400"/>
          </a:xfrm>
          <a:prstGeom prst="rect">
            <a:avLst/>
          </a:prstGeom>
        </p:spPr>
        <p:txBody>
          <a:bodyPr spcFirstLastPara="1" wrap="square" lIns="91425" tIns="91425" rIns="91425" bIns="91425" anchor="b" anchorCtr="0">
            <a:normAutofit/>
          </a:bodyPr>
          <a:lstStyle>
            <a:lvl1pPr lvl="0" algn="ctr" rtl="0">
              <a:spcBef>
                <a:spcPts val="0"/>
              </a:spcBef>
              <a:spcAft>
                <a:spcPts val="0"/>
              </a:spcAft>
              <a:buSzPts val="2200"/>
              <a:buNone/>
              <a:defRPr sz="2933">
                <a:solidFill>
                  <a:schemeClr val="accent2"/>
                </a:solidFill>
              </a:defRPr>
            </a:lvl1pPr>
            <a:lvl2pPr lvl="1"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2pPr>
            <a:lvl3pPr lvl="2"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3pPr>
            <a:lvl4pPr lvl="3"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4pPr>
            <a:lvl5pPr lvl="4"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5pPr>
            <a:lvl6pPr lvl="5"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6pPr>
            <a:lvl7pPr lvl="6"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7pPr>
            <a:lvl8pPr lvl="7"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8pPr>
            <a:lvl9pPr lvl="8"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9pPr>
          </a:lstStyle>
          <a:p>
            <a:endParaRPr/>
          </a:p>
        </p:txBody>
      </p:sp>
      <p:sp>
        <p:nvSpPr>
          <p:cNvPr id="470" name="Google Shape;470;p22"/>
          <p:cNvSpPr txBox="1">
            <a:spLocks noGrp="1"/>
          </p:cNvSpPr>
          <p:nvPr>
            <p:ph type="subTitle" idx="9"/>
          </p:nvPr>
        </p:nvSpPr>
        <p:spPr>
          <a:xfrm>
            <a:off x="4720349" y="5167500"/>
            <a:ext cx="2652400" cy="4904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1400"/>
              <a:buNone/>
              <a:defRPr sz="1867" b="0"/>
            </a:lvl1pPr>
            <a:lvl2pPr lvl="1" algn="ctr" rtl="0">
              <a:lnSpc>
                <a:spcPct val="100000"/>
              </a:lnSpc>
              <a:spcBef>
                <a:spcPts val="0"/>
              </a:spcBef>
              <a:spcAft>
                <a:spcPts val="0"/>
              </a:spcAft>
              <a:buSzPts val="1000"/>
              <a:buNone/>
              <a:defRPr sz="1333"/>
            </a:lvl2pPr>
            <a:lvl3pPr lvl="2" algn="ctr" rtl="0">
              <a:lnSpc>
                <a:spcPct val="100000"/>
              </a:lnSpc>
              <a:spcBef>
                <a:spcPts val="0"/>
              </a:spcBef>
              <a:spcAft>
                <a:spcPts val="0"/>
              </a:spcAft>
              <a:buSzPts val="1000"/>
              <a:buNone/>
              <a:defRPr sz="1333"/>
            </a:lvl3pPr>
            <a:lvl4pPr lvl="3" algn="ctr" rtl="0">
              <a:lnSpc>
                <a:spcPct val="100000"/>
              </a:lnSpc>
              <a:spcBef>
                <a:spcPts val="0"/>
              </a:spcBef>
              <a:spcAft>
                <a:spcPts val="0"/>
              </a:spcAft>
              <a:buSzPts val="1000"/>
              <a:buNone/>
              <a:defRPr sz="1333"/>
            </a:lvl4pPr>
            <a:lvl5pPr lvl="4" algn="ctr" rtl="0">
              <a:lnSpc>
                <a:spcPct val="100000"/>
              </a:lnSpc>
              <a:spcBef>
                <a:spcPts val="0"/>
              </a:spcBef>
              <a:spcAft>
                <a:spcPts val="0"/>
              </a:spcAft>
              <a:buSzPts val="1000"/>
              <a:buNone/>
              <a:defRPr sz="1333"/>
            </a:lvl5pPr>
            <a:lvl6pPr lvl="5" algn="ctr" rtl="0">
              <a:lnSpc>
                <a:spcPct val="100000"/>
              </a:lnSpc>
              <a:spcBef>
                <a:spcPts val="0"/>
              </a:spcBef>
              <a:spcAft>
                <a:spcPts val="0"/>
              </a:spcAft>
              <a:buSzPts val="1000"/>
              <a:buNone/>
              <a:defRPr sz="1333"/>
            </a:lvl6pPr>
            <a:lvl7pPr lvl="6" algn="ctr" rtl="0">
              <a:lnSpc>
                <a:spcPct val="100000"/>
              </a:lnSpc>
              <a:spcBef>
                <a:spcPts val="0"/>
              </a:spcBef>
              <a:spcAft>
                <a:spcPts val="0"/>
              </a:spcAft>
              <a:buSzPts val="1000"/>
              <a:buNone/>
              <a:defRPr sz="1333"/>
            </a:lvl7pPr>
            <a:lvl8pPr lvl="7" algn="ctr" rtl="0">
              <a:lnSpc>
                <a:spcPct val="100000"/>
              </a:lnSpc>
              <a:spcBef>
                <a:spcPts val="0"/>
              </a:spcBef>
              <a:spcAft>
                <a:spcPts val="0"/>
              </a:spcAft>
              <a:buSzPts val="1000"/>
              <a:buNone/>
              <a:defRPr sz="1333"/>
            </a:lvl8pPr>
            <a:lvl9pPr lvl="8" algn="ctr" rtl="0">
              <a:lnSpc>
                <a:spcPct val="100000"/>
              </a:lnSpc>
              <a:spcBef>
                <a:spcPts val="0"/>
              </a:spcBef>
              <a:spcAft>
                <a:spcPts val="0"/>
              </a:spcAft>
              <a:buSzPts val="1000"/>
              <a:buNone/>
              <a:defRPr sz="1333"/>
            </a:lvl9pPr>
          </a:lstStyle>
          <a:p>
            <a:endParaRPr/>
          </a:p>
        </p:txBody>
      </p:sp>
      <p:sp>
        <p:nvSpPr>
          <p:cNvPr id="471" name="Google Shape;471;p22"/>
          <p:cNvSpPr txBox="1">
            <a:spLocks noGrp="1"/>
          </p:cNvSpPr>
          <p:nvPr>
            <p:ph type="ctrTitle" idx="13"/>
          </p:nvPr>
        </p:nvSpPr>
        <p:spPr>
          <a:xfrm>
            <a:off x="7693733" y="4466147"/>
            <a:ext cx="2542000" cy="770400"/>
          </a:xfrm>
          <a:prstGeom prst="rect">
            <a:avLst/>
          </a:prstGeom>
        </p:spPr>
        <p:txBody>
          <a:bodyPr spcFirstLastPara="1" wrap="square" lIns="91425" tIns="91425" rIns="91425" bIns="91425" anchor="b" anchorCtr="0">
            <a:normAutofit/>
          </a:bodyPr>
          <a:lstStyle>
            <a:lvl1pPr lvl="0" algn="ctr" rtl="0">
              <a:spcBef>
                <a:spcPts val="0"/>
              </a:spcBef>
              <a:spcAft>
                <a:spcPts val="0"/>
              </a:spcAft>
              <a:buSzPts val="2200"/>
              <a:buNone/>
              <a:defRPr sz="2933">
                <a:solidFill>
                  <a:schemeClr val="accent5"/>
                </a:solidFill>
              </a:defRPr>
            </a:lvl1pPr>
            <a:lvl2pPr lvl="1"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2pPr>
            <a:lvl3pPr lvl="2"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3pPr>
            <a:lvl4pPr lvl="3"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4pPr>
            <a:lvl5pPr lvl="4"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5pPr>
            <a:lvl6pPr lvl="5"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6pPr>
            <a:lvl7pPr lvl="6"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7pPr>
            <a:lvl8pPr lvl="7"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8pPr>
            <a:lvl9pPr lvl="8" algn="ctr" rtl="0">
              <a:spcBef>
                <a:spcPts val="0"/>
              </a:spcBef>
              <a:spcAft>
                <a:spcPts val="0"/>
              </a:spcAft>
              <a:buClr>
                <a:schemeClr val="dk2"/>
              </a:buClr>
              <a:buSzPts val="2200"/>
              <a:buFont typeface="Gaegu"/>
              <a:buNone/>
              <a:defRPr sz="2933" b="1">
                <a:solidFill>
                  <a:schemeClr val="dk2"/>
                </a:solidFill>
                <a:latin typeface="Gaegu"/>
                <a:ea typeface="Gaegu"/>
                <a:cs typeface="Gaegu"/>
                <a:sym typeface="Gaegu"/>
              </a:defRPr>
            </a:lvl9pPr>
          </a:lstStyle>
          <a:p>
            <a:endParaRPr/>
          </a:p>
        </p:txBody>
      </p:sp>
      <p:sp>
        <p:nvSpPr>
          <p:cNvPr id="472" name="Google Shape;472;p22"/>
          <p:cNvSpPr txBox="1">
            <a:spLocks noGrp="1"/>
          </p:cNvSpPr>
          <p:nvPr>
            <p:ph type="subTitle" idx="14"/>
          </p:nvPr>
        </p:nvSpPr>
        <p:spPr>
          <a:xfrm>
            <a:off x="7638551" y="5167484"/>
            <a:ext cx="2652400" cy="4904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1400"/>
              <a:buNone/>
              <a:defRPr sz="1867" b="0"/>
            </a:lvl1pPr>
            <a:lvl2pPr lvl="1" algn="ctr" rtl="0">
              <a:lnSpc>
                <a:spcPct val="100000"/>
              </a:lnSpc>
              <a:spcBef>
                <a:spcPts val="0"/>
              </a:spcBef>
              <a:spcAft>
                <a:spcPts val="0"/>
              </a:spcAft>
              <a:buSzPts val="1000"/>
              <a:buNone/>
              <a:defRPr sz="1333"/>
            </a:lvl2pPr>
            <a:lvl3pPr lvl="2" algn="ctr" rtl="0">
              <a:lnSpc>
                <a:spcPct val="100000"/>
              </a:lnSpc>
              <a:spcBef>
                <a:spcPts val="0"/>
              </a:spcBef>
              <a:spcAft>
                <a:spcPts val="0"/>
              </a:spcAft>
              <a:buSzPts val="1000"/>
              <a:buNone/>
              <a:defRPr sz="1333"/>
            </a:lvl3pPr>
            <a:lvl4pPr lvl="3" algn="ctr" rtl="0">
              <a:lnSpc>
                <a:spcPct val="100000"/>
              </a:lnSpc>
              <a:spcBef>
                <a:spcPts val="0"/>
              </a:spcBef>
              <a:spcAft>
                <a:spcPts val="0"/>
              </a:spcAft>
              <a:buSzPts val="1000"/>
              <a:buNone/>
              <a:defRPr sz="1333"/>
            </a:lvl4pPr>
            <a:lvl5pPr lvl="4" algn="ctr" rtl="0">
              <a:lnSpc>
                <a:spcPct val="100000"/>
              </a:lnSpc>
              <a:spcBef>
                <a:spcPts val="0"/>
              </a:spcBef>
              <a:spcAft>
                <a:spcPts val="0"/>
              </a:spcAft>
              <a:buSzPts val="1000"/>
              <a:buNone/>
              <a:defRPr sz="1333"/>
            </a:lvl5pPr>
            <a:lvl6pPr lvl="5" algn="ctr" rtl="0">
              <a:lnSpc>
                <a:spcPct val="100000"/>
              </a:lnSpc>
              <a:spcBef>
                <a:spcPts val="0"/>
              </a:spcBef>
              <a:spcAft>
                <a:spcPts val="0"/>
              </a:spcAft>
              <a:buSzPts val="1000"/>
              <a:buNone/>
              <a:defRPr sz="1333"/>
            </a:lvl6pPr>
            <a:lvl7pPr lvl="6" algn="ctr" rtl="0">
              <a:lnSpc>
                <a:spcPct val="100000"/>
              </a:lnSpc>
              <a:spcBef>
                <a:spcPts val="0"/>
              </a:spcBef>
              <a:spcAft>
                <a:spcPts val="0"/>
              </a:spcAft>
              <a:buSzPts val="1000"/>
              <a:buNone/>
              <a:defRPr sz="1333"/>
            </a:lvl7pPr>
            <a:lvl8pPr lvl="7" algn="ctr" rtl="0">
              <a:lnSpc>
                <a:spcPct val="100000"/>
              </a:lnSpc>
              <a:spcBef>
                <a:spcPts val="0"/>
              </a:spcBef>
              <a:spcAft>
                <a:spcPts val="0"/>
              </a:spcAft>
              <a:buSzPts val="1000"/>
              <a:buNone/>
              <a:defRPr sz="1333"/>
            </a:lvl8pPr>
            <a:lvl9pPr lvl="8" algn="ctr" rtl="0">
              <a:lnSpc>
                <a:spcPct val="100000"/>
              </a:lnSpc>
              <a:spcBef>
                <a:spcPts val="0"/>
              </a:spcBef>
              <a:spcAft>
                <a:spcPts val="0"/>
              </a:spcAft>
              <a:buSzPts val="1000"/>
              <a:buNone/>
              <a:defRPr sz="1333"/>
            </a:lvl9pPr>
          </a:lstStyle>
          <a:p>
            <a:endParaRPr/>
          </a:p>
        </p:txBody>
      </p:sp>
      <p:sp>
        <p:nvSpPr>
          <p:cNvPr id="473" name="Google Shape;473;p22"/>
          <p:cNvSpPr txBox="1">
            <a:spLocks noGrp="1"/>
          </p:cNvSpPr>
          <p:nvPr>
            <p:ph type="title" idx="15"/>
          </p:nvPr>
        </p:nvSpPr>
        <p:spPr>
          <a:xfrm>
            <a:off x="880300" y="510233"/>
            <a:ext cx="10351600" cy="763600"/>
          </a:xfrm>
          <a:prstGeom prst="rect">
            <a:avLst/>
          </a:prstGeom>
        </p:spPr>
        <p:txBody>
          <a:bodyPr spcFirstLastPara="1" wrap="square" lIns="91425" tIns="91425" rIns="91425" bIns="91425" anchor="t" anchorCtr="0">
            <a:normAutofit/>
          </a:bodyPr>
          <a:lstStyle>
            <a:lvl1pPr lvl="0" rtl="0">
              <a:spcBef>
                <a:spcPts val="0"/>
              </a:spcBef>
              <a:spcAft>
                <a:spcPts val="0"/>
              </a:spcAft>
              <a:buSzPts val="2800"/>
              <a:buNone/>
              <a:defRPr sz="4267"/>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474" name="Google Shape;474;p22"/>
          <p:cNvSpPr/>
          <p:nvPr/>
        </p:nvSpPr>
        <p:spPr>
          <a:xfrm>
            <a:off x="-464960" y="3650305"/>
            <a:ext cx="1492199" cy="3936600"/>
          </a:xfrm>
          <a:custGeom>
            <a:avLst/>
            <a:gdLst/>
            <a:ahLst/>
            <a:cxnLst/>
            <a:rect l="l" t="t" r="r" b="b"/>
            <a:pathLst>
              <a:path w="34097" h="89952" extrusionOk="0">
                <a:moveTo>
                  <a:pt x="6827" y="1"/>
                </a:moveTo>
                <a:cubicBezTo>
                  <a:pt x="4501" y="1"/>
                  <a:pt x="2262" y="226"/>
                  <a:pt x="338" y="633"/>
                </a:cubicBezTo>
                <a:lnTo>
                  <a:pt x="0" y="89951"/>
                </a:lnTo>
                <a:lnTo>
                  <a:pt x="8097" y="89812"/>
                </a:lnTo>
                <a:cubicBezTo>
                  <a:pt x="17327" y="89235"/>
                  <a:pt x="25980" y="83347"/>
                  <a:pt x="30058" y="75032"/>
                </a:cubicBezTo>
                <a:cubicBezTo>
                  <a:pt x="34096" y="66757"/>
                  <a:pt x="32763" y="55935"/>
                  <a:pt x="26338" y="49291"/>
                </a:cubicBezTo>
                <a:cubicBezTo>
                  <a:pt x="23653" y="46546"/>
                  <a:pt x="20271" y="44556"/>
                  <a:pt x="17645" y="41771"/>
                </a:cubicBezTo>
                <a:cubicBezTo>
                  <a:pt x="14999" y="38947"/>
                  <a:pt x="13129" y="34869"/>
                  <a:pt x="14502" y="31288"/>
                </a:cubicBezTo>
                <a:cubicBezTo>
                  <a:pt x="16093" y="27150"/>
                  <a:pt x="21086" y="25519"/>
                  <a:pt x="24011" y="22177"/>
                </a:cubicBezTo>
                <a:cubicBezTo>
                  <a:pt x="28327" y="17144"/>
                  <a:pt x="26796" y="8769"/>
                  <a:pt x="21842" y="4373"/>
                </a:cubicBezTo>
                <a:cubicBezTo>
                  <a:pt x="18358" y="1267"/>
                  <a:pt x="12345" y="1"/>
                  <a:pt x="6827" y="1"/>
                </a:cubicBez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75" name="Google Shape;475;p22"/>
          <p:cNvSpPr/>
          <p:nvPr/>
        </p:nvSpPr>
        <p:spPr>
          <a:xfrm>
            <a:off x="10761640" y="-69084"/>
            <a:ext cx="2183233" cy="929559"/>
          </a:xfrm>
          <a:custGeom>
            <a:avLst/>
            <a:gdLst/>
            <a:ahLst/>
            <a:cxnLst/>
            <a:rect l="l" t="t" r="r" b="b"/>
            <a:pathLst>
              <a:path w="17010" h="7242" extrusionOk="0">
                <a:moveTo>
                  <a:pt x="1" y="1"/>
                </a:moveTo>
                <a:cubicBezTo>
                  <a:pt x="677" y="4099"/>
                  <a:pt x="4238" y="7242"/>
                  <a:pt x="8515" y="7242"/>
                </a:cubicBezTo>
                <a:cubicBezTo>
                  <a:pt x="12792" y="7242"/>
                  <a:pt x="16333" y="4099"/>
                  <a:pt x="17009" y="1"/>
                </a:cubicBezTo>
                <a:close/>
              </a:path>
            </a:pathLst>
          </a:custGeom>
          <a:solidFill>
            <a:schemeClr val="accent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476" name="Google Shape;476;p22"/>
          <p:cNvGrpSpPr/>
          <p:nvPr/>
        </p:nvGrpSpPr>
        <p:grpSpPr>
          <a:xfrm rot="7196434">
            <a:off x="507104" y="4342298"/>
            <a:ext cx="521197" cy="605569"/>
            <a:chOff x="4376830" y="352000"/>
            <a:chExt cx="301495" cy="350302"/>
          </a:xfrm>
        </p:grpSpPr>
        <p:sp>
          <p:nvSpPr>
            <p:cNvPr id="477" name="Google Shape;477;p22"/>
            <p:cNvSpPr/>
            <p:nvPr/>
          </p:nvSpPr>
          <p:spPr>
            <a:xfrm>
              <a:off x="4624575" y="352000"/>
              <a:ext cx="53750" cy="53225"/>
            </a:xfrm>
            <a:custGeom>
              <a:avLst/>
              <a:gdLst/>
              <a:ahLst/>
              <a:cxnLst/>
              <a:rect l="l" t="t" r="r" b="b"/>
              <a:pathLst>
                <a:path w="2150" h="2129" extrusionOk="0">
                  <a:moveTo>
                    <a:pt x="1075" y="0"/>
                  </a:moveTo>
                  <a:cubicBezTo>
                    <a:pt x="478" y="0"/>
                    <a:pt x="1" y="478"/>
                    <a:pt x="1" y="1075"/>
                  </a:cubicBezTo>
                  <a:cubicBezTo>
                    <a:pt x="1" y="1671"/>
                    <a:pt x="478" y="2129"/>
                    <a:pt x="1075" y="2129"/>
                  </a:cubicBezTo>
                  <a:cubicBezTo>
                    <a:pt x="1672" y="2129"/>
                    <a:pt x="2149" y="1671"/>
                    <a:pt x="2149" y="1075"/>
                  </a:cubicBezTo>
                  <a:cubicBezTo>
                    <a:pt x="2149" y="478"/>
                    <a:pt x="1672" y="0"/>
                    <a:pt x="107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78" name="Google Shape;478;p22"/>
            <p:cNvSpPr/>
            <p:nvPr/>
          </p:nvSpPr>
          <p:spPr>
            <a:xfrm>
              <a:off x="4376830" y="520685"/>
              <a:ext cx="62200" cy="62700"/>
            </a:xfrm>
            <a:custGeom>
              <a:avLst/>
              <a:gdLst/>
              <a:ahLst/>
              <a:cxnLst/>
              <a:rect l="l" t="t" r="r" b="b"/>
              <a:pathLst>
                <a:path w="2488" h="2508" extrusionOk="0">
                  <a:moveTo>
                    <a:pt x="1254" y="1"/>
                  </a:moveTo>
                  <a:cubicBezTo>
                    <a:pt x="557" y="1"/>
                    <a:pt x="0" y="558"/>
                    <a:pt x="0" y="1254"/>
                  </a:cubicBezTo>
                  <a:cubicBezTo>
                    <a:pt x="0" y="1950"/>
                    <a:pt x="557" y="2507"/>
                    <a:pt x="1254" y="2507"/>
                  </a:cubicBezTo>
                  <a:cubicBezTo>
                    <a:pt x="1950" y="2507"/>
                    <a:pt x="2487" y="1950"/>
                    <a:pt x="2487" y="1254"/>
                  </a:cubicBezTo>
                  <a:cubicBezTo>
                    <a:pt x="2487" y="558"/>
                    <a:pt x="1950" y="1"/>
                    <a:pt x="125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79" name="Google Shape;479;p22"/>
            <p:cNvSpPr/>
            <p:nvPr/>
          </p:nvSpPr>
          <p:spPr>
            <a:xfrm>
              <a:off x="4503927" y="572104"/>
              <a:ext cx="130152" cy="130197"/>
            </a:xfrm>
            <a:custGeom>
              <a:avLst/>
              <a:gdLst/>
              <a:ahLst/>
              <a:cxnLst/>
              <a:rect l="l" t="t" r="r" b="b"/>
              <a:pathLst>
                <a:path w="2845" h="2846" extrusionOk="0">
                  <a:moveTo>
                    <a:pt x="1432" y="1"/>
                  </a:moveTo>
                  <a:cubicBezTo>
                    <a:pt x="656" y="1"/>
                    <a:pt x="0" y="618"/>
                    <a:pt x="0" y="1413"/>
                  </a:cubicBezTo>
                  <a:cubicBezTo>
                    <a:pt x="0" y="2189"/>
                    <a:pt x="637" y="2846"/>
                    <a:pt x="1432" y="2846"/>
                  </a:cubicBezTo>
                  <a:cubicBezTo>
                    <a:pt x="2188" y="2846"/>
                    <a:pt x="2845" y="2209"/>
                    <a:pt x="2845" y="1413"/>
                  </a:cubicBezTo>
                  <a:cubicBezTo>
                    <a:pt x="2845" y="618"/>
                    <a:pt x="2188" y="1"/>
                    <a:pt x="143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480" name="Google Shape;480;p22"/>
          <p:cNvGrpSpPr/>
          <p:nvPr/>
        </p:nvGrpSpPr>
        <p:grpSpPr>
          <a:xfrm rot="-10132663">
            <a:off x="11397313" y="721077"/>
            <a:ext cx="337943" cy="384824"/>
            <a:chOff x="4670703" y="657266"/>
            <a:chExt cx="253461" cy="288623"/>
          </a:xfrm>
        </p:grpSpPr>
        <p:sp>
          <p:nvSpPr>
            <p:cNvPr id="481" name="Google Shape;481;p22"/>
            <p:cNvSpPr/>
            <p:nvPr/>
          </p:nvSpPr>
          <p:spPr>
            <a:xfrm>
              <a:off x="4670703" y="657266"/>
              <a:ext cx="53750" cy="53225"/>
            </a:xfrm>
            <a:custGeom>
              <a:avLst/>
              <a:gdLst/>
              <a:ahLst/>
              <a:cxnLst/>
              <a:rect l="l" t="t" r="r" b="b"/>
              <a:pathLst>
                <a:path w="2150" h="2129" extrusionOk="0">
                  <a:moveTo>
                    <a:pt x="1075" y="0"/>
                  </a:moveTo>
                  <a:cubicBezTo>
                    <a:pt x="478" y="0"/>
                    <a:pt x="1" y="478"/>
                    <a:pt x="1" y="1075"/>
                  </a:cubicBezTo>
                  <a:cubicBezTo>
                    <a:pt x="1" y="1671"/>
                    <a:pt x="478" y="2129"/>
                    <a:pt x="1075" y="2129"/>
                  </a:cubicBezTo>
                  <a:cubicBezTo>
                    <a:pt x="1672" y="2129"/>
                    <a:pt x="2149" y="1671"/>
                    <a:pt x="2149" y="1075"/>
                  </a:cubicBezTo>
                  <a:cubicBezTo>
                    <a:pt x="2149" y="478"/>
                    <a:pt x="1672" y="0"/>
                    <a:pt x="107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82" name="Google Shape;482;p22"/>
            <p:cNvSpPr/>
            <p:nvPr/>
          </p:nvSpPr>
          <p:spPr>
            <a:xfrm>
              <a:off x="4730866" y="751011"/>
              <a:ext cx="193299" cy="194878"/>
            </a:xfrm>
            <a:custGeom>
              <a:avLst/>
              <a:gdLst/>
              <a:ahLst/>
              <a:cxnLst/>
              <a:rect l="l" t="t" r="r" b="b"/>
              <a:pathLst>
                <a:path w="2488" h="2508" extrusionOk="0">
                  <a:moveTo>
                    <a:pt x="1254" y="1"/>
                  </a:moveTo>
                  <a:cubicBezTo>
                    <a:pt x="557" y="1"/>
                    <a:pt x="0" y="558"/>
                    <a:pt x="0" y="1254"/>
                  </a:cubicBezTo>
                  <a:cubicBezTo>
                    <a:pt x="0" y="1950"/>
                    <a:pt x="557" y="2507"/>
                    <a:pt x="1254" y="2507"/>
                  </a:cubicBezTo>
                  <a:cubicBezTo>
                    <a:pt x="1950" y="2507"/>
                    <a:pt x="2487" y="1950"/>
                    <a:pt x="2487" y="1254"/>
                  </a:cubicBezTo>
                  <a:cubicBezTo>
                    <a:pt x="2487" y="558"/>
                    <a:pt x="1950" y="1"/>
                    <a:pt x="125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208727480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itle and Text 3">
  <p:cSld name="Title and Text 3">
    <p:bg>
      <p:bgPr>
        <a:blipFill>
          <a:blip r:embed="rId2">
            <a:alphaModFix/>
          </a:blip>
          <a:stretch>
            <a:fillRect/>
          </a:stretch>
        </a:blipFill>
        <a:effectLst/>
      </p:bgPr>
    </p:bg>
    <p:spTree>
      <p:nvGrpSpPr>
        <p:cNvPr id="1" name="Shape 483"/>
        <p:cNvGrpSpPr/>
        <p:nvPr/>
      </p:nvGrpSpPr>
      <p:grpSpPr>
        <a:xfrm>
          <a:off x="0" y="0"/>
          <a:ext cx="0" cy="0"/>
          <a:chOff x="0" y="0"/>
          <a:chExt cx="0" cy="0"/>
        </a:xfrm>
      </p:grpSpPr>
      <p:sp>
        <p:nvSpPr>
          <p:cNvPr id="484" name="Google Shape;484;p23"/>
          <p:cNvSpPr txBox="1">
            <a:spLocks noGrp="1"/>
          </p:cNvSpPr>
          <p:nvPr>
            <p:ph type="subTitle" idx="1"/>
          </p:nvPr>
        </p:nvSpPr>
        <p:spPr>
          <a:xfrm flipH="1">
            <a:off x="6502132" y="4253200"/>
            <a:ext cx="4182800" cy="894000"/>
          </a:xfrm>
          <a:prstGeom prst="rect">
            <a:avLst/>
          </a:prstGeom>
        </p:spPr>
        <p:txBody>
          <a:bodyPr spcFirstLastPara="1" wrap="square" lIns="91425" tIns="91425" rIns="91425" bIns="91425" anchor="ctr" anchorCtr="0">
            <a:normAutofit/>
          </a:bodyPr>
          <a:lstStyle>
            <a:lvl1pPr lvl="0" rtl="0">
              <a:lnSpc>
                <a:spcPct val="100000"/>
              </a:lnSpc>
              <a:spcBef>
                <a:spcPts val="0"/>
              </a:spcBef>
              <a:spcAft>
                <a:spcPts val="0"/>
              </a:spcAft>
              <a:buSzPts val="1600"/>
              <a:buNone/>
              <a:defRPr sz="1867" b="0"/>
            </a:lvl1pPr>
            <a:lvl2pPr lvl="1" rtl="0">
              <a:lnSpc>
                <a:spcPct val="100000"/>
              </a:lnSpc>
              <a:spcBef>
                <a:spcPts val="0"/>
              </a:spcBef>
              <a:spcAft>
                <a:spcPts val="0"/>
              </a:spcAft>
              <a:buSzPts val="1400"/>
              <a:buNone/>
              <a:defRPr sz="1867"/>
            </a:lvl2pPr>
            <a:lvl3pPr lvl="2" rtl="0">
              <a:lnSpc>
                <a:spcPct val="100000"/>
              </a:lnSpc>
              <a:spcBef>
                <a:spcPts val="0"/>
              </a:spcBef>
              <a:spcAft>
                <a:spcPts val="0"/>
              </a:spcAft>
              <a:buSzPts val="1400"/>
              <a:buNone/>
              <a:defRPr sz="1867"/>
            </a:lvl3pPr>
            <a:lvl4pPr lvl="3" rtl="0">
              <a:lnSpc>
                <a:spcPct val="100000"/>
              </a:lnSpc>
              <a:spcBef>
                <a:spcPts val="0"/>
              </a:spcBef>
              <a:spcAft>
                <a:spcPts val="0"/>
              </a:spcAft>
              <a:buSzPts val="1400"/>
              <a:buNone/>
              <a:defRPr sz="1867"/>
            </a:lvl4pPr>
            <a:lvl5pPr lvl="4" rtl="0">
              <a:lnSpc>
                <a:spcPct val="100000"/>
              </a:lnSpc>
              <a:spcBef>
                <a:spcPts val="0"/>
              </a:spcBef>
              <a:spcAft>
                <a:spcPts val="0"/>
              </a:spcAft>
              <a:buSzPts val="1400"/>
              <a:buNone/>
              <a:defRPr sz="1867"/>
            </a:lvl5pPr>
            <a:lvl6pPr lvl="5" rtl="0">
              <a:lnSpc>
                <a:spcPct val="100000"/>
              </a:lnSpc>
              <a:spcBef>
                <a:spcPts val="0"/>
              </a:spcBef>
              <a:spcAft>
                <a:spcPts val="0"/>
              </a:spcAft>
              <a:buSzPts val="1400"/>
              <a:buNone/>
              <a:defRPr sz="1867"/>
            </a:lvl6pPr>
            <a:lvl7pPr lvl="6" rtl="0">
              <a:lnSpc>
                <a:spcPct val="100000"/>
              </a:lnSpc>
              <a:spcBef>
                <a:spcPts val="0"/>
              </a:spcBef>
              <a:spcAft>
                <a:spcPts val="0"/>
              </a:spcAft>
              <a:buSzPts val="1400"/>
              <a:buNone/>
              <a:defRPr sz="1867"/>
            </a:lvl7pPr>
            <a:lvl8pPr lvl="7" rtl="0">
              <a:lnSpc>
                <a:spcPct val="100000"/>
              </a:lnSpc>
              <a:spcBef>
                <a:spcPts val="0"/>
              </a:spcBef>
              <a:spcAft>
                <a:spcPts val="0"/>
              </a:spcAft>
              <a:buSzPts val="1400"/>
              <a:buNone/>
              <a:defRPr sz="1867"/>
            </a:lvl8pPr>
            <a:lvl9pPr lvl="8" rtl="0">
              <a:lnSpc>
                <a:spcPct val="100000"/>
              </a:lnSpc>
              <a:spcBef>
                <a:spcPts val="0"/>
              </a:spcBef>
              <a:spcAft>
                <a:spcPts val="0"/>
              </a:spcAft>
              <a:buSzPts val="1400"/>
              <a:buNone/>
              <a:defRPr sz="1867"/>
            </a:lvl9pPr>
          </a:lstStyle>
          <a:p>
            <a:endParaRPr/>
          </a:p>
        </p:txBody>
      </p:sp>
      <p:sp>
        <p:nvSpPr>
          <p:cNvPr id="485" name="Google Shape;485;p23"/>
          <p:cNvSpPr txBox="1">
            <a:spLocks noGrp="1"/>
          </p:cNvSpPr>
          <p:nvPr>
            <p:ph type="ctrTitle"/>
          </p:nvPr>
        </p:nvSpPr>
        <p:spPr>
          <a:xfrm flipH="1">
            <a:off x="6502400" y="1431200"/>
            <a:ext cx="4729600" cy="2517200"/>
          </a:xfrm>
          <a:prstGeom prst="rect">
            <a:avLst/>
          </a:prstGeom>
        </p:spPr>
        <p:txBody>
          <a:bodyPr spcFirstLastPara="1" wrap="square" lIns="91425" tIns="91425" rIns="91425" bIns="91425" anchor="b" anchorCtr="0">
            <a:normAutofit/>
          </a:bodyPr>
          <a:lstStyle>
            <a:lvl1pPr lvl="0" rtl="0">
              <a:spcBef>
                <a:spcPts val="0"/>
              </a:spcBef>
              <a:spcAft>
                <a:spcPts val="0"/>
              </a:spcAft>
              <a:buSzPts val="6000"/>
              <a:buNone/>
              <a:defRPr sz="8000"/>
            </a:lvl1pPr>
            <a:lvl2pPr lvl="1" rtl="0">
              <a:spcBef>
                <a:spcPts val="0"/>
              </a:spcBef>
              <a:spcAft>
                <a:spcPts val="0"/>
              </a:spcAft>
              <a:buClr>
                <a:schemeClr val="dk2"/>
              </a:buClr>
              <a:buSzPts val="12000"/>
              <a:buNone/>
              <a:defRPr sz="16000">
                <a:solidFill>
                  <a:schemeClr val="dk2"/>
                </a:solidFill>
              </a:defRPr>
            </a:lvl2pPr>
            <a:lvl3pPr lvl="2" rtl="0">
              <a:spcBef>
                <a:spcPts val="0"/>
              </a:spcBef>
              <a:spcAft>
                <a:spcPts val="0"/>
              </a:spcAft>
              <a:buClr>
                <a:schemeClr val="dk2"/>
              </a:buClr>
              <a:buSzPts val="12000"/>
              <a:buNone/>
              <a:defRPr sz="16000">
                <a:solidFill>
                  <a:schemeClr val="dk2"/>
                </a:solidFill>
              </a:defRPr>
            </a:lvl3pPr>
            <a:lvl4pPr lvl="3" rtl="0">
              <a:spcBef>
                <a:spcPts val="0"/>
              </a:spcBef>
              <a:spcAft>
                <a:spcPts val="0"/>
              </a:spcAft>
              <a:buClr>
                <a:schemeClr val="dk2"/>
              </a:buClr>
              <a:buSzPts val="12000"/>
              <a:buNone/>
              <a:defRPr sz="16000">
                <a:solidFill>
                  <a:schemeClr val="dk2"/>
                </a:solidFill>
              </a:defRPr>
            </a:lvl4pPr>
            <a:lvl5pPr lvl="4" rtl="0">
              <a:spcBef>
                <a:spcPts val="0"/>
              </a:spcBef>
              <a:spcAft>
                <a:spcPts val="0"/>
              </a:spcAft>
              <a:buClr>
                <a:schemeClr val="dk2"/>
              </a:buClr>
              <a:buSzPts val="12000"/>
              <a:buNone/>
              <a:defRPr sz="16000">
                <a:solidFill>
                  <a:schemeClr val="dk2"/>
                </a:solidFill>
              </a:defRPr>
            </a:lvl5pPr>
            <a:lvl6pPr lvl="5" rtl="0">
              <a:spcBef>
                <a:spcPts val="0"/>
              </a:spcBef>
              <a:spcAft>
                <a:spcPts val="0"/>
              </a:spcAft>
              <a:buClr>
                <a:schemeClr val="dk2"/>
              </a:buClr>
              <a:buSzPts val="12000"/>
              <a:buNone/>
              <a:defRPr sz="16000">
                <a:solidFill>
                  <a:schemeClr val="dk2"/>
                </a:solidFill>
              </a:defRPr>
            </a:lvl6pPr>
            <a:lvl7pPr lvl="6" rtl="0">
              <a:spcBef>
                <a:spcPts val="0"/>
              </a:spcBef>
              <a:spcAft>
                <a:spcPts val="0"/>
              </a:spcAft>
              <a:buClr>
                <a:schemeClr val="dk2"/>
              </a:buClr>
              <a:buSzPts val="12000"/>
              <a:buNone/>
              <a:defRPr sz="16000">
                <a:solidFill>
                  <a:schemeClr val="dk2"/>
                </a:solidFill>
              </a:defRPr>
            </a:lvl7pPr>
            <a:lvl8pPr lvl="7" rtl="0">
              <a:spcBef>
                <a:spcPts val="0"/>
              </a:spcBef>
              <a:spcAft>
                <a:spcPts val="0"/>
              </a:spcAft>
              <a:buClr>
                <a:schemeClr val="dk2"/>
              </a:buClr>
              <a:buSzPts val="12000"/>
              <a:buNone/>
              <a:defRPr sz="16000">
                <a:solidFill>
                  <a:schemeClr val="dk2"/>
                </a:solidFill>
              </a:defRPr>
            </a:lvl8pPr>
            <a:lvl9pPr lvl="8" rtl="0">
              <a:spcBef>
                <a:spcPts val="0"/>
              </a:spcBef>
              <a:spcAft>
                <a:spcPts val="0"/>
              </a:spcAft>
              <a:buClr>
                <a:schemeClr val="dk2"/>
              </a:buClr>
              <a:buSzPts val="12000"/>
              <a:buNone/>
              <a:defRPr sz="16000">
                <a:solidFill>
                  <a:schemeClr val="dk2"/>
                </a:solidFill>
              </a:defRPr>
            </a:lvl9pPr>
          </a:lstStyle>
          <a:p>
            <a:endParaRPr/>
          </a:p>
        </p:txBody>
      </p:sp>
      <p:sp>
        <p:nvSpPr>
          <p:cNvPr id="486" name="Google Shape;486;p23"/>
          <p:cNvSpPr/>
          <p:nvPr/>
        </p:nvSpPr>
        <p:spPr>
          <a:xfrm>
            <a:off x="10196301" y="5221669"/>
            <a:ext cx="2080279" cy="1702097"/>
          </a:xfrm>
          <a:custGeom>
            <a:avLst/>
            <a:gdLst/>
            <a:ahLst/>
            <a:cxnLst/>
            <a:rect l="l" t="t" r="r" b="b"/>
            <a:pathLst>
              <a:path w="59301" h="55837" extrusionOk="0">
                <a:moveTo>
                  <a:pt x="53972" y="1"/>
                </a:moveTo>
                <a:cubicBezTo>
                  <a:pt x="47710" y="1"/>
                  <a:pt x="44048" y="6413"/>
                  <a:pt x="43048" y="10621"/>
                </a:cubicBezTo>
                <a:cubicBezTo>
                  <a:pt x="41735" y="15892"/>
                  <a:pt x="42451" y="21621"/>
                  <a:pt x="40422" y="26654"/>
                </a:cubicBezTo>
                <a:cubicBezTo>
                  <a:pt x="36821" y="35666"/>
                  <a:pt x="25940" y="39386"/>
                  <a:pt x="16232" y="39425"/>
                </a:cubicBezTo>
                <a:cubicBezTo>
                  <a:pt x="15382" y="39425"/>
                  <a:pt x="14519" y="39408"/>
                  <a:pt x="13657" y="39408"/>
                </a:cubicBezTo>
                <a:cubicBezTo>
                  <a:pt x="11069" y="39408"/>
                  <a:pt x="8484" y="39565"/>
                  <a:pt x="6246" y="40818"/>
                </a:cubicBezTo>
                <a:cubicBezTo>
                  <a:pt x="1293" y="43563"/>
                  <a:pt x="338" y="50167"/>
                  <a:pt x="0" y="55837"/>
                </a:cubicBezTo>
                <a:lnTo>
                  <a:pt x="59300" y="55837"/>
                </a:lnTo>
                <a:lnTo>
                  <a:pt x="59221" y="1371"/>
                </a:lnTo>
                <a:cubicBezTo>
                  <a:pt x="57305" y="411"/>
                  <a:pt x="55555" y="1"/>
                  <a:pt x="53972" y="1"/>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87" name="Google Shape;487;p23"/>
          <p:cNvSpPr/>
          <p:nvPr/>
        </p:nvSpPr>
        <p:spPr>
          <a:xfrm rot="5400000">
            <a:off x="10720173" y="255234"/>
            <a:ext cx="2183233" cy="929559"/>
          </a:xfrm>
          <a:custGeom>
            <a:avLst/>
            <a:gdLst/>
            <a:ahLst/>
            <a:cxnLst/>
            <a:rect l="l" t="t" r="r" b="b"/>
            <a:pathLst>
              <a:path w="17010" h="7242" extrusionOk="0">
                <a:moveTo>
                  <a:pt x="1" y="1"/>
                </a:moveTo>
                <a:cubicBezTo>
                  <a:pt x="677" y="4099"/>
                  <a:pt x="4238" y="7242"/>
                  <a:pt x="8515" y="7242"/>
                </a:cubicBezTo>
                <a:cubicBezTo>
                  <a:pt x="12792" y="7242"/>
                  <a:pt x="16333" y="4099"/>
                  <a:pt x="17009" y="1"/>
                </a:cubicBezTo>
                <a:close/>
              </a:path>
            </a:pathLst>
          </a:cu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88" name="Google Shape;488;p23"/>
          <p:cNvSpPr/>
          <p:nvPr/>
        </p:nvSpPr>
        <p:spPr>
          <a:xfrm>
            <a:off x="11231999" y="1027128"/>
            <a:ext cx="458336" cy="404065"/>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489" name="Google Shape;489;p23"/>
          <p:cNvGrpSpPr/>
          <p:nvPr/>
        </p:nvGrpSpPr>
        <p:grpSpPr>
          <a:xfrm rot="1660629">
            <a:off x="10611414" y="5982676"/>
            <a:ext cx="558380" cy="467080"/>
            <a:chOff x="4259550" y="352000"/>
            <a:chExt cx="418775" cy="350302"/>
          </a:xfrm>
        </p:grpSpPr>
        <p:sp>
          <p:nvSpPr>
            <p:cNvPr id="490" name="Google Shape;490;p23"/>
            <p:cNvSpPr/>
            <p:nvPr/>
          </p:nvSpPr>
          <p:spPr>
            <a:xfrm>
              <a:off x="4624575" y="352000"/>
              <a:ext cx="53750" cy="53225"/>
            </a:xfrm>
            <a:custGeom>
              <a:avLst/>
              <a:gdLst/>
              <a:ahLst/>
              <a:cxnLst/>
              <a:rect l="l" t="t" r="r" b="b"/>
              <a:pathLst>
                <a:path w="2150" h="2129" extrusionOk="0">
                  <a:moveTo>
                    <a:pt x="1075" y="0"/>
                  </a:moveTo>
                  <a:cubicBezTo>
                    <a:pt x="478" y="0"/>
                    <a:pt x="1" y="478"/>
                    <a:pt x="1" y="1075"/>
                  </a:cubicBezTo>
                  <a:cubicBezTo>
                    <a:pt x="1" y="1671"/>
                    <a:pt x="478" y="2129"/>
                    <a:pt x="1075" y="2129"/>
                  </a:cubicBezTo>
                  <a:cubicBezTo>
                    <a:pt x="1672" y="2129"/>
                    <a:pt x="2149" y="1671"/>
                    <a:pt x="2149" y="1075"/>
                  </a:cubicBezTo>
                  <a:cubicBezTo>
                    <a:pt x="2149" y="478"/>
                    <a:pt x="1672" y="0"/>
                    <a:pt x="107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91" name="Google Shape;491;p23"/>
            <p:cNvSpPr/>
            <p:nvPr/>
          </p:nvSpPr>
          <p:spPr>
            <a:xfrm>
              <a:off x="4259550" y="485275"/>
              <a:ext cx="62200" cy="62700"/>
            </a:xfrm>
            <a:custGeom>
              <a:avLst/>
              <a:gdLst/>
              <a:ahLst/>
              <a:cxnLst/>
              <a:rect l="l" t="t" r="r" b="b"/>
              <a:pathLst>
                <a:path w="2488" h="2508" extrusionOk="0">
                  <a:moveTo>
                    <a:pt x="1254" y="1"/>
                  </a:moveTo>
                  <a:cubicBezTo>
                    <a:pt x="557" y="1"/>
                    <a:pt x="0" y="558"/>
                    <a:pt x="0" y="1254"/>
                  </a:cubicBezTo>
                  <a:cubicBezTo>
                    <a:pt x="0" y="1950"/>
                    <a:pt x="557" y="2507"/>
                    <a:pt x="1254" y="2507"/>
                  </a:cubicBezTo>
                  <a:cubicBezTo>
                    <a:pt x="1950" y="2507"/>
                    <a:pt x="2487" y="1950"/>
                    <a:pt x="2487" y="1254"/>
                  </a:cubicBezTo>
                  <a:cubicBezTo>
                    <a:pt x="2487" y="558"/>
                    <a:pt x="1950" y="1"/>
                    <a:pt x="125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92" name="Google Shape;492;p23"/>
            <p:cNvSpPr/>
            <p:nvPr/>
          </p:nvSpPr>
          <p:spPr>
            <a:xfrm>
              <a:off x="4503927" y="572104"/>
              <a:ext cx="130152" cy="130197"/>
            </a:xfrm>
            <a:custGeom>
              <a:avLst/>
              <a:gdLst/>
              <a:ahLst/>
              <a:cxnLst/>
              <a:rect l="l" t="t" r="r" b="b"/>
              <a:pathLst>
                <a:path w="2845" h="2846" extrusionOk="0">
                  <a:moveTo>
                    <a:pt x="1432" y="1"/>
                  </a:moveTo>
                  <a:cubicBezTo>
                    <a:pt x="656" y="1"/>
                    <a:pt x="0" y="618"/>
                    <a:pt x="0" y="1413"/>
                  </a:cubicBezTo>
                  <a:cubicBezTo>
                    <a:pt x="0" y="2189"/>
                    <a:pt x="637" y="2846"/>
                    <a:pt x="1432" y="2846"/>
                  </a:cubicBezTo>
                  <a:cubicBezTo>
                    <a:pt x="2188" y="2846"/>
                    <a:pt x="2845" y="2209"/>
                    <a:pt x="2845" y="1413"/>
                  </a:cubicBezTo>
                  <a:cubicBezTo>
                    <a:pt x="2845" y="618"/>
                    <a:pt x="2188" y="1"/>
                    <a:pt x="143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493" name="Google Shape;493;p23"/>
          <p:cNvGrpSpPr/>
          <p:nvPr/>
        </p:nvGrpSpPr>
        <p:grpSpPr>
          <a:xfrm rot="6058277">
            <a:off x="633441" y="994976"/>
            <a:ext cx="285451" cy="345891"/>
            <a:chOff x="4259550" y="381618"/>
            <a:chExt cx="137279" cy="166357"/>
          </a:xfrm>
        </p:grpSpPr>
        <p:sp>
          <p:nvSpPr>
            <p:cNvPr id="494" name="Google Shape;494;p23"/>
            <p:cNvSpPr/>
            <p:nvPr/>
          </p:nvSpPr>
          <p:spPr>
            <a:xfrm>
              <a:off x="4343079" y="381618"/>
              <a:ext cx="53750" cy="53225"/>
            </a:xfrm>
            <a:custGeom>
              <a:avLst/>
              <a:gdLst/>
              <a:ahLst/>
              <a:cxnLst/>
              <a:rect l="l" t="t" r="r" b="b"/>
              <a:pathLst>
                <a:path w="2150" h="2129" extrusionOk="0">
                  <a:moveTo>
                    <a:pt x="1075" y="0"/>
                  </a:moveTo>
                  <a:cubicBezTo>
                    <a:pt x="478" y="0"/>
                    <a:pt x="1" y="478"/>
                    <a:pt x="1" y="1075"/>
                  </a:cubicBezTo>
                  <a:cubicBezTo>
                    <a:pt x="1" y="1671"/>
                    <a:pt x="478" y="2129"/>
                    <a:pt x="1075" y="2129"/>
                  </a:cubicBezTo>
                  <a:cubicBezTo>
                    <a:pt x="1672" y="2129"/>
                    <a:pt x="2149" y="1671"/>
                    <a:pt x="2149" y="1075"/>
                  </a:cubicBezTo>
                  <a:cubicBezTo>
                    <a:pt x="2149" y="478"/>
                    <a:pt x="1672" y="0"/>
                    <a:pt x="107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95" name="Google Shape;495;p23"/>
            <p:cNvSpPr/>
            <p:nvPr/>
          </p:nvSpPr>
          <p:spPr>
            <a:xfrm>
              <a:off x="4259550" y="485275"/>
              <a:ext cx="62200" cy="62700"/>
            </a:xfrm>
            <a:custGeom>
              <a:avLst/>
              <a:gdLst/>
              <a:ahLst/>
              <a:cxnLst/>
              <a:rect l="l" t="t" r="r" b="b"/>
              <a:pathLst>
                <a:path w="2488" h="2508" extrusionOk="0">
                  <a:moveTo>
                    <a:pt x="1254" y="1"/>
                  </a:moveTo>
                  <a:cubicBezTo>
                    <a:pt x="557" y="1"/>
                    <a:pt x="0" y="558"/>
                    <a:pt x="0" y="1254"/>
                  </a:cubicBezTo>
                  <a:cubicBezTo>
                    <a:pt x="0" y="1950"/>
                    <a:pt x="557" y="2507"/>
                    <a:pt x="1254" y="2507"/>
                  </a:cubicBezTo>
                  <a:cubicBezTo>
                    <a:pt x="1950" y="2507"/>
                    <a:pt x="2487" y="1950"/>
                    <a:pt x="2487" y="1254"/>
                  </a:cubicBezTo>
                  <a:cubicBezTo>
                    <a:pt x="2487" y="558"/>
                    <a:pt x="1950" y="1"/>
                    <a:pt x="125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496" name="Google Shape;496;p23"/>
          <p:cNvSpPr/>
          <p:nvPr/>
        </p:nvSpPr>
        <p:spPr>
          <a:xfrm rot="544908" flipH="1">
            <a:off x="6090383" y="2153609"/>
            <a:ext cx="3647607" cy="2026791"/>
          </a:xfrm>
          <a:custGeom>
            <a:avLst/>
            <a:gdLst/>
            <a:ahLst/>
            <a:cxnLst/>
            <a:rect l="l" t="t" r="r" b="b"/>
            <a:pathLst>
              <a:path w="110793" h="91933" extrusionOk="0">
                <a:moveTo>
                  <a:pt x="50743" y="6275"/>
                </a:moveTo>
                <a:cubicBezTo>
                  <a:pt x="53200" y="6275"/>
                  <a:pt x="56857" y="7419"/>
                  <a:pt x="59430" y="8276"/>
                </a:cubicBezTo>
                <a:cubicBezTo>
                  <a:pt x="59393" y="8455"/>
                  <a:pt x="59374" y="8636"/>
                  <a:pt x="59374" y="8815"/>
                </a:cubicBezTo>
                <a:cubicBezTo>
                  <a:pt x="57073" y="8172"/>
                  <a:pt x="54732" y="7731"/>
                  <a:pt x="52420" y="7679"/>
                </a:cubicBezTo>
                <a:cubicBezTo>
                  <a:pt x="52191" y="7535"/>
                  <a:pt x="51975" y="7387"/>
                  <a:pt x="51744" y="7243"/>
                </a:cubicBezTo>
                <a:cubicBezTo>
                  <a:pt x="51131" y="6867"/>
                  <a:pt x="50503" y="6708"/>
                  <a:pt x="49899" y="6708"/>
                </a:cubicBezTo>
                <a:cubicBezTo>
                  <a:pt x="49727" y="6708"/>
                  <a:pt x="49555" y="6719"/>
                  <a:pt x="49387" y="6743"/>
                </a:cubicBezTo>
                <a:cubicBezTo>
                  <a:pt x="49259" y="6667"/>
                  <a:pt x="49139" y="6623"/>
                  <a:pt x="49022" y="6623"/>
                </a:cubicBezTo>
                <a:cubicBezTo>
                  <a:pt x="48943" y="6623"/>
                  <a:pt x="48867" y="6647"/>
                  <a:pt x="48795" y="6691"/>
                </a:cubicBezTo>
                <a:cubicBezTo>
                  <a:pt x="49263" y="6395"/>
                  <a:pt x="49940" y="6275"/>
                  <a:pt x="50743" y="6275"/>
                </a:cubicBezTo>
                <a:close/>
                <a:moveTo>
                  <a:pt x="80740" y="16318"/>
                </a:moveTo>
                <a:lnTo>
                  <a:pt x="80740" y="16318"/>
                </a:lnTo>
                <a:cubicBezTo>
                  <a:pt x="84017" y="17727"/>
                  <a:pt x="87121" y="19182"/>
                  <a:pt x="90214" y="20887"/>
                </a:cubicBezTo>
                <a:cubicBezTo>
                  <a:pt x="92648" y="22231"/>
                  <a:pt x="95072" y="23584"/>
                  <a:pt x="97381" y="25064"/>
                </a:cubicBezTo>
                <a:cubicBezTo>
                  <a:pt x="95116" y="23708"/>
                  <a:pt x="92687" y="22528"/>
                  <a:pt x="90386" y="21443"/>
                </a:cubicBezTo>
                <a:cubicBezTo>
                  <a:pt x="87382" y="20027"/>
                  <a:pt x="84293" y="18730"/>
                  <a:pt x="81188" y="17466"/>
                </a:cubicBezTo>
                <a:cubicBezTo>
                  <a:pt x="81068" y="17066"/>
                  <a:pt x="80916" y="16686"/>
                  <a:pt x="80740" y="16318"/>
                </a:cubicBezTo>
                <a:close/>
                <a:moveTo>
                  <a:pt x="83589" y="25417"/>
                </a:moveTo>
                <a:lnTo>
                  <a:pt x="83589" y="25417"/>
                </a:lnTo>
                <a:cubicBezTo>
                  <a:pt x="86362" y="26565"/>
                  <a:pt x="89878" y="27965"/>
                  <a:pt x="92883" y="29734"/>
                </a:cubicBezTo>
                <a:cubicBezTo>
                  <a:pt x="91459" y="29509"/>
                  <a:pt x="90022" y="29221"/>
                  <a:pt x="88591" y="28874"/>
                </a:cubicBezTo>
                <a:cubicBezTo>
                  <a:pt x="88399" y="28802"/>
                  <a:pt x="88202" y="28726"/>
                  <a:pt x="88006" y="28650"/>
                </a:cubicBezTo>
                <a:cubicBezTo>
                  <a:pt x="86554" y="27553"/>
                  <a:pt x="85081" y="26477"/>
                  <a:pt x="83589" y="25417"/>
                </a:cubicBezTo>
                <a:close/>
                <a:moveTo>
                  <a:pt x="20022" y="28573"/>
                </a:moveTo>
                <a:cubicBezTo>
                  <a:pt x="21687" y="28573"/>
                  <a:pt x="23488" y="29394"/>
                  <a:pt x="25108" y="30374"/>
                </a:cubicBezTo>
                <a:cubicBezTo>
                  <a:pt x="25688" y="31262"/>
                  <a:pt x="26332" y="32135"/>
                  <a:pt x="27017" y="32979"/>
                </a:cubicBezTo>
                <a:cubicBezTo>
                  <a:pt x="26949" y="32942"/>
                  <a:pt x="26873" y="32899"/>
                  <a:pt x="26801" y="32859"/>
                </a:cubicBezTo>
                <a:cubicBezTo>
                  <a:pt x="24384" y="31514"/>
                  <a:pt x="21199" y="30130"/>
                  <a:pt x="17918" y="29322"/>
                </a:cubicBezTo>
                <a:cubicBezTo>
                  <a:pt x="18086" y="29073"/>
                  <a:pt x="18338" y="28885"/>
                  <a:pt x="18683" y="28774"/>
                </a:cubicBezTo>
                <a:cubicBezTo>
                  <a:pt x="19115" y="28634"/>
                  <a:pt x="19562" y="28573"/>
                  <a:pt x="20022" y="28573"/>
                </a:cubicBezTo>
                <a:close/>
                <a:moveTo>
                  <a:pt x="20775" y="36552"/>
                </a:moveTo>
                <a:cubicBezTo>
                  <a:pt x="21299" y="36800"/>
                  <a:pt x="21799" y="37048"/>
                  <a:pt x="22263" y="37288"/>
                </a:cubicBezTo>
                <a:cubicBezTo>
                  <a:pt x="22183" y="37572"/>
                  <a:pt x="22119" y="37856"/>
                  <a:pt x="22063" y="38140"/>
                </a:cubicBezTo>
                <a:cubicBezTo>
                  <a:pt x="21603" y="37604"/>
                  <a:pt x="21175" y="37076"/>
                  <a:pt x="20775" y="36552"/>
                </a:cubicBezTo>
                <a:close/>
                <a:moveTo>
                  <a:pt x="29277" y="41930"/>
                </a:moveTo>
                <a:lnTo>
                  <a:pt x="29277" y="41930"/>
                </a:lnTo>
                <a:cubicBezTo>
                  <a:pt x="30378" y="42705"/>
                  <a:pt x="31414" y="43542"/>
                  <a:pt x="32386" y="44430"/>
                </a:cubicBezTo>
                <a:cubicBezTo>
                  <a:pt x="31710" y="44526"/>
                  <a:pt x="31070" y="44766"/>
                  <a:pt x="30526" y="45106"/>
                </a:cubicBezTo>
                <a:cubicBezTo>
                  <a:pt x="29946" y="44066"/>
                  <a:pt x="29505" y="43001"/>
                  <a:pt x="29277" y="41930"/>
                </a:cubicBezTo>
                <a:close/>
                <a:moveTo>
                  <a:pt x="11292" y="34587"/>
                </a:moveTo>
                <a:cubicBezTo>
                  <a:pt x="12905" y="38401"/>
                  <a:pt x="16042" y="42149"/>
                  <a:pt x="18174" y="44350"/>
                </a:cubicBezTo>
                <a:cubicBezTo>
                  <a:pt x="18270" y="44450"/>
                  <a:pt x="18374" y="44554"/>
                  <a:pt x="18474" y="44658"/>
                </a:cubicBezTo>
                <a:cubicBezTo>
                  <a:pt x="17710" y="44942"/>
                  <a:pt x="17078" y="45466"/>
                  <a:pt x="16733" y="46166"/>
                </a:cubicBezTo>
                <a:cubicBezTo>
                  <a:pt x="16077" y="45618"/>
                  <a:pt x="15337" y="45387"/>
                  <a:pt x="14621" y="45387"/>
                </a:cubicBezTo>
                <a:cubicBezTo>
                  <a:pt x="12788" y="45387"/>
                  <a:pt x="11112" y="46911"/>
                  <a:pt x="11361" y="48635"/>
                </a:cubicBezTo>
                <a:cubicBezTo>
                  <a:pt x="9872" y="45282"/>
                  <a:pt x="9040" y="41753"/>
                  <a:pt x="9195" y="38072"/>
                </a:cubicBezTo>
                <a:cubicBezTo>
                  <a:pt x="9280" y="36111"/>
                  <a:pt x="10088" y="35051"/>
                  <a:pt x="11292" y="34587"/>
                </a:cubicBezTo>
                <a:close/>
                <a:moveTo>
                  <a:pt x="71694" y="42469"/>
                </a:moveTo>
                <a:lnTo>
                  <a:pt x="71694" y="42469"/>
                </a:lnTo>
                <a:cubicBezTo>
                  <a:pt x="72497" y="42633"/>
                  <a:pt x="73310" y="42781"/>
                  <a:pt x="74122" y="42918"/>
                </a:cubicBezTo>
                <a:cubicBezTo>
                  <a:pt x="77167" y="44783"/>
                  <a:pt x="80104" y="46766"/>
                  <a:pt x="82957" y="48859"/>
                </a:cubicBezTo>
                <a:cubicBezTo>
                  <a:pt x="82728" y="48831"/>
                  <a:pt x="82497" y="48807"/>
                  <a:pt x="82272" y="48775"/>
                </a:cubicBezTo>
                <a:cubicBezTo>
                  <a:pt x="81516" y="48679"/>
                  <a:pt x="80760" y="48555"/>
                  <a:pt x="80008" y="48427"/>
                </a:cubicBezTo>
                <a:cubicBezTo>
                  <a:pt x="78911" y="47831"/>
                  <a:pt x="77823" y="47223"/>
                  <a:pt x="76739" y="46611"/>
                </a:cubicBezTo>
                <a:cubicBezTo>
                  <a:pt x="75075" y="45219"/>
                  <a:pt x="73394" y="43834"/>
                  <a:pt x="71694" y="42469"/>
                </a:cubicBezTo>
                <a:close/>
                <a:moveTo>
                  <a:pt x="98873" y="50120"/>
                </a:moveTo>
                <a:cubicBezTo>
                  <a:pt x="99269" y="51124"/>
                  <a:pt x="99529" y="52140"/>
                  <a:pt x="99617" y="53156"/>
                </a:cubicBezTo>
                <a:cubicBezTo>
                  <a:pt x="99053" y="52153"/>
                  <a:pt x="98397" y="51164"/>
                  <a:pt x="97673" y="50192"/>
                </a:cubicBezTo>
                <a:lnTo>
                  <a:pt x="97673" y="50192"/>
                </a:lnTo>
                <a:cubicBezTo>
                  <a:pt x="97780" y="50199"/>
                  <a:pt x="97889" y="50203"/>
                  <a:pt x="97996" y="50203"/>
                </a:cubicBezTo>
                <a:cubicBezTo>
                  <a:pt x="98297" y="50203"/>
                  <a:pt x="98589" y="50175"/>
                  <a:pt x="98873" y="50120"/>
                </a:cubicBezTo>
                <a:close/>
                <a:moveTo>
                  <a:pt x="40269" y="55789"/>
                </a:moveTo>
                <a:cubicBezTo>
                  <a:pt x="41144" y="56349"/>
                  <a:pt x="42025" y="56906"/>
                  <a:pt x="42906" y="57466"/>
                </a:cubicBezTo>
                <a:cubicBezTo>
                  <a:pt x="43946" y="58962"/>
                  <a:pt x="44994" y="60439"/>
                  <a:pt x="46074" y="61859"/>
                </a:cubicBezTo>
                <a:cubicBezTo>
                  <a:pt x="44001" y="59867"/>
                  <a:pt x="41981" y="57830"/>
                  <a:pt x="39957" y="55797"/>
                </a:cubicBezTo>
                <a:cubicBezTo>
                  <a:pt x="40060" y="55797"/>
                  <a:pt x="40164" y="55793"/>
                  <a:pt x="40269" y="55789"/>
                </a:cubicBezTo>
                <a:close/>
                <a:moveTo>
                  <a:pt x="57753" y="48007"/>
                </a:moveTo>
                <a:lnTo>
                  <a:pt x="57753" y="48007"/>
                </a:lnTo>
                <a:cubicBezTo>
                  <a:pt x="59162" y="48567"/>
                  <a:pt x="60602" y="49111"/>
                  <a:pt x="62054" y="49640"/>
                </a:cubicBezTo>
                <a:cubicBezTo>
                  <a:pt x="66556" y="52604"/>
                  <a:pt x="71165" y="55429"/>
                  <a:pt x="75699" y="58046"/>
                </a:cubicBezTo>
                <a:cubicBezTo>
                  <a:pt x="76783" y="58670"/>
                  <a:pt x="78611" y="59623"/>
                  <a:pt x="80784" y="60587"/>
                </a:cubicBezTo>
                <a:cubicBezTo>
                  <a:pt x="82449" y="62083"/>
                  <a:pt x="84265" y="63804"/>
                  <a:pt x="85125" y="65744"/>
                </a:cubicBezTo>
                <a:cubicBezTo>
                  <a:pt x="83757" y="65556"/>
                  <a:pt x="82416" y="65168"/>
                  <a:pt x="81100" y="64672"/>
                </a:cubicBezTo>
                <a:cubicBezTo>
                  <a:pt x="74370" y="60947"/>
                  <a:pt x="68156" y="56474"/>
                  <a:pt x="61879" y="52076"/>
                </a:cubicBezTo>
                <a:cubicBezTo>
                  <a:pt x="60594" y="50676"/>
                  <a:pt x="59206" y="49324"/>
                  <a:pt x="57753" y="48007"/>
                </a:cubicBezTo>
                <a:close/>
                <a:moveTo>
                  <a:pt x="58690" y="67497"/>
                </a:moveTo>
                <a:cubicBezTo>
                  <a:pt x="62311" y="69802"/>
                  <a:pt x="65919" y="72114"/>
                  <a:pt x="69505" y="74455"/>
                </a:cubicBezTo>
                <a:cubicBezTo>
                  <a:pt x="69521" y="74479"/>
                  <a:pt x="69533" y="74503"/>
                  <a:pt x="69548" y="74527"/>
                </a:cubicBezTo>
                <a:cubicBezTo>
                  <a:pt x="68076" y="73630"/>
                  <a:pt x="66648" y="72775"/>
                  <a:pt x="65284" y="72010"/>
                </a:cubicBezTo>
                <a:cubicBezTo>
                  <a:pt x="63587" y="71062"/>
                  <a:pt x="61827" y="70193"/>
                  <a:pt x="60038" y="69353"/>
                </a:cubicBezTo>
                <a:cubicBezTo>
                  <a:pt x="59594" y="68721"/>
                  <a:pt x="59142" y="68101"/>
                  <a:pt x="58690" y="67497"/>
                </a:cubicBezTo>
                <a:close/>
                <a:moveTo>
                  <a:pt x="30729" y="77800"/>
                </a:moveTo>
                <a:cubicBezTo>
                  <a:pt x="34134" y="80208"/>
                  <a:pt x="37656" y="82513"/>
                  <a:pt x="41240" y="84742"/>
                </a:cubicBezTo>
                <a:cubicBezTo>
                  <a:pt x="37235" y="83349"/>
                  <a:pt x="33743" y="80681"/>
                  <a:pt x="30729" y="77800"/>
                </a:cubicBezTo>
                <a:close/>
                <a:moveTo>
                  <a:pt x="50300" y="1"/>
                </a:moveTo>
                <a:cubicBezTo>
                  <a:pt x="47687" y="1"/>
                  <a:pt x="45246" y="557"/>
                  <a:pt x="43441" y="2138"/>
                </a:cubicBezTo>
                <a:cubicBezTo>
                  <a:pt x="40832" y="4418"/>
                  <a:pt x="41004" y="6967"/>
                  <a:pt x="42425" y="9319"/>
                </a:cubicBezTo>
                <a:cubicBezTo>
                  <a:pt x="39384" y="7820"/>
                  <a:pt x="36391" y="6263"/>
                  <a:pt x="33506" y="4590"/>
                </a:cubicBezTo>
                <a:cubicBezTo>
                  <a:pt x="32866" y="4218"/>
                  <a:pt x="32222" y="4058"/>
                  <a:pt x="31614" y="4058"/>
                </a:cubicBezTo>
                <a:cubicBezTo>
                  <a:pt x="28862" y="4058"/>
                  <a:pt x="26849" y="7367"/>
                  <a:pt x="29065" y="9364"/>
                </a:cubicBezTo>
                <a:cubicBezTo>
                  <a:pt x="30686" y="10824"/>
                  <a:pt x="32394" y="12172"/>
                  <a:pt x="34162" y="13445"/>
                </a:cubicBezTo>
                <a:cubicBezTo>
                  <a:pt x="32682" y="14130"/>
                  <a:pt x="32122" y="15482"/>
                  <a:pt x="32394" y="16918"/>
                </a:cubicBezTo>
                <a:cubicBezTo>
                  <a:pt x="32410" y="17002"/>
                  <a:pt x="32439" y="17082"/>
                  <a:pt x="32454" y="17166"/>
                </a:cubicBezTo>
                <a:cubicBezTo>
                  <a:pt x="31482" y="16970"/>
                  <a:pt x="30498" y="16854"/>
                  <a:pt x="29510" y="16854"/>
                </a:cubicBezTo>
                <a:cubicBezTo>
                  <a:pt x="29438" y="16854"/>
                  <a:pt x="29366" y="16854"/>
                  <a:pt x="29294" y="16858"/>
                </a:cubicBezTo>
                <a:cubicBezTo>
                  <a:pt x="25996" y="16914"/>
                  <a:pt x="23900" y="18715"/>
                  <a:pt x="23032" y="20975"/>
                </a:cubicBezTo>
                <a:cubicBezTo>
                  <a:pt x="22347" y="21391"/>
                  <a:pt x="21855" y="21995"/>
                  <a:pt x="21747" y="22736"/>
                </a:cubicBezTo>
                <a:cubicBezTo>
                  <a:pt x="21095" y="22643"/>
                  <a:pt x="20443" y="22595"/>
                  <a:pt x="19795" y="22591"/>
                </a:cubicBezTo>
                <a:cubicBezTo>
                  <a:pt x="17458" y="22591"/>
                  <a:pt x="15154" y="23244"/>
                  <a:pt x="12988" y="24833"/>
                </a:cubicBezTo>
                <a:cubicBezTo>
                  <a:pt x="11472" y="25945"/>
                  <a:pt x="10668" y="27297"/>
                  <a:pt x="10380" y="28781"/>
                </a:cubicBezTo>
                <a:cubicBezTo>
                  <a:pt x="7627" y="29210"/>
                  <a:pt x="5226" y="30518"/>
                  <a:pt x="3690" y="33182"/>
                </a:cubicBezTo>
                <a:cubicBezTo>
                  <a:pt x="0" y="39588"/>
                  <a:pt x="2541" y="47491"/>
                  <a:pt x="6759" y="54305"/>
                </a:cubicBezTo>
                <a:cubicBezTo>
                  <a:pt x="5222" y="54873"/>
                  <a:pt x="4118" y="56369"/>
                  <a:pt x="4711" y="57758"/>
                </a:cubicBezTo>
                <a:cubicBezTo>
                  <a:pt x="7111" y="63375"/>
                  <a:pt x="13573" y="67237"/>
                  <a:pt x="19562" y="70585"/>
                </a:cubicBezTo>
                <a:cubicBezTo>
                  <a:pt x="20967" y="72446"/>
                  <a:pt x="22456" y="74247"/>
                  <a:pt x="23952" y="75963"/>
                </a:cubicBezTo>
                <a:cubicBezTo>
                  <a:pt x="28561" y="81249"/>
                  <a:pt x="34843" y="87395"/>
                  <a:pt x="42877" y="88943"/>
                </a:cubicBezTo>
                <a:cubicBezTo>
                  <a:pt x="43045" y="88975"/>
                  <a:pt x="43221" y="88991"/>
                  <a:pt x="43397" y="88991"/>
                </a:cubicBezTo>
                <a:cubicBezTo>
                  <a:pt x="44354" y="88991"/>
                  <a:pt x="45322" y="88518"/>
                  <a:pt x="45538" y="87687"/>
                </a:cubicBezTo>
                <a:cubicBezTo>
                  <a:pt x="45562" y="87595"/>
                  <a:pt x="45570" y="87499"/>
                  <a:pt x="45589" y="87406"/>
                </a:cubicBezTo>
                <a:cubicBezTo>
                  <a:pt x="47862" y="88775"/>
                  <a:pt x="50143" y="90127"/>
                  <a:pt x="52428" y="91464"/>
                </a:cubicBezTo>
                <a:cubicBezTo>
                  <a:pt x="52980" y="91792"/>
                  <a:pt x="53556" y="91932"/>
                  <a:pt x="54117" y="91932"/>
                </a:cubicBezTo>
                <a:cubicBezTo>
                  <a:pt x="55657" y="91932"/>
                  <a:pt x="57065" y="90856"/>
                  <a:pt x="57513" y="89611"/>
                </a:cubicBezTo>
                <a:cubicBezTo>
                  <a:pt x="58854" y="89940"/>
                  <a:pt x="60242" y="90147"/>
                  <a:pt x="61679" y="90204"/>
                </a:cubicBezTo>
                <a:cubicBezTo>
                  <a:pt x="61718" y="90204"/>
                  <a:pt x="61759" y="90208"/>
                  <a:pt x="61799" y="90208"/>
                </a:cubicBezTo>
                <a:cubicBezTo>
                  <a:pt x="62939" y="90208"/>
                  <a:pt x="64307" y="89587"/>
                  <a:pt x="64795" y="88723"/>
                </a:cubicBezTo>
                <a:cubicBezTo>
                  <a:pt x="64959" y="88435"/>
                  <a:pt x="65099" y="88143"/>
                  <a:pt x="65232" y="87846"/>
                </a:cubicBezTo>
                <a:cubicBezTo>
                  <a:pt x="69225" y="89599"/>
                  <a:pt x="73402" y="91015"/>
                  <a:pt x="77895" y="91800"/>
                </a:cubicBezTo>
                <a:cubicBezTo>
                  <a:pt x="78135" y="91844"/>
                  <a:pt x="78375" y="91864"/>
                  <a:pt x="78615" y="91864"/>
                </a:cubicBezTo>
                <a:cubicBezTo>
                  <a:pt x="80928" y="91864"/>
                  <a:pt x="83093" y="90007"/>
                  <a:pt x="82233" y="88115"/>
                </a:cubicBezTo>
                <a:lnTo>
                  <a:pt x="82233" y="88115"/>
                </a:lnTo>
                <a:cubicBezTo>
                  <a:pt x="86297" y="89748"/>
                  <a:pt x="90527" y="90887"/>
                  <a:pt x="94912" y="91048"/>
                </a:cubicBezTo>
                <a:cubicBezTo>
                  <a:pt x="94960" y="91048"/>
                  <a:pt x="95008" y="91052"/>
                  <a:pt x="95056" y="91052"/>
                </a:cubicBezTo>
                <a:cubicBezTo>
                  <a:pt x="97985" y="91052"/>
                  <a:pt x="99697" y="87678"/>
                  <a:pt x="97425" y="86014"/>
                </a:cubicBezTo>
                <a:cubicBezTo>
                  <a:pt x="95289" y="84450"/>
                  <a:pt x="93123" y="82909"/>
                  <a:pt x="90947" y="81381"/>
                </a:cubicBezTo>
                <a:cubicBezTo>
                  <a:pt x="93392" y="81273"/>
                  <a:pt x="95080" y="78456"/>
                  <a:pt x="93684" y="76716"/>
                </a:cubicBezTo>
                <a:lnTo>
                  <a:pt x="93684" y="76716"/>
                </a:lnTo>
                <a:cubicBezTo>
                  <a:pt x="94824" y="77059"/>
                  <a:pt x="95980" y="77379"/>
                  <a:pt x="97165" y="77667"/>
                </a:cubicBezTo>
                <a:cubicBezTo>
                  <a:pt x="97444" y="77732"/>
                  <a:pt x="97732" y="77763"/>
                  <a:pt x="98020" y="77763"/>
                </a:cubicBezTo>
                <a:cubicBezTo>
                  <a:pt x="100249" y="77763"/>
                  <a:pt x="102582" y="75896"/>
                  <a:pt x="101626" y="73966"/>
                </a:cubicBezTo>
                <a:cubicBezTo>
                  <a:pt x="99845" y="70374"/>
                  <a:pt x="97464" y="67148"/>
                  <a:pt x="94720" y="64151"/>
                </a:cubicBezTo>
                <a:lnTo>
                  <a:pt x="94720" y="64151"/>
                </a:lnTo>
                <a:cubicBezTo>
                  <a:pt x="95841" y="64312"/>
                  <a:pt x="96973" y="64432"/>
                  <a:pt x="98129" y="64476"/>
                </a:cubicBezTo>
                <a:lnTo>
                  <a:pt x="98277" y="64476"/>
                </a:lnTo>
                <a:cubicBezTo>
                  <a:pt x="100277" y="64476"/>
                  <a:pt x="101694" y="62995"/>
                  <a:pt x="101794" y="61435"/>
                </a:cubicBezTo>
                <a:cubicBezTo>
                  <a:pt x="101798" y="61407"/>
                  <a:pt x="101794" y="61383"/>
                  <a:pt x="101798" y="61359"/>
                </a:cubicBezTo>
                <a:cubicBezTo>
                  <a:pt x="103911" y="60707"/>
                  <a:pt x="105659" y="59434"/>
                  <a:pt x="106548" y="57285"/>
                </a:cubicBezTo>
                <a:cubicBezTo>
                  <a:pt x="109000" y="51364"/>
                  <a:pt x="104955" y="45071"/>
                  <a:pt x="100469" y="40009"/>
                </a:cubicBezTo>
                <a:cubicBezTo>
                  <a:pt x="99994" y="39173"/>
                  <a:pt x="99422" y="38373"/>
                  <a:pt x="98761" y="37612"/>
                </a:cubicBezTo>
                <a:lnTo>
                  <a:pt x="98761" y="37612"/>
                </a:lnTo>
                <a:cubicBezTo>
                  <a:pt x="99954" y="37744"/>
                  <a:pt x="101174" y="37828"/>
                  <a:pt x="102419" y="37856"/>
                </a:cubicBezTo>
                <a:cubicBezTo>
                  <a:pt x="102450" y="37856"/>
                  <a:pt x="102478" y="37860"/>
                  <a:pt x="102510" y="37860"/>
                </a:cubicBezTo>
                <a:cubicBezTo>
                  <a:pt x="104327" y="37860"/>
                  <a:pt x="105863" y="36608"/>
                  <a:pt x="106119" y="35175"/>
                </a:cubicBezTo>
                <a:cubicBezTo>
                  <a:pt x="108752" y="33999"/>
                  <a:pt x="110792" y="31699"/>
                  <a:pt x="110400" y="29210"/>
                </a:cubicBezTo>
                <a:cubicBezTo>
                  <a:pt x="109824" y="25540"/>
                  <a:pt x="106020" y="22864"/>
                  <a:pt x="102755" y="20667"/>
                </a:cubicBezTo>
                <a:cubicBezTo>
                  <a:pt x="97269" y="16970"/>
                  <a:pt x="91327" y="13781"/>
                  <a:pt x="85081" y="11068"/>
                </a:cubicBezTo>
                <a:cubicBezTo>
                  <a:pt x="77523" y="7783"/>
                  <a:pt x="69817" y="4678"/>
                  <a:pt x="61794" y="2246"/>
                </a:cubicBezTo>
                <a:cubicBezTo>
                  <a:pt x="58666" y="1293"/>
                  <a:pt x="54280" y="1"/>
                  <a:pt x="50300" y="1"/>
                </a:cubicBezTo>
                <a:close/>
              </a:path>
            </a:pathLst>
          </a:custGeom>
          <a:solidFill>
            <a:srgbClr val="FFFFFF">
              <a:alpha val="16520"/>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1978982956"/>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4D7F5-EF7B-4720-B8A2-15BD7DFC25F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MY"/>
          </a:p>
        </p:txBody>
      </p:sp>
      <p:sp>
        <p:nvSpPr>
          <p:cNvPr id="3" name="Content Placeholder 2">
            <a:extLst>
              <a:ext uri="{FF2B5EF4-FFF2-40B4-BE49-F238E27FC236}">
                <a16:creationId xmlns:a16="http://schemas.microsoft.com/office/drawing/2014/main" id="{E6DC5690-FBD5-4F7A-B323-8BA826A8433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Text Placeholder 3">
            <a:extLst>
              <a:ext uri="{FF2B5EF4-FFF2-40B4-BE49-F238E27FC236}">
                <a16:creationId xmlns:a16="http://schemas.microsoft.com/office/drawing/2014/main" id="{9E1CD33E-05A3-42F7-B6D8-AB8488DA35D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669B1EE-2719-4677-B65E-31B7266DB215}"/>
              </a:ext>
            </a:extLst>
          </p:cNvPr>
          <p:cNvSpPr>
            <a:spLocks noGrp="1"/>
          </p:cNvSpPr>
          <p:nvPr>
            <p:ph type="dt" sz="half" idx="10"/>
          </p:nvPr>
        </p:nvSpPr>
        <p:spPr/>
        <p:txBody>
          <a:bodyPr/>
          <a:lstStyle/>
          <a:p>
            <a:fld id="{E152F814-A5A9-4915-BA2C-D498CBB3B7CE}" type="datetimeFigureOut">
              <a:rPr lang="en-MY" smtClean="0"/>
              <a:t>13/1/2023</a:t>
            </a:fld>
            <a:endParaRPr lang="en-MY"/>
          </a:p>
        </p:txBody>
      </p:sp>
      <p:sp>
        <p:nvSpPr>
          <p:cNvPr id="6" name="Footer Placeholder 5">
            <a:extLst>
              <a:ext uri="{FF2B5EF4-FFF2-40B4-BE49-F238E27FC236}">
                <a16:creationId xmlns:a16="http://schemas.microsoft.com/office/drawing/2014/main" id="{8341BB58-9ED3-44C6-B3A3-B2E4EB330394}"/>
              </a:ext>
            </a:extLst>
          </p:cNvPr>
          <p:cNvSpPr>
            <a:spLocks noGrp="1"/>
          </p:cNvSpPr>
          <p:nvPr>
            <p:ph type="ftr" sz="quarter" idx="11"/>
          </p:nvPr>
        </p:nvSpPr>
        <p:spPr/>
        <p:txBody>
          <a:bodyPr/>
          <a:lstStyle/>
          <a:p>
            <a:endParaRPr lang="en-MY"/>
          </a:p>
        </p:txBody>
      </p:sp>
      <p:sp>
        <p:nvSpPr>
          <p:cNvPr id="7" name="Slide Number Placeholder 6">
            <a:extLst>
              <a:ext uri="{FF2B5EF4-FFF2-40B4-BE49-F238E27FC236}">
                <a16:creationId xmlns:a16="http://schemas.microsoft.com/office/drawing/2014/main" id="{5B1477CB-4E5F-42D9-8201-EF75BAFC264F}"/>
              </a:ext>
            </a:extLst>
          </p:cNvPr>
          <p:cNvSpPr>
            <a:spLocks noGrp="1"/>
          </p:cNvSpPr>
          <p:nvPr>
            <p:ph type="sldNum" sz="quarter" idx="12"/>
          </p:nvPr>
        </p:nvSpPr>
        <p:spPr/>
        <p:txBody>
          <a:bodyPr/>
          <a:lstStyle/>
          <a:p>
            <a:fld id="{3854563D-E486-48D4-A129-56097E180FBF}" type="slidenum">
              <a:rPr lang="en-MY" smtClean="0"/>
              <a:t>‹#›</a:t>
            </a:fld>
            <a:endParaRPr lang="en-MY"/>
          </a:p>
        </p:txBody>
      </p:sp>
    </p:spTree>
    <p:extLst>
      <p:ext uri="{BB962C8B-B14F-4D97-AF65-F5344CB8AC3E}">
        <p14:creationId xmlns:p14="http://schemas.microsoft.com/office/powerpoint/2010/main" val="50941079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itle and text 4">
  <p:cSld name="Title and text 4">
    <p:bg>
      <p:bgPr>
        <a:blipFill>
          <a:blip r:embed="rId2">
            <a:alphaModFix/>
          </a:blip>
          <a:stretch>
            <a:fillRect/>
          </a:stretch>
        </a:blipFill>
        <a:effectLst/>
      </p:bgPr>
    </p:bg>
    <p:spTree>
      <p:nvGrpSpPr>
        <p:cNvPr id="1" name="Shape 497"/>
        <p:cNvGrpSpPr/>
        <p:nvPr/>
      </p:nvGrpSpPr>
      <p:grpSpPr>
        <a:xfrm>
          <a:off x="0" y="0"/>
          <a:ext cx="0" cy="0"/>
          <a:chOff x="0" y="0"/>
          <a:chExt cx="0" cy="0"/>
        </a:xfrm>
      </p:grpSpPr>
      <p:sp>
        <p:nvSpPr>
          <p:cNvPr id="498" name="Google Shape;498;p24"/>
          <p:cNvSpPr txBox="1">
            <a:spLocks noGrp="1"/>
          </p:cNvSpPr>
          <p:nvPr>
            <p:ph type="ctrTitle"/>
          </p:nvPr>
        </p:nvSpPr>
        <p:spPr>
          <a:xfrm flipH="1">
            <a:off x="7098567" y="3363433"/>
            <a:ext cx="3761200" cy="770400"/>
          </a:xfrm>
          <a:prstGeom prst="rect">
            <a:avLst/>
          </a:prstGeom>
        </p:spPr>
        <p:txBody>
          <a:bodyPr spcFirstLastPara="1" wrap="square" lIns="91425" tIns="91425" rIns="91425" bIns="91425" anchor="b" anchorCtr="0">
            <a:normAutofit/>
          </a:bodyPr>
          <a:lstStyle>
            <a:lvl1pPr lvl="0" rtl="0">
              <a:spcBef>
                <a:spcPts val="0"/>
              </a:spcBef>
              <a:spcAft>
                <a:spcPts val="0"/>
              </a:spcAft>
              <a:buSzPts val="3300"/>
              <a:buNone/>
              <a:defRPr sz="4400"/>
            </a:lvl1pPr>
            <a:lvl2pPr lvl="1" algn="r" rtl="0">
              <a:spcBef>
                <a:spcPts val="0"/>
              </a:spcBef>
              <a:spcAft>
                <a:spcPts val="0"/>
              </a:spcAft>
              <a:buClr>
                <a:schemeClr val="dk2"/>
              </a:buClr>
              <a:buSzPts val="1800"/>
              <a:buNone/>
              <a:defRPr sz="2400">
                <a:solidFill>
                  <a:schemeClr val="dk2"/>
                </a:solidFill>
              </a:defRPr>
            </a:lvl2pPr>
            <a:lvl3pPr lvl="2" algn="r" rtl="0">
              <a:spcBef>
                <a:spcPts val="0"/>
              </a:spcBef>
              <a:spcAft>
                <a:spcPts val="0"/>
              </a:spcAft>
              <a:buClr>
                <a:schemeClr val="dk2"/>
              </a:buClr>
              <a:buSzPts val="1800"/>
              <a:buNone/>
              <a:defRPr sz="2400">
                <a:solidFill>
                  <a:schemeClr val="dk2"/>
                </a:solidFill>
              </a:defRPr>
            </a:lvl3pPr>
            <a:lvl4pPr lvl="3" algn="r" rtl="0">
              <a:spcBef>
                <a:spcPts val="0"/>
              </a:spcBef>
              <a:spcAft>
                <a:spcPts val="0"/>
              </a:spcAft>
              <a:buClr>
                <a:schemeClr val="dk2"/>
              </a:buClr>
              <a:buSzPts val="1800"/>
              <a:buNone/>
              <a:defRPr sz="2400">
                <a:solidFill>
                  <a:schemeClr val="dk2"/>
                </a:solidFill>
              </a:defRPr>
            </a:lvl4pPr>
            <a:lvl5pPr lvl="4" algn="r" rtl="0">
              <a:spcBef>
                <a:spcPts val="0"/>
              </a:spcBef>
              <a:spcAft>
                <a:spcPts val="0"/>
              </a:spcAft>
              <a:buClr>
                <a:schemeClr val="dk2"/>
              </a:buClr>
              <a:buSzPts val="1800"/>
              <a:buNone/>
              <a:defRPr sz="2400">
                <a:solidFill>
                  <a:schemeClr val="dk2"/>
                </a:solidFill>
              </a:defRPr>
            </a:lvl5pPr>
            <a:lvl6pPr lvl="5" algn="r" rtl="0">
              <a:spcBef>
                <a:spcPts val="0"/>
              </a:spcBef>
              <a:spcAft>
                <a:spcPts val="0"/>
              </a:spcAft>
              <a:buClr>
                <a:schemeClr val="dk2"/>
              </a:buClr>
              <a:buSzPts val="1800"/>
              <a:buNone/>
              <a:defRPr sz="2400">
                <a:solidFill>
                  <a:schemeClr val="dk2"/>
                </a:solidFill>
              </a:defRPr>
            </a:lvl6pPr>
            <a:lvl7pPr lvl="6" algn="r" rtl="0">
              <a:spcBef>
                <a:spcPts val="0"/>
              </a:spcBef>
              <a:spcAft>
                <a:spcPts val="0"/>
              </a:spcAft>
              <a:buClr>
                <a:schemeClr val="dk2"/>
              </a:buClr>
              <a:buSzPts val="1800"/>
              <a:buNone/>
              <a:defRPr sz="2400">
                <a:solidFill>
                  <a:schemeClr val="dk2"/>
                </a:solidFill>
              </a:defRPr>
            </a:lvl7pPr>
            <a:lvl8pPr lvl="7" algn="r" rtl="0">
              <a:spcBef>
                <a:spcPts val="0"/>
              </a:spcBef>
              <a:spcAft>
                <a:spcPts val="0"/>
              </a:spcAft>
              <a:buClr>
                <a:schemeClr val="dk2"/>
              </a:buClr>
              <a:buSzPts val="1800"/>
              <a:buNone/>
              <a:defRPr sz="2400">
                <a:solidFill>
                  <a:schemeClr val="dk2"/>
                </a:solidFill>
              </a:defRPr>
            </a:lvl8pPr>
            <a:lvl9pPr lvl="8" algn="r" rtl="0">
              <a:spcBef>
                <a:spcPts val="0"/>
              </a:spcBef>
              <a:spcAft>
                <a:spcPts val="0"/>
              </a:spcAft>
              <a:buClr>
                <a:schemeClr val="dk2"/>
              </a:buClr>
              <a:buSzPts val="1800"/>
              <a:buNone/>
              <a:defRPr sz="2400">
                <a:solidFill>
                  <a:schemeClr val="dk2"/>
                </a:solidFill>
              </a:defRPr>
            </a:lvl9pPr>
          </a:lstStyle>
          <a:p>
            <a:endParaRPr/>
          </a:p>
        </p:txBody>
      </p:sp>
      <p:sp>
        <p:nvSpPr>
          <p:cNvPr id="499" name="Google Shape;499;p24"/>
          <p:cNvSpPr txBox="1">
            <a:spLocks noGrp="1"/>
          </p:cNvSpPr>
          <p:nvPr>
            <p:ph type="subTitle" idx="1"/>
          </p:nvPr>
        </p:nvSpPr>
        <p:spPr>
          <a:xfrm flipH="1">
            <a:off x="7098533" y="3978700"/>
            <a:ext cx="3761200" cy="1476800"/>
          </a:xfrm>
          <a:prstGeom prst="rect">
            <a:avLst/>
          </a:prstGeom>
        </p:spPr>
        <p:txBody>
          <a:bodyPr spcFirstLastPara="1" wrap="square" lIns="91425" tIns="91425" rIns="91425" bIns="91425" anchor="t" anchorCtr="0">
            <a:normAutofit/>
          </a:bodyPr>
          <a:lstStyle>
            <a:lvl1pPr lvl="0" rtl="0">
              <a:lnSpc>
                <a:spcPct val="100000"/>
              </a:lnSpc>
              <a:spcBef>
                <a:spcPts val="0"/>
              </a:spcBef>
              <a:spcAft>
                <a:spcPts val="0"/>
              </a:spcAft>
              <a:buSzPts val="1600"/>
              <a:buNone/>
              <a:defRPr sz="1867" b="0"/>
            </a:lvl1pPr>
            <a:lvl2pPr lvl="1" algn="r" rtl="0">
              <a:lnSpc>
                <a:spcPct val="100000"/>
              </a:lnSpc>
              <a:spcBef>
                <a:spcPts val="0"/>
              </a:spcBef>
              <a:spcAft>
                <a:spcPts val="0"/>
              </a:spcAft>
              <a:buSzPts val="1600"/>
              <a:buNone/>
              <a:defRPr/>
            </a:lvl2pPr>
            <a:lvl3pPr lvl="2" algn="r" rtl="0">
              <a:lnSpc>
                <a:spcPct val="100000"/>
              </a:lnSpc>
              <a:spcBef>
                <a:spcPts val="0"/>
              </a:spcBef>
              <a:spcAft>
                <a:spcPts val="0"/>
              </a:spcAft>
              <a:buSzPts val="1600"/>
              <a:buNone/>
              <a:defRPr/>
            </a:lvl3pPr>
            <a:lvl4pPr lvl="3" algn="r" rtl="0">
              <a:lnSpc>
                <a:spcPct val="100000"/>
              </a:lnSpc>
              <a:spcBef>
                <a:spcPts val="0"/>
              </a:spcBef>
              <a:spcAft>
                <a:spcPts val="0"/>
              </a:spcAft>
              <a:buSzPts val="1600"/>
              <a:buNone/>
              <a:defRPr/>
            </a:lvl4pPr>
            <a:lvl5pPr lvl="4" algn="r" rtl="0">
              <a:lnSpc>
                <a:spcPct val="100000"/>
              </a:lnSpc>
              <a:spcBef>
                <a:spcPts val="0"/>
              </a:spcBef>
              <a:spcAft>
                <a:spcPts val="0"/>
              </a:spcAft>
              <a:buSzPts val="1600"/>
              <a:buNone/>
              <a:defRPr/>
            </a:lvl5pPr>
            <a:lvl6pPr lvl="5" algn="r" rtl="0">
              <a:lnSpc>
                <a:spcPct val="100000"/>
              </a:lnSpc>
              <a:spcBef>
                <a:spcPts val="0"/>
              </a:spcBef>
              <a:spcAft>
                <a:spcPts val="0"/>
              </a:spcAft>
              <a:buSzPts val="1600"/>
              <a:buNone/>
              <a:defRPr/>
            </a:lvl6pPr>
            <a:lvl7pPr lvl="6" algn="r" rtl="0">
              <a:lnSpc>
                <a:spcPct val="100000"/>
              </a:lnSpc>
              <a:spcBef>
                <a:spcPts val="0"/>
              </a:spcBef>
              <a:spcAft>
                <a:spcPts val="0"/>
              </a:spcAft>
              <a:buSzPts val="1600"/>
              <a:buNone/>
              <a:defRPr/>
            </a:lvl7pPr>
            <a:lvl8pPr lvl="7" algn="r" rtl="0">
              <a:lnSpc>
                <a:spcPct val="100000"/>
              </a:lnSpc>
              <a:spcBef>
                <a:spcPts val="0"/>
              </a:spcBef>
              <a:spcAft>
                <a:spcPts val="0"/>
              </a:spcAft>
              <a:buSzPts val="1600"/>
              <a:buNone/>
              <a:defRPr/>
            </a:lvl8pPr>
            <a:lvl9pPr lvl="8" algn="r" rtl="0">
              <a:lnSpc>
                <a:spcPct val="100000"/>
              </a:lnSpc>
              <a:spcBef>
                <a:spcPts val="0"/>
              </a:spcBef>
              <a:spcAft>
                <a:spcPts val="0"/>
              </a:spcAft>
              <a:buSzPts val="1600"/>
              <a:buNone/>
              <a:defRPr/>
            </a:lvl9pPr>
          </a:lstStyle>
          <a:p>
            <a:endParaRPr/>
          </a:p>
        </p:txBody>
      </p:sp>
      <p:grpSp>
        <p:nvGrpSpPr>
          <p:cNvPr id="500" name="Google Shape;500;p24"/>
          <p:cNvGrpSpPr/>
          <p:nvPr/>
        </p:nvGrpSpPr>
        <p:grpSpPr>
          <a:xfrm>
            <a:off x="9531374" y="386870"/>
            <a:ext cx="2151329" cy="1805065"/>
            <a:chOff x="7142430" y="539989"/>
            <a:chExt cx="1319942" cy="1107583"/>
          </a:xfrm>
        </p:grpSpPr>
        <p:grpSp>
          <p:nvGrpSpPr>
            <p:cNvPr id="501" name="Google Shape;501;p24"/>
            <p:cNvGrpSpPr/>
            <p:nvPr/>
          </p:nvGrpSpPr>
          <p:grpSpPr>
            <a:xfrm>
              <a:off x="7142430" y="539989"/>
              <a:ext cx="1319942" cy="1107583"/>
              <a:chOff x="3849575" y="3342525"/>
              <a:chExt cx="1118500" cy="938550"/>
            </a:xfrm>
          </p:grpSpPr>
          <p:sp>
            <p:nvSpPr>
              <p:cNvPr id="502" name="Google Shape;502;p24"/>
              <p:cNvSpPr/>
              <p:nvPr/>
            </p:nvSpPr>
            <p:spPr>
              <a:xfrm>
                <a:off x="4436675" y="3665425"/>
                <a:ext cx="531400" cy="346750"/>
              </a:xfrm>
              <a:custGeom>
                <a:avLst/>
                <a:gdLst/>
                <a:ahLst/>
                <a:cxnLst/>
                <a:rect l="l" t="t" r="r" b="b"/>
                <a:pathLst>
                  <a:path w="21256" h="13870" extrusionOk="0">
                    <a:moveTo>
                      <a:pt x="13611" y="3069"/>
                    </a:moveTo>
                    <a:cubicBezTo>
                      <a:pt x="14071" y="3069"/>
                      <a:pt x="14541" y="3134"/>
                      <a:pt x="15011" y="3275"/>
                    </a:cubicBezTo>
                    <a:cubicBezTo>
                      <a:pt x="16679" y="3776"/>
                      <a:pt x="18847" y="5944"/>
                      <a:pt x="17379" y="8546"/>
                    </a:cubicBezTo>
                    <a:cubicBezTo>
                      <a:pt x="16665" y="9829"/>
                      <a:pt x="15151" y="10440"/>
                      <a:pt x="13577" y="10440"/>
                    </a:cubicBezTo>
                    <a:cubicBezTo>
                      <a:pt x="11920" y="10440"/>
                      <a:pt x="10198" y="9762"/>
                      <a:pt x="9274" y="8479"/>
                    </a:cubicBezTo>
                    <a:cubicBezTo>
                      <a:pt x="7668" y="6260"/>
                      <a:pt x="10382" y="3069"/>
                      <a:pt x="13611" y="3069"/>
                    </a:cubicBezTo>
                    <a:close/>
                    <a:moveTo>
                      <a:pt x="14017" y="1"/>
                    </a:moveTo>
                    <a:cubicBezTo>
                      <a:pt x="13438" y="1"/>
                      <a:pt x="12853" y="68"/>
                      <a:pt x="12276" y="206"/>
                    </a:cubicBezTo>
                    <a:cubicBezTo>
                      <a:pt x="9907" y="807"/>
                      <a:pt x="8573" y="1974"/>
                      <a:pt x="7072" y="2608"/>
                    </a:cubicBezTo>
                    <a:cubicBezTo>
                      <a:pt x="3369" y="6544"/>
                      <a:pt x="1868" y="8946"/>
                      <a:pt x="1001" y="9780"/>
                    </a:cubicBezTo>
                    <a:cubicBezTo>
                      <a:pt x="789" y="9966"/>
                      <a:pt x="513" y="10067"/>
                      <a:pt x="224" y="10067"/>
                    </a:cubicBezTo>
                    <a:cubicBezTo>
                      <a:pt x="150" y="10067"/>
                      <a:pt x="75" y="10060"/>
                      <a:pt x="0" y="10047"/>
                    </a:cubicBezTo>
                    <a:lnTo>
                      <a:pt x="0" y="10047"/>
                    </a:lnTo>
                    <a:cubicBezTo>
                      <a:pt x="201" y="10547"/>
                      <a:pt x="401" y="10781"/>
                      <a:pt x="701" y="10814"/>
                    </a:cubicBezTo>
                    <a:cubicBezTo>
                      <a:pt x="761" y="10824"/>
                      <a:pt x="824" y="10828"/>
                      <a:pt x="889" y="10828"/>
                    </a:cubicBezTo>
                    <a:cubicBezTo>
                      <a:pt x="1528" y="10828"/>
                      <a:pt x="2399" y="10386"/>
                      <a:pt x="3610" y="10386"/>
                    </a:cubicBezTo>
                    <a:cubicBezTo>
                      <a:pt x="3909" y="10386"/>
                      <a:pt x="4228" y="10413"/>
                      <a:pt x="4570" y="10480"/>
                    </a:cubicBezTo>
                    <a:cubicBezTo>
                      <a:pt x="5671" y="10680"/>
                      <a:pt x="7506" y="13549"/>
                      <a:pt x="12076" y="13849"/>
                    </a:cubicBezTo>
                    <a:cubicBezTo>
                      <a:pt x="12306" y="13863"/>
                      <a:pt x="12536" y="13869"/>
                      <a:pt x="12764" y="13869"/>
                    </a:cubicBezTo>
                    <a:cubicBezTo>
                      <a:pt x="17090" y="13869"/>
                      <a:pt x="20892" y="11472"/>
                      <a:pt x="21082" y="6878"/>
                    </a:cubicBezTo>
                    <a:cubicBezTo>
                      <a:pt x="21255" y="2777"/>
                      <a:pt x="17753" y="1"/>
                      <a:pt x="1401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03" name="Google Shape;503;p24"/>
              <p:cNvSpPr/>
              <p:nvPr/>
            </p:nvSpPr>
            <p:spPr>
              <a:xfrm>
                <a:off x="4017200" y="3816500"/>
                <a:ext cx="415325" cy="464575"/>
              </a:xfrm>
              <a:custGeom>
                <a:avLst/>
                <a:gdLst/>
                <a:ahLst/>
                <a:cxnLst/>
                <a:rect l="l" t="t" r="r" b="b"/>
                <a:pathLst>
                  <a:path w="16613" h="18583" extrusionOk="0">
                    <a:moveTo>
                      <a:pt x="11509" y="1"/>
                    </a:moveTo>
                    <a:cubicBezTo>
                      <a:pt x="11509" y="1"/>
                      <a:pt x="11509" y="68"/>
                      <a:pt x="11476" y="101"/>
                    </a:cubicBezTo>
                    <a:cubicBezTo>
                      <a:pt x="11042" y="635"/>
                      <a:pt x="8373" y="4070"/>
                      <a:pt x="5872" y="7439"/>
                    </a:cubicBezTo>
                    <a:cubicBezTo>
                      <a:pt x="3803" y="10241"/>
                      <a:pt x="1802" y="13010"/>
                      <a:pt x="1268" y="14178"/>
                    </a:cubicBezTo>
                    <a:cubicBezTo>
                      <a:pt x="501" y="15779"/>
                      <a:pt x="1" y="18347"/>
                      <a:pt x="501" y="18581"/>
                    </a:cubicBezTo>
                    <a:cubicBezTo>
                      <a:pt x="505" y="18582"/>
                      <a:pt x="509" y="18583"/>
                      <a:pt x="514" y="18583"/>
                    </a:cubicBezTo>
                    <a:cubicBezTo>
                      <a:pt x="1110" y="18583"/>
                      <a:pt x="11374" y="8910"/>
                      <a:pt x="15178" y="5305"/>
                    </a:cubicBezTo>
                    <a:cubicBezTo>
                      <a:pt x="16046" y="4471"/>
                      <a:pt x="16613" y="3970"/>
                      <a:pt x="16546" y="3970"/>
                    </a:cubicBezTo>
                    <a:cubicBezTo>
                      <a:pt x="14811" y="3603"/>
                      <a:pt x="12209" y="1068"/>
                      <a:pt x="1150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04" name="Google Shape;504;p24"/>
              <p:cNvSpPr/>
              <p:nvPr/>
            </p:nvSpPr>
            <p:spPr>
              <a:xfrm>
                <a:off x="3849575" y="3816500"/>
                <a:ext cx="454525" cy="195425"/>
              </a:xfrm>
              <a:custGeom>
                <a:avLst/>
                <a:gdLst/>
                <a:ahLst/>
                <a:cxnLst/>
                <a:rect l="l" t="t" r="r" b="b"/>
                <a:pathLst>
                  <a:path w="18181" h="7817" extrusionOk="0">
                    <a:moveTo>
                      <a:pt x="18047" y="1"/>
                    </a:moveTo>
                    <a:cubicBezTo>
                      <a:pt x="12176" y="2503"/>
                      <a:pt x="1" y="6105"/>
                      <a:pt x="1" y="6439"/>
                    </a:cubicBezTo>
                    <a:cubicBezTo>
                      <a:pt x="34" y="6939"/>
                      <a:pt x="2903" y="7740"/>
                      <a:pt x="4871" y="7806"/>
                    </a:cubicBezTo>
                    <a:cubicBezTo>
                      <a:pt x="5079" y="7812"/>
                      <a:pt x="5371" y="7816"/>
                      <a:pt x="5728" y="7816"/>
                    </a:cubicBezTo>
                    <a:cubicBezTo>
                      <a:pt x="7323" y="7816"/>
                      <a:pt x="10206" y="7739"/>
                      <a:pt x="12577" y="7439"/>
                    </a:cubicBezTo>
                    <a:cubicBezTo>
                      <a:pt x="15078" y="4004"/>
                      <a:pt x="17747" y="635"/>
                      <a:pt x="18181" y="101"/>
                    </a:cubicBezTo>
                    <a:lnTo>
                      <a:pt x="180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05" name="Google Shape;505;p24"/>
              <p:cNvSpPr/>
              <p:nvPr/>
            </p:nvSpPr>
            <p:spPr>
              <a:xfrm>
                <a:off x="4295750" y="3342525"/>
                <a:ext cx="492025" cy="574575"/>
              </a:xfrm>
              <a:custGeom>
                <a:avLst/>
                <a:gdLst/>
                <a:ahLst/>
                <a:cxnLst/>
                <a:rect l="l" t="t" r="r" b="b"/>
                <a:pathLst>
                  <a:path w="19681" h="22983" extrusionOk="0">
                    <a:moveTo>
                      <a:pt x="11201" y="3249"/>
                    </a:moveTo>
                    <a:cubicBezTo>
                      <a:pt x="14003" y="3249"/>
                      <a:pt x="15203" y="5822"/>
                      <a:pt x="15077" y="7452"/>
                    </a:cubicBezTo>
                    <a:cubicBezTo>
                      <a:pt x="14892" y="10194"/>
                      <a:pt x="12278" y="12078"/>
                      <a:pt x="10066" y="12078"/>
                    </a:cubicBezTo>
                    <a:cubicBezTo>
                      <a:pt x="9103" y="12078"/>
                      <a:pt x="8216" y="11720"/>
                      <a:pt x="7639" y="10921"/>
                    </a:cubicBezTo>
                    <a:cubicBezTo>
                      <a:pt x="5804" y="8285"/>
                      <a:pt x="7405" y="3649"/>
                      <a:pt x="10641" y="3282"/>
                    </a:cubicBezTo>
                    <a:cubicBezTo>
                      <a:pt x="10834" y="3260"/>
                      <a:pt x="11021" y="3249"/>
                      <a:pt x="11201" y="3249"/>
                    </a:cubicBezTo>
                    <a:close/>
                    <a:moveTo>
                      <a:pt x="11176" y="0"/>
                    </a:moveTo>
                    <a:cubicBezTo>
                      <a:pt x="7435" y="0"/>
                      <a:pt x="4494" y="2722"/>
                      <a:pt x="3236" y="6251"/>
                    </a:cubicBezTo>
                    <a:cubicBezTo>
                      <a:pt x="1768" y="10620"/>
                      <a:pt x="3736" y="13423"/>
                      <a:pt x="2935" y="14223"/>
                    </a:cubicBezTo>
                    <a:cubicBezTo>
                      <a:pt x="2168" y="15057"/>
                      <a:pt x="0" y="17859"/>
                      <a:pt x="167" y="18593"/>
                    </a:cubicBezTo>
                    <a:cubicBezTo>
                      <a:pt x="200" y="18693"/>
                      <a:pt x="234" y="18793"/>
                      <a:pt x="367" y="18960"/>
                    </a:cubicBezTo>
                    <a:cubicBezTo>
                      <a:pt x="1067" y="19994"/>
                      <a:pt x="3669" y="22562"/>
                      <a:pt x="5404" y="22929"/>
                    </a:cubicBezTo>
                    <a:cubicBezTo>
                      <a:pt x="5471" y="22963"/>
                      <a:pt x="5537" y="22963"/>
                      <a:pt x="5604" y="22963"/>
                    </a:cubicBezTo>
                    <a:cubicBezTo>
                      <a:pt x="5693" y="22976"/>
                      <a:pt x="5777" y="22983"/>
                      <a:pt x="5857" y="22983"/>
                    </a:cubicBezTo>
                    <a:cubicBezTo>
                      <a:pt x="6170" y="22983"/>
                      <a:pt x="6419" y="22882"/>
                      <a:pt x="6605" y="22696"/>
                    </a:cubicBezTo>
                    <a:cubicBezTo>
                      <a:pt x="7505" y="21862"/>
                      <a:pt x="9006" y="19527"/>
                      <a:pt x="12709" y="15524"/>
                    </a:cubicBezTo>
                    <a:cubicBezTo>
                      <a:pt x="13977" y="14190"/>
                      <a:pt x="15378" y="12722"/>
                      <a:pt x="17146" y="11054"/>
                    </a:cubicBezTo>
                    <a:cubicBezTo>
                      <a:pt x="19681" y="8619"/>
                      <a:pt x="18647" y="1948"/>
                      <a:pt x="13743" y="413"/>
                    </a:cubicBezTo>
                    <a:cubicBezTo>
                      <a:pt x="12855" y="131"/>
                      <a:pt x="11996" y="0"/>
                      <a:pt x="1117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506" name="Google Shape;506;p24"/>
            <p:cNvGrpSpPr/>
            <p:nvPr/>
          </p:nvGrpSpPr>
          <p:grpSpPr>
            <a:xfrm rot="-3087821">
              <a:off x="7777062" y="948967"/>
              <a:ext cx="174274" cy="139950"/>
              <a:chOff x="2231838" y="3548381"/>
              <a:chExt cx="174277" cy="139952"/>
            </a:xfrm>
          </p:grpSpPr>
          <p:sp>
            <p:nvSpPr>
              <p:cNvPr id="507" name="Google Shape;507;p24"/>
              <p:cNvSpPr/>
              <p:nvPr/>
            </p:nvSpPr>
            <p:spPr>
              <a:xfrm rot="169907">
                <a:off x="2232935" y="3549178"/>
                <a:ext cx="33397" cy="45126"/>
              </a:xfrm>
              <a:custGeom>
                <a:avLst/>
                <a:gdLst/>
                <a:ahLst/>
                <a:cxnLst/>
                <a:rect l="l" t="t" r="r" b="b"/>
                <a:pathLst>
                  <a:path w="1336" h="1805" extrusionOk="0">
                    <a:moveTo>
                      <a:pt x="368" y="0"/>
                    </a:moveTo>
                    <a:cubicBezTo>
                      <a:pt x="301" y="0"/>
                      <a:pt x="201" y="67"/>
                      <a:pt x="168" y="67"/>
                    </a:cubicBezTo>
                    <a:cubicBezTo>
                      <a:pt x="134" y="67"/>
                      <a:pt x="101" y="101"/>
                      <a:pt x="101" y="101"/>
                    </a:cubicBezTo>
                    <a:cubicBezTo>
                      <a:pt x="34" y="101"/>
                      <a:pt x="1" y="167"/>
                      <a:pt x="34" y="234"/>
                    </a:cubicBezTo>
                    <a:cubicBezTo>
                      <a:pt x="34" y="258"/>
                      <a:pt x="68" y="281"/>
                      <a:pt x="111" y="281"/>
                    </a:cubicBezTo>
                    <a:cubicBezTo>
                      <a:pt x="129" y="281"/>
                      <a:pt x="148" y="277"/>
                      <a:pt x="168" y="267"/>
                    </a:cubicBezTo>
                    <a:lnTo>
                      <a:pt x="535" y="267"/>
                    </a:lnTo>
                    <a:cubicBezTo>
                      <a:pt x="601" y="267"/>
                      <a:pt x="635" y="301"/>
                      <a:pt x="668" y="301"/>
                    </a:cubicBezTo>
                    <a:cubicBezTo>
                      <a:pt x="701" y="301"/>
                      <a:pt x="768" y="334"/>
                      <a:pt x="768" y="334"/>
                    </a:cubicBezTo>
                    <a:cubicBezTo>
                      <a:pt x="768" y="334"/>
                      <a:pt x="801" y="334"/>
                      <a:pt x="801" y="401"/>
                    </a:cubicBezTo>
                    <a:cubicBezTo>
                      <a:pt x="501" y="401"/>
                      <a:pt x="201" y="634"/>
                      <a:pt x="168" y="1001"/>
                    </a:cubicBezTo>
                    <a:cubicBezTo>
                      <a:pt x="134" y="1401"/>
                      <a:pt x="334" y="1768"/>
                      <a:pt x="668" y="1802"/>
                    </a:cubicBezTo>
                    <a:cubicBezTo>
                      <a:pt x="689" y="1804"/>
                      <a:pt x="710" y="1805"/>
                      <a:pt x="731" y="1805"/>
                    </a:cubicBezTo>
                    <a:cubicBezTo>
                      <a:pt x="1038" y="1805"/>
                      <a:pt x="1304" y="1574"/>
                      <a:pt x="1335" y="1168"/>
                    </a:cubicBezTo>
                    <a:cubicBezTo>
                      <a:pt x="1335" y="934"/>
                      <a:pt x="1302" y="768"/>
                      <a:pt x="1302" y="701"/>
                    </a:cubicBezTo>
                    <a:cubicBezTo>
                      <a:pt x="1302" y="668"/>
                      <a:pt x="1268" y="634"/>
                      <a:pt x="1268" y="568"/>
                    </a:cubicBezTo>
                    <a:cubicBezTo>
                      <a:pt x="1268" y="501"/>
                      <a:pt x="1235" y="434"/>
                      <a:pt x="1168" y="401"/>
                    </a:cubicBezTo>
                    <a:cubicBezTo>
                      <a:pt x="1135" y="334"/>
                      <a:pt x="1102" y="267"/>
                      <a:pt x="1068" y="234"/>
                    </a:cubicBezTo>
                    <a:cubicBezTo>
                      <a:pt x="1002" y="167"/>
                      <a:pt x="935" y="134"/>
                      <a:pt x="868" y="101"/>
                    </a:cubicBezTo>
                    <a:cubicBezTo>
                      <a:pt x="835" y="67"/>
                      <a:pt x="768" y="67"/>
                      <a:pt x="7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08" name="Google Shape;508;p24"/>
              <p:cNvSpPr/>
              <p:nvPr/>
            </p:nvSpPr>
            <p:spPr>
              <a:xfrm rot="636863">
                <a:off x="2320363" y="3551427"/>
                <a:ext cx="33375" cy="45151"/>
              </a:xfrm>
              <a:custGeom>
                <a:avLst/>
                <a:gdLst/>
                <a:ahLst/>
                <a:cxnLst/>
                <a:rect l="l" t="t" r="r" b="b"/>
                <a:pathLst>
                  <a:path w="1335" h="1806" extrusionOk="0">
                    <a:moveTo>
                      <a:pt x="368" y="1"/>
                    </a:moveTo>
                    <a:cubicBezTo>
                      <a:pt x="301" y="1"/>
                      <a:pt x="201" y="67"/>
                      <a:pt x="167" y="67"/>
                    </a:cubicBezTo>
                    <a:cubicBezTo>
                      <a:pt x="134" y="67"/>
                      <a:pt x="67" y="101"/>
                      <a:pt x="67" y="101"/>
                    </a:cubicBezTo>
                    <a:cubicBezTo>
                      <a:pt x="34" y="101"/>
                      <a:pt x="1" y="167"/>
                      <a:pt x="34" y="234"/>
                    </a:cubicBezTo>
                    <a:cubicBezTo>
                      <a:pt x="34" y="258"/>
                      <a:pt x="51" y="281"/>
                      <a:pt x="96" y="281"/>
                    </a:cubicBezTo>
                    <a:cubicBezTo>
                      <a:pt x="114" y="281"/>
                      <a:pt x="138" y="277"/>
                      <a:pt x="167" y="267"/>
                    </a:cubicBezTo>
                    <a:lnTo>
                      <a:pt x="534" y="267"/>
                    </a:lnTo>
                    <a:cubicBezTo>
                      <a:pt x="568" y="267"/>
                      <a:pt x="634" y="301"/>
                      <a:pt x="668" y="301"/>
                    </a:cubicBezTo>
                    <a:cubicBezTo>
                      <a:pt x="701" y="301"/>
                      <a:pt x="734" y="334"/>
                      <a:pt x="734" y="334"/>
                    </a:cubicBezTo>
                    <a:cubicBezTo>
                      <a:pt x="734" y="334"/>
                      <a:pt x="801" y="334"/>
                      <a:pt x="801" y="401"/>
                    </a:cubicBezTo>
                    <a:cubicBezTo>
                      <a:pt x="501" y="401"/>
                      <a:pt x="201" y="634"/>
                      <a:pt x="167" y="1001"/>
                    </a:cubicBezTo>
                    <a:cubicBezTo>
                      <a:pt x="134" y="1402"/>
                      <a:pt x="334" y="1769"/>
                      <a:pt x="668" y="1802"/>
                    </a:cubicBezTo>
                    <a:cubicBezTo>
                      <a:pt x="689" y="1804"/>
                      <a:pt x="710" y="1805"/>
                      <a:pt x="730" y="1805"/>
                    </a:cubicBezTo>
                    <a:cubicBezTo>
                      <a:pt x="1038" y="1805"/>
                      <a:pt x="1304" y="1574"/>
                      <a:pt x="1335" y="1168"/>
                    </a:cubicBezTo>
                    <a:cubicBezTo>
                      <a:pt x="1335" y="935"/>
                      <a:pt x="1302" y="768"/>
                      <a:pt x="1302" y="734"/>
                    </a:cubicBezTo>
                    <a:cubicBezTo>
                      <a:pt x="1302" y="668"/>
                      <a:pt x="1268" y="634"/>
                      <a:pt x="1268" y="568"/>
                    </a:cubicBezTo>
                    <a:cubicBezTo>
                      <a:pt x="1268" y="501"/>
                      <a:pt x="1201" y="434"/>
                      <a:pt x="1168" y="401"/>
                    </a:cubicBezTo>
                    <a:cubicBezTo>
                      <a:pt x="1135" y="334"/>
                      <a:pt x="1101" y="267"/>
                      <a:pt x="1035" y="234"/>
                    </a:cubicBezTo>
                    <a:cubicBezTo>
                      <a:pt x="1001" y="167"/>
                      <a:pt x="935" y="134"/>
                      <a:pt x="868" y="101"/>
                    </a:cubicBezTo>
                    <a:cubicBezTo>
                      <a:pt x="835" y="67"/>
                      <a:pt x="768" y="67"/>
                      <a:pt x="70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09" name="Google Shape;509;p24"/>
              <p:cNvSpPr/>
              <p:nvPr/>
            </p:nvSpPr>
            <p:spPr>
              <a:xfrm rot="-2918318">
                <a:off x="2333968" y="3617992"/>
                <a:ext cx="61083" cy="57097"/>
              </a:xfrm>
              <a:custGeom>
                <a:avLst/>
                <a:gdLst/>
                <a:ahLst/>
                <a:cxnLst/>
                <a:rect l="l" t="t" r="r" b="b"/>
                <a:pathLst>
                  <a:path w="3937" h="3756" extrusionOk="0">
                    <a:moveTo>
                      <a:pt x="2006" y="1"/>
                    </a:moveTo>
                    <a:cubicBezTo>
                      <a:pt x="1052" y="1"/>
                      <a:pt x="225" y="677"/>
                      <a:pt x="100" y="1645"/>
                    </a:cubicBezTo>
                    <a:cubicBezTo>
                      <a:pt x="0" y="2679"/>
                      <a:pt x="701" y="3613"/>
                      <a:pt x="1735" y="3746"/>
                    </a:cubicBezTo>
                    <a:cubicBezTo>
                      <a:pt x="1801" y="3753"/>
                      <a:pt x="1866" y="3756"/>
                      <a:pt x="1931" y="3756"/>
                    </a:cubicBezTo>
                    <a:cubicBezTo>
                      <a:pt x="2885" y="3756"/>
                      <a:pt x="3711" y="3080"/>
                      <a:pt x="3836" y="2112"/>
                    </a:cubicBezTo>
                    <a:cubicBezTo>
                      <a:pt x="3936" y="1078"/>
                      <a:pt x="3203" y="144"/>
                      <a:pt x="2202" y="10"/>
                    </a:cubicBezTo>
                    <a:cubicBezTo>
                      <a:pt x="2136" y="4"/>
                      <a:pt x="2071" y="1"/>
                      <a:pt x="20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10" name="Google Shape;510;p24"/>
              <p:cNvSpPr/>
              <p:nvPr/>
            </p:nvSpPr>
            <p:spPr>
              <a:xfrm rot="-210849">
                <a:off x="2256538" y="3621618"/>
                <a:ext cx="74231" cy="38049"/>
              </a:xfrm>
              <a:custGeom>
                <a:avLst/>
                <a:gdLst/>
                <a:ahLst/>
                <a:cxnLst/>
                <a:rect l="l" t="t" r="r" b="b"/>
                <a:pathLst>
                  <a:path w="2969" h="1522" extrusionOk="0">
                    <a:moveTo>
                      <a:pt x="191" y="0"/>
                    </a:moveTo>
                    <a:cubicBezTo>
                      <a:pt x="173" y="0"/>
                      <a:pt x="153" y="4"/>
                      <a:pt x="134" y="14"/>
                    </a:cubicBezTo>
                    <a:cubicBezTo>
                      <a:pt x="33" y="14"/>
                      <a:pt x="0" y="81"/>
                      <a:pt x="0" y="181"/>
                    </a:cubicBezTo>
                    <a:cubicBezTo>
                      <a:pt x="67" y="514"/>
                      <a:pt x="234" y="815"/>
                      <a:pt x="467" y="1048"/>
                    </a:cubicBezTo>
                    <a:cubicBezTo>
                      <a:pt x="667" y="1315"/>
                      <a:pt x="1001" y="1482"/>
                      <a:pt x="1368" y="1515"/>
                    </a:cubicBezTo>
                    <a:cubicBezTo>
                      <a:pt x="1409" y="1519"/>
                      <a:pt x="1453" y="1521"/>
                      <a:pt x="1497" y="1521"/>
                    </a:cubicBezTo>
                    <a:cubicBezTo>
                      <a:pt x="1807" y="1521"/>
                      <a:pt x="2164" y="1419"/>
                      <a:pt x="2368" y="1215"/>
                    </a:cubicBezTo>
                    <a:cubicBezTo>
                      <a:pt x="2669" y="981"/>
                      <a:pt x="2835" y="714"/>
                      <a:pt x="2936" y="381"/>
                    </a:cubicBezTo>
                    <a:cubicBezTo>
                      <a:pt x="2969" y="314"/>
                      <a:pt x="2936" y="281"/>
                      <a:pt x="2869" y="214"/>
                    </a:cubicBezTo>
                    <a:cubicBezTo>
                      <a:pt x="2852" y="181"/>
                      <a:pt x="2810" y="164"/>
                      <a:pt x="2769" y="164"/>
                    </a:cubicBezTo>
                    <a:cubicBezTo>
                      <a:pt x="2727" y="164"/>
                      <a:pt x="2685" y="181"/>
                      <a:pt x="2669" y="214"/>
                    </a:cubicBezTo>
                    <a:cubicBezTo>
                      <a:pt x="2502" y="448"/>
                      <a:pt x="2302" y="614"/>
                      <a:pt x="2102" y="714"/>
                    </a:cubicBezTo>
                    <a:cubicBezTo>
                      <a:pt x="1923" y="816"/>
                      <a:pt x="1764" y="860"/>
                      <a:pt x="1610" y="860"/>
                    </a:cubicBezTo>
                    <a:cubicBezTo>
                      <a:pt x="1562" y="860"/>
                      <a:pt x="1515" y="856"/>
                      <a:pt x="1468" y="848"/>
                    </a:cubicBezTo>
                    <a:cubicBezTo>
                      <a:pt x="1268" y="848"/>
                      <a:pt x="1034" y="748"/>
                      <a:pt x="834" y="614"/>
                    </a:cubicBezTo>
                    <a:cubicBezTo>
                      <a:pt x="634" y="481"/>
                      <a:pt x="467" y="281"/>
                      <a:pt x="300" y="47"/>
                    </a:cubicBezTo>
                    <a:cubicBezTo>
                      <a:pt x="277" y="24"/>
                      <a:pt x="236" y="0"/>
                      <a:pt x="19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511" name="Google Shape;511;p24"/>
            <p:cNvSpPr/>
            <p:nvPr/>
          </p:nvSpPr>
          <p:spPr>
            <a:xfrm rot="-6006351">
              <a:off x="7778412" y="1081027"/>
              <a:ext cx="61085" cy="57102"/>
            </a:xfrm>
            <a:custGeom>
              <a:avLst/>
              <a:gdLst/>
              <a:ahLst/>
              <a:cxnLst/>
              <a:rect l="l" t="t" r="r" b="b"/>
              <a:pathLst>
                <a:path w="3937" h="3756" extrusionOk="0">
                  <a:moveTo>
                    <a:pt x="2006" y="1"/>
                  </a:moveTo>
                  <a:cubicBezTo>
                    <a:pt x="1052" y="1"/>
                    <a:pt x="225" y="677"/>
                    <a:pt x="100" y="1645"/>
                  </a:cubicBezTo>
                  <a:cubicBezTo>
                    <a:pt x="0" y="2679"/>
                    <a:pt x="701" y="3613"/>
                    <a:pt x="1735" y="3746"/>
                  </a:cubicBezTo>
                  <a:cubicBezTo>
                    <a:pt x="1801" y="3753"/>
                    <a:pt x="1866" y="3756"/>
                    <a:pt x="1931" y="3756"/>
                  </a:cubicBezTo>
                  <a:cubicBezTo>
                    <a:pt x="2885" y="3756"/>
                    <a:pt x="3711" y="3080"/>
                    <a:pt x="3836" y="2112"/>
                  </a:cubicBezTo>
                  <a:cubicBezTo>
                    <a:pt x="3936" y="1078"/>
                    <a:pt x="3203" y="144"/>
                    <a:pt x="2202" y="10"/>
                  </a:cubicBezTo>
                  <a:cubicBezTo>
                    <a:pt x="2136" y="4"/>
                    <a:pt x="2071" y="1"/>
                    <a:pt x="20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512" name="Google Shape;512;p24"/>
          <p:cNvSpPr/>
          <p:nvPr/>
        </p:nvSpPr>
        <p:spPr>
          <a:xfrm>
            <a:off x="7414368" y="1149033"/>
            <a:ext cx="2515833" cy="846667"/>
          </a:xfrm>
          <a:custGeom>
            <a:avLst/>
            <a:gdLst/>
            <a:ahLst/>
            <a:cxnLst/>
            <a:rect l="l" t="t" r="r" b="b"/>
            <a:pathLst>
              <a:path w="75475" h="25400" extrusionOk="0">
                <a:moveTo>
                  <a:pt x="75475" y="18869"/>
                </a:moveTo>
                <a:cubicBezTo>
                  <a:pt x="72935" y="19958"/>
                  <a:pt x="66404" y="25400"/>
                  <a:pt x="60235" y="25400"/>
                </a:cubicBezTo>
                <a:cubicBezTo>
                  <a:pt x="54066" y="25400"/>
                  <a:pt x="42817" y="22498"/>
                  <a:pt x="38463" y="18869"/>
                </a:cubicBezTo>
                <a:cubicBezTo>
                  <a:pt x="34109" y="15241"/>
                  <a:pt x="33383" y="6774"/>
                  <a:pt x="34109" y="3629"/>
                </a:cubicBezTo>
                <a:cubicBezTo>
                  <a:pt x="34835" y="484"/>
                  <a:pt x="40278" y="0"/>
                  <a:pt x="42818" y="0"/>
                </a:cubicBezTo>
                <a:cubicBezTo>
                  <a:pt x="45358" y="0"/>
                  <a:pt x="48261" y="1391"/>
                  <a:pt x="49349" y="3629"/>
                </a:cubicBezTo>
                <a:cubicBezTo>
                  <a:pt x="50438" y="5867"/>
                  <a:pt x="52131" y="10826"/>
                  <a:pt x="49349" y="13426"/>
                </a:cubicBezTo>
                <a:cubicBezTo>
                  <a:pt x="46567" y="16027"/>
                  <a:pt x="37920" y="21228"/>
                  <a:pt x="32658" y="19232"/>
                </a:cubicBezTo>
                <a:cubicBezTo>
                  <a:pt x="27397" y="17236"/>
                  <a:pt x="23223" y="2359"/>
                  <a:pt x="17780" y="1452"/>
                </a:cubicBezTo>
                <a:cubicBezTo>
                  <a:pt x="12337" y="545"/>
                  <a:pt x="2963" y="11733"/>
                  <a:pt x="0" y="13789"/>
                </a:cubicBezTo>
              </a:path>
            </a:pathLst>
          </a:custGeom>
          <a:noFill/>
          <a:ln w="19050" cap="flat" cmpd="sng">
            <a:solidFill>
              <a:schemeClr val="dk2"/>
            </a:solidFill>
            <a:prstDash val="dash"/>
            <a:round/>
            <a:headEnd type="none" w="med" len="med"/>
            <a:tailEnd type="none" w="med" len="med"/>
          </a:ln>
        </p:spPr>
      </p:sp>
      <p:sp>
        <p:nvSpPr>
          <p:cNvPr id="513" name="Google Shape;513;p24"/>
          <p:cNvSpPr/>
          <p:nvPr/>
        </p:nvSpPr>
        <p:spPr>
          <a:xfrm rot="-5400000">
            <a:off x="1243047" y="4010316"/>
            <a:ext cx="1685787" cy="4699368"/>
          </a:xfrm>
          <a:custGeom>
            <a:avLst/>
            <a:gdLst/>
            <a:ahLst/>
            <a:cxnLst/>
            <a:rect l="l" t="t" r="r" b="b"/>
            <a:pathLst>
              <a:path w="32605" h="90891" extrusionOk="0">
                <a:moveTo>
                  <a:pt x="0" y="1"/>
                </a:moveTo>
                <a:lnTo>
                  <a:pt x="0" y="90890"/>
                </a:lnTo>
                <a:cubicBezTo>
                  <a:pt x="7361" y="89757"/>
                  <a:pt x="16312" y="85062"/>
                  <a:pt x="19893" y="78557"/>
                </a:cubicBezTo>
                <a:cubicBezTo>
                  <a:pt x="23454" y="72032"/>
                  <a:pt x="23792" y="63836"/>
                  <a:pt x="20788" y="57033"/>
                </a:cubicBezTo>
                <a:cubicBezTo>
                  <a:pt x="18640" y="52239"/>
                  <a:pt x="15039" y="48260"/>
                  <a:pt x="12453" y="43705"/>
                </a:cubicBezTo>
                <a:cubicBezTo>
                  <a:pt x="9887" y="39130"/>
                  <a:pt x="8415" y="33341"/>
                  <a:pt x="10941" y="28746"/>
                </a:cubicBezTo>
                <a:cubicBezTo>
                  <a:pt x="12871" y="25205"/>
                  <a:pt x="16690" y="23176"/>
                  <a:pt x="20311" y="21445"/>
                </a:cubicBezTo>
                <a:cubicBezTo>
                  <a:pt x="23971" y="19734"/>
                  <a:pt x="27830" y="18023"/>
                  <a:pt x="30217" y="14761"/>
                </a:cubicBezTo>
                <a:cubicBezTo>
                  <a:pt x="32604" y="11538"/>
                  <a:pt x="29780" y="2189"/>
                  <a:pt x="26398" y="20"/>
                </a:cubicBezTo>
                <a:lnTo>
                  <a:pt x="0" y="1"/>
                </a:lnTo>
                <a:close/>
              </a:path>
            </a:pathLst>
          </a:custGeom>
          <a:solidFill>
            <a:schemeClr val="accent4"/>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514" name="Google Shape;514;p24"/>
          <p:cNvGrpSpPr/>
          <p:nvPr/>
        </p:nvGrpSpPr>
        <p:grpSpPr>
          <a:xfrm rot="-10132663">
            <a:off x="742630" y="5353577"/>
            <a:ext cx="337943" cy="384824"/>
            <a:chOff x="4670703" y="657266"/>
            <a:chExt cx="253461" cy="288623"/>
          </a:xfrm>
        </p:grpSpPr>
        <p:sp>
          <p:nvSpPr>
            <p:cNvPr id="515" name="Google Shape;515;p24"/>
            <p:cNvSpPr/>
            <p:nvPr/>
          </p:nvSpPr>
          <p:spPr>
            <a:xfrm>
              <a:off x="4670703" y="657266"/>
              <a:ext cx="53750" cy="53225"/>
            </a:xfrm>
            <a:custGeom>
              <a:avLst/>
              <a:gdLst/>
              <a:ahLst/>
              <a:cxnLst/>
              <a:rect l="l" t="t" r="r" b="b"/>
              <a:pathLst>
                <a:path w="2150" h="2129" extrusionOk="0">
                  <a:moveTo>
                    <a:pt x="1075" y="0"/>
                  </a:moveTo>
                  <a:cubicBezTo>
                    <a:pt x="478" y="0"/>
                    <a:pt x="1" y="478"/>
                    <a:pt x="1" y="1075"/>
                  </a:cubicBezTo>
                  <a:cubicBezTo>
                    <a:pt x="1" y="1671"/>
                    <a:pt x="478" y="2129"/>
                    <a:pt x="1075" y="2129"/>
                  </a:cubicBezTo>
                  <a:cubicBezTo>
                    <a:pt x="1672" y="2129"/>
                    <a:pt x="2149" y="1671"/>
                    <a:pt x="2149" y="1075"/>
                  </a:cubicBezTo>
                  <a:cubicBezTo>
                    <a:pt x="2149" y="478"/>
                    <a:pt x="1672" y="0"/>
                    <a:pt x="107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16" name="Google Shape;516;p24"/>
            <p:cNvSpPr/>
            <p:nvPr/>
          </p:nvSpPr>
          <p:spPr>
            <a:xfrm>
              <a:off x="4730866" y="751011"/>
              <a:ext cx="193299" cy="194878"/>
            </a:xfrm>
            <a:custGeom>
              <a:avLst/>
              <a:gdLst/>
              <a:ahLst/>
              <a:cxnLst/>
              <a:rect l="l" t="t" r="r" b="b"/>
              <a:pathLst>
                <a:path w="2488" h="2508" extrusionOk="0">
                  <a:moveTo>
                    <a:pt x="1254" y="1"/>
                  </a:moveTo>
                  <a:cubicBezTo>
                    <a:pt x="557" y="1"/>
                    <a:pt x="0" y="558"/>
                    <a:pt x="0" y="1254"/>
                  </a:cubicBezTo>
                  <a:cubicBezTo>
                    <a:pt x="0" y="1950"/>
                    <a:pt x="557" y="2507"/>
                    <a:pt x="1254" y="2507"/>
                  </a:cubicBezTo>
                  <a:cubicBezTo>
                    <a:pt x="1950" y="2507"/>
                    <a:pt x="2487" y="1950"/>
                    <a:pt x="2487" y="1254"/>
                  </a:cubicBezTo>
                  <a:cubicBezTo>
                    <a:pt x="2487" y="558"/>
                    <a:pt x="1950" y="1"/>
                    <a:pt x="125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517" name="Google Shape;517;p24"/>
          <p:cNvGrpSpPr/>
          <p:nvPr/>
        </p:nvGrpSpPr>
        <p:grpSpPr>
          <a:xfrm rot="4582755">
            <a:off x="10928537" y="5920341"/>
            <a:ext cx="558380" cy="467080"/>
            <a:chOff x="4259550" y="352000"/>
            <a:chExt cx="418775" cy="350302"/>
          </a:xfrm>
        </p:grpSpPr>
        <p:sp>
          <p:nvSpPr>
            <p:cNvPr id="518" name="Google Shape;518;p24"/>
            <p:cNvSpPr/>
            <p:nvPr/>
          </p:nvSpPr>
          <p:spPr>
            <a:xfrm>
              <a:off x="4624575" y="352000"/>
              <a:ext cx="53750" cy="53225"/>
            </a:xfrm>
            <a:custGeom>
              <a:avLst/>
              <a:gdLst/>
              <a:ahLst/>
              <a:cxnLst/>
              <a:rect l="l" t="t" r="r" b="b"/>
              <a:pathLst>
                <a:path w="2150" h="2129" extrusionOk="0">
                  <a:moveTo>
                    <a:pt x="1075" y="0"/>
                  </a:moveTo>
                  <a:cubicBezTo>
                    <a:pt x="478" y="0"/>
                    <a:pt x="1" y="478"/>
                    <a:pt x="1" y="1075"/>
                  </a:cubicBezTo>
                  <a:cubicBezTo>
                    <a:pt x="1" y="1671"/>
                    <a:pt x="478" y="2129"/>
                    <a:pt x="1075" y="2129"/>
                  </a:cubicBezTo>
                  <a:cubicBezTo>
                    <a:pt x="1672" y="2129"/>
                    <a:pt x="2149" y="1671"/>
                    <a:pt x="2149" y="1075"/>
                  </a:cubicBezTo>
                  <a:cubicBezTo>
                    <a:pt x="2149" y="478"/>
                    <a:pt x="1672" y="0"/>
                    <a:pt x="107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19" name="Google Shape;519;p24"/>
            <p:cNvSpPr/>
            <p:nvPr/>
          </p:nvSpPr>
          <p:spPr>
            <a:xfrm>
              <a:off x="4259550" y="485275"/>
              <a:ext cx="62200" cy="62700"/>
            </a:xfrm>
            <a:custGeom>
              <a:avLst/>
              <a:gdLst/>
              <a:ahLst/>
              <a:cxnLst/>
              <a:rect l="l" t="t" r="r" b="b"/>
              <a:pathLst>
                <a:path w="2488" h="2508" extrusionOk="0">
                  <a:moveTo>
                    <a:pt x="1254" y="1"/>
                  </a:moveTo>
                  <a:cubicBezTo>
                    <a:pt x="557" y="1"/>
                    <a:pt x="0" y="558"/>
                    <a:pt x="0" y="1254"/>
                  </a:cubicBezTo>
                  <a:cubicBezTo>
                    <a:pt x="0" y="1950"/>
                    <a:pt x="557" y="2507"/>
                    <a:pt x="1254" y="2507"/>
                  </a:cubicBezTo>
                  <a:cubicBezTo>
                    <a:pt x="1950" y="2507"/>
                    <a:pt x="2487" y="1950"/>
                    <a:pt x="2487" y="1254"/>
                  </a:cubicBezTo>
                  <a:cubicBezTo>
                    <a:pt x="2487" y="558"/>
                    <a:pt x="1950" y="1"/>
                    <a:pt x="125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20" name="Google Shape;520;p24"/>
            <p:cNvSpPr/>
            <p:nvPr/>
          </p:nvSpPr>
          <p:spPr>
            <a:xfrm>
              <a:off x="4503927" y="572104"/>
              <a:ext cx="130152" cy="130197"/>
            </a:xfrm>
            <a:custGeom>
              <a:avLst/>
              <a:gdLst/>
              <a:ahLst/>
              <a:cxnLst/>
              <a:rect l="l" t="t" r="r" b="b"/>
              <a:pathLst>
                <a:path w="2845" h="2846" extrusionOk="0">
                  <a:moveTo>
                    <a:pt x="1432" y="1"/>
                  </a:moveTo>
                  <a:cubicBezTo>
                    <a:pt x="656" y="1"/>
                    <a:pt x="0" y="618"/>
                    <a:pt x="0" y="1413"/>
                  </a:cubicBezTo>
                  <a:cubicBezTo>
                    <a:pt x="0" y="2189"/>
                    <a:pt x="637" y="2846"/>
                    <a:pt x="1432" y="2846"/>
                  </a:cubicBezTo>
                  <a:cubicBezTo>
                    <a:pt x="2188" y="2846"/>
                    <a:pt x="2845" y="2209"/>
                    <a:pt x="2845" y="1413"/>
                  </a:cubicBezTo>
                  <a:cubicBezTo>
                    <a:pt x="2845" y="618"/>
                    <a:pt x="2188" y="1"/>
                    <a:pt x="143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521" name="Google Shape;521;p24"/>
          <p:cNvGrpSpPr/>
          <p:nvPr/>
        </p:nvGrpSpPr>
        <p:grpSpPr>
          <a:xfrm rot="9402217">
            <a:off x="10261614" y="1944554"/>
            <a:ext cx="327977" cy="296209"/>
            <a:chOff x="4947100" y="881950"/>
            <a:chExt cx="245975" cy="222150"/>
          </a:xfrm>
        </p:grpSpPr>
        <p:sp>
          <p:nvSpPr>
            <p:cNvPr id="522" name="Google Shape;522;p24"/>
            <p:cNvSpPr/>
            <p:nvPr/>
          </p:nvSpPr>
          <p:spPr>
            <a:xfrm>
              <a:off x="5166350" y="881950"/>
              <a:ext cx="26725" cy="152625"/>
            </a:xfrm>
            <a:custGeom>
              <a:avLst/>
              <a:gdLst/>
              <a:ahLst/>
              <a:cxnLst/>
              <a:rect l="l" t="t" r="r" b="b"/>
              <a:pathLst>
                <a:path w="1069" h="6105" extrusionOk="0">
                  <a:moveTo>
                    <a:pt x="461" y="1"/>
                  </a:moveTo>
                  <a:cubicBezTo>
                    <a:pt x="335" y="1"/>
                    <a:pt x="205" y="69"/>
                    <a:pt x="168" y="199"/>
                  </a:cubicBezTo>
                  <a:cubicBezTo>
                    <a:pt x="1" y="599"/>
                    <a:pt x="68" y="1133"/>
                    <a:pt x="101" y="1600"/>
                  </a:cubicBezTo>
                  <a:lnTo>
                    <a:pt x="234" y="3101"/>
                  </a:lnTo>
                  <a:cubicBezTo>
                    <a:pt x="334" y="4068"/>
                    <a:pt x="535" y="5036"/>
                    <a:pt x="735" y="5970"/>
                  </a:cubicBezTo>
                  <a:cubicBezTo>
                    <a:pt x="750" y="6061"/>
                    <a:pt x="822" y="6104"/>
                    <a:pt x="894" y="6104"/>
                  </a:cubicBezTo>
                  <a:cubicBezTo>
                    <a:pt x="980" y="6104"/>
                    <a:pt x="1068" y="6045"/>
                    <a:pt x="1068" y="5936"/>
                  </a:cubicBezTo>
                  <a:cubicBezTo>
                    <a:pt x="1035" y="4969"/>
                    <a:pt x="1035" y="4035"/>
                    <a:pt x="935" y="3034"/>
                  </a:cubicBezTo>
                  <a:cubicBezTo>
                    <a:pt x="902" y="2534"/>
                    <a:pt x="902" y="2067"/>
                    <a:pt x="868" y="1567"/>
                  </a:cubicBezTo>
                  <a:cubicBezTo>
                    <a:pt x="868" y="1100"/>
                    <a:pt x="902" y="566"/>
                    <a:pt x="701" y="132"/>
                  </a:cubicBezTo>
                  <a:cubicBezTo>
                    <a:pt x="657" y="44"/>
                    <a:pt x="561" y="1"/>
                    <a:pt x="46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23" name="Google Shape;523;p24"/>
            <p:cNvSpPr/>
            <p:nvPr/>
          </p:nvSpPr>
          <p:spPr>
            <a:xfrm>
              <a:off x="5046275" y="939575"/>
              <a:ext cx="78175" cy="118175"/>
            </a:xfrm>
            <a:custGeom>
              <a:avLst/>
              <a:gdLst/>
              <a:ahLst/>
              <a:cxnLst/>
              <a:rect l="l" t="t" r="r" b="b"/>
              <a:pathLst>
                <a:path w="3127" h="4727" extrusionOk="0">
                  <a:moveTo>
                    <a:pt x="163" y="1"/>
                  </a:moveTo>
                  <a:cubicBezTo>
                    <a:pt x="75" y="1"/>
                    <a:pt x="0" y="73"/>
                    <a:pt x="0" y="196"/>
                  </a:cubicBezTo>
                  <a:cubicBezTo>
                    <a:pt x="0" y="1029"/>
                    <a:pt x="501" y="1797"/>
                    <a:pt x="968" y="2464"/>
                  </a:cubicBezTo>
                  <a:cubicBezTo>
                    <a:pt x="1502" y="3198"/>
                    <a:pt x="2035" y="3965"/>
                    <a:pt x="2636" y="4665"/>
                  </a:cubicBezTo>
                  <a:cubicBezTo>
                    <a:pt x="2687" y="4708"/>
                    <a:pt x="2748" y="4727"/>
                    <a:pt x="2806" y="4727"/>
                  </a:cubicBezTo>
                  <a:cubicBezTo>
                    <a:pt x="2974" y="4727"/>
                    <a:pt x="3126" y="4572"/>
                    <a:pt x="3003" y="4399"/>
                  </a:cubicBezTo>
                  <a:cubicBezTo>
                    <a:pt x="2536" y="3598"/>
                    <a:pt x="2035" y="2831"/>
                    <a:pt x="1568" y="2097"/>
                  </a:cubicBezTo>
                  <a:lnTo>
                    <a:pt x="968" y="1096"/>
                  </a:lnTo>
                  <a:cubicBezTo>
                    <a:pt x="734" y="763"/>
                    <a:pt x="568" y="362"/>
                    <a:pt x="334" y="95"/>
                  </a:cubicBezTo>
                  <a:cubicBezTo>
                    <a:pt x="282" y="30"/>
                    <a:pt x="220" y="1"/>
                    <a:pt x="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24" name="Google Shape;524;p24"/>
            <p:cNvSpPr/>
            <p:nvPr/>
          </p:nvSpPr>
          <p:spPr>
            <a:xfrm>
              <a:off x="4947100" y="1017725"/>
              <a:ext cx="137100" cy="86375"/>
            </a:xfrm>
            <a:custGeom>
              <a:avLst/>
              <a:gdLst/>
              <a:ahLst/>
              <a:cxnLst/>
              <a:rect l="l" t="t" r="r" b="b"/>
              <a:pathLst>
                <a:path w="5484" h="3455" extrusionOk="0">
                  <a:moveTo>
                    <a:pt x="223" y="1"/>
                  </a:moveTo>
                  <a:cubicBezTo>
                    <a:pt x="82" y="1"/>
                    <a:pt x="1" y="153"/>
                    <a:pt x="31" y="305"/>
                  </a:cubicBezTo>
                  <a:cubicBezTo>
                    <a:pt x="298" y="705"/>
                    <a:pt x="799" y="1006"/>
                    <a:pt x="1199" y="1273"/>
                  </a:cubicBezTo>
                  <a:cubicBezTo>
                    <a:pt x="1632" y="1539"/>
                    <a:pt x="2033" y="1806"/>
                    <a:pt x="2466" y="2040"/>
                  </a:cubicBezTo>
                  <a:cubicBezTo>
                    <a:pt x="3334" y="2607"/>
                    <a:pt x="4268" y="3107"/>
                    <a:pt x="5268" y="3441"/>
                  </a:cubicBezTo>
                  <a:cubicBezTo>
                    <a:pt x="5291" y="3450"/>
                    <a:pt x="5313" y="3454"/>
                    <a:pt x="5332" y="3454"/>
                  </a:cubicBezTo>
                  <a:cubicBezTo>
                    <a:pt x="5450" y="3454"/>
                    <a:pt x="5483" y="3294"/>
                    <a:pt x="5368" y="3207"/>
                  </a:cubicBezTo>
                  <a:cubicBezTo>
                    <a:pt x="4535" y="2640"/>
                    <a:pt x="3667" y="2140"/>
                    <a:pt x="2800" y="1573"/>
                  </a:cubicBezTo>
                  <a:cubicBezTo>
                    <a:pt x="2366" y="1339"/>
                    <a:pt x="1966" y="1039"/>
                    <a:pt x="1532" y="739"/>
                  </a:cubicBezTo>
                  <a:cubicBezTo>
                    <a:pt x="1165" y="505"/>
                    <a:pt x="698" y="138"/>
                    <a:pt x="265" y="5"/>
                  </a:cubicBezTo>
                  <a:cubicBezTo>
                    <a:pt x="250" y="2"/>
                    <a:pt x="236" y="1"/>
                    <a:pt x="22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251829219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itle and text 5">
  <p:cSld name="Title and text 5">
    <p:bg>
      <p:bgPr>
        <a:blipFill>
          <a:blip r:embed="rId2">
            <a:alphaModFix/>
          </a:blip>
          <a:stretch>
            <a:fillRect/>
          </a:stretch>
        </a:blipFill>
        <a:effectLst/>
      </p:bgPr>
    </p:bg>
    <p:spTree>
      <p:nvGrpSpPr>
        <p:cNvPr id="1" name="Shape 525"/>
        <p:cNvGrpSpPr/>
        <p:nvPr/>
      </p:nvGrpSpPr>
      <p:grpSpPr>
        <a:xfrm>
          <a:off x="0" y="0"/>
          <a:ext cx="0" cy="0"/>
          <a:chOff x="0" y="0"/>
          <a:chExt cx="0" cy="0"/>
        </a:xfrm>
      </p:grpSpPr>
      <p:grpSp>
        <p:nvGrpSpPr>
          <p:cNvPr id="526" name="Google Shape;526;p25"/>
          <p:cNvGrpSpPr/>
          <p:nvPr/>
        </p:nvGrpSpPr>
        <p:grpSpPr>
          <a:xfrm rot="8100000">
            <a:off x="5588258" y="1291016"/>
            <a:ext cx="422356" cy="331744"/>
            <a:chOff x="4181197" y="354494"/>
            <a:chExt cx="316771" cy="248811"/>
          </a:xfrm>
        </p:grpSpPr>
        <p:sp>
          <p:nvSpPr>
            <p:cNvPr id="527" name="Google Shape;527;p25"/>
            <p:cNvSpPr/>
            <p:nvPr/>
          </p:nvSpPr>
          <p:spPr>
            <a:xfrm>
              <a:off x="4181197" y="550080"/>
              <a:ext cx="53750" cy="53225"/>
            </a:xfrm>
            <a:custGeom>
              <a:avLst/>
              <a:gdLst/>
              <a:ahLst/>
              <a:cxnLst/>
              <a:rect l="l" t="t" r="r" b="b"/>
              <a:pathLst>
                <a:path w="2150" h="2129" extrusionOk="0">
                  <a:moveTo>
                    <a:pt x="1075" y="0"/>
                  </a:moveTo>
                  <a:cubicBezTo>
                    <a:pt x="478" y="0"/>
                    <a:pt x="1" y="478"/>
                    <a:pt x="1" y="1075"/>
                  </a:cubicBezTo>
                  <a:cubicBezTo>
                    <a:pt x="1" y="1671"/>
                    <a:pt x="478" y="2129"/>
                    <a:pt x="1075" y="2129"/>
                  </a:cubicBezTo>
                  <a:cubicBezTo>
                    <a:pt x="1672" y="2129"/>
                    <a:pt x="2149" y="1671"/>
                    <a:pt x="2149" y="1075"/>
                  </a:cubicBezTo>
                  <a:cubicBezTo>
                    <a:pt x="2149" y="478"/>
                    <a:pt x="1672" y="0"/>
                    <a:pt x="107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28" name="Google Shape;528;p25"/>
            <p:cNvSpPr/>
            <p:nvPr/>
          </p:nvSpPr>
          <p:spPr>
            <a:xfrm>
              <a:off x="4257040" y="354494"/>
              <a:ext cx="62200" cy="62700"/>
            </a:xfrm>
            <a:custGeom>
              <a:avLst/>
              <a:gdLst/>
              <a:ahLst/>
              <a:cxnLst/>
              <a:rect l="l" t="t" r="r" b="b"/>
              <a:pathLst>
                <a:path w="2488" h="2508" extrusionOk="0">
                  <a:moveTo>
                    <a:pt x="1254" y="1"/>
                  </a:moveTo>
                  <a:cubicBezTo>
                    <a:pt x="557" y="1"/>
                    <a:pt x="0" y="558"/>
                    <a:pt x="0" y="1254"/>
                  </a:cubicBezTo>
                  <a:cubicBezTo>
                    <a:pt x="0" y="1950"/>
                    <a:pt x="557" y="2507"/>
                    <a:pt x="1254" y="2507"/>
                  </a:cubicBezTo>
                  <a:cubicBezTo>
                    <a:pt x="1950" y="2507"/>
                    <a:pt x="2487" y="1950"/>
                    <a:pt x="2487" y="1254"/>
                  </a:cubicBezTo>
                  <a:cubicBezTo>
                    <a:pt x="2487" y="558"/>
                    <a:pt x="1950" y="1"/>
                    <a:pt x="125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29" name="Google Shape;529;p25"/>
            <p:cNvSpPr/>
            <p:nvPr/>
          </p:nvSpPr>
          <p:spPr>
            <a:xfrm>
              <a:off x="4367816" y="426006"/>
              <a:ext cx="130152" cy="130197"/>
            </a:xfrm>
            <a:custGeom>
              <a:avLst/>
              <a:gdLst/>
              <a:ahLst/>
              <a:cxnLst/>
              <a:rect l="l" t="t" r="r" b="b"/>
              <a:pathLst>
                <a:path w="2845" h="2846" extrusionOk="0">
                  <a:moveTo>
                    <a:pt x="1432" y="1"/>
                  </a:moveTo>
                  <a:cubicBezTo>
                    <a:pt x="656" y="1"/>
                    <a:pt x="0" y="618"/>
                    <a:pt x="0" y="1413"/>
                  </a:cubicBezTo>
                  <a:cubicBezTo>
                    <a:pt x="0" y="2189"/>
                    <a:pt x="637" y="2846"/>
                    <a:pt x="1432" y="2846"/>
                  </a:cubicBezTo>
                  <a:cubicBezTo>
                    <a:pt x="2188" y="2846"/>
                    <a:pt x="2845" y="2209"/>
                    <a:pt x="2845" y="1413"/>
                  </a:cubicBezTo>
                  <a:cubicBezTo>
                    <a:pt x="2845" y="618"/>
                    <a:pt x="2188" y="1"/>
                    <a:pt x="143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530" name="Google Shape;530;p25"/>
          <p:cNvGrpSpPr/>
          <p:nvPr/>
        </p:nvGrpSpPr>
        <p:grpSpPr>
          <a:xfrm>
            <a:off x="791865" y="479152"/>
            <a:ext cx="2036568" cy="1441128"/>
            <a:chOff x="593898" y="359378"/>
            <a:chExt cx="1382912" cy="978584"/>
          </a:xfrm>
        </p:grpSpPr>
        <p:grpSp>
          <p:nvGrpSpPr>
            <p:cNvPr id="531" name="Google Shape;531;p25"/>
            <p:cNvGrpSpPr/>
            <p:nvPr/>
          </p:nvGrpSpPr>
          <p:grpSpPr>
            <a:xfrm flipH="1">
              <a:off x="593898" y="359378"/>
              <a:ext cx="1382912" cy="978584"/>
              <a:chOff x="3134075" y="691300"/>
              <a:chExt cx="1188375" cy="840925"/>
            </a:xfrm>
          </p:grpSpPr>
          <p:sp>
            <p:nvSpPr>
              <p:cNvPr id="532" name="Google Shape;532;p25"/>
              <p:cNvSpPr/>
              <p:nvPr/>
            </p:nvSpPr>
            <p:spPr>
              <a:xfrm>
                <a:off x="3671125" y="907750"/>
                <a:ext cx="146800" cy="508725"/>
              </a:xfrm>
              <a:custGeom>
                <a:avLst/>
                <a:gdLst/>
                <a:ahLst/>
                <a:cxnLst/>
                <a:rect l="l" t="t" r="r" b="b"/>
                <a:pathLst>
                  <a:path w="5872" h="20349" extrusionOk="0">
                    <a:moveTo>
                      <a:pt x="4837" y="1"/>
                    </a:moveTo>
                    <a:lnTo>
                      <a:pt x="1" y="20049"/>
                    </a:lnTo>
                    <a:cubicBezTo>
                      <a:pt x="1" y="20049"/>
                      <a:pt x="167" y="20215"/>
                      <a:pt x="1101" y="20349"/>
                    </a:cubicBezTo>
                    <a:cubicBezTo>
                      <a:pt x="1101" y="20349"/>
                      <a:pt x="5705" y="568"/>
                      <a:pt x="5871" y="368"/>
                    </a:cubicBezTo>
                    <a:cubicBezTo>
                      <a:pt x="5871" y="368"/>
                      <a:pt x="5438" y="234"/>
                      <a:pt x="483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33" name="Google Shape;533;p25"/>
              <p:cNvSpPr/>
              <p:nvPr/>
            </p:nvSpPr>
            <p:spPr>
              <a:xfrm>
                <a:off x="3697800" y="824625"/>
                <a:ext cx="587125" cy="673650"/>
              </a:xfrm>
              <a:custGeom>
                <a:avLst/>
                <a:gdLst/>
                <a:ahLst/>
                <a:cxnLst/>
                <a:rect l="l" t="t" r="r" b="b"/>
                <a:pathLst>
                  <a:path w="23485" h="26946" extrusionOk="0">
                    <a:moveTo>
                      <a:pt x="14965" y="1"/>
                    </a:moveTo>
                    <a:cubicBezTo>
                      <a:pt x="11637" y="1"/>
                      <a:pt x="7885" y="860"/>
                      <a:pt x="4804" y="3726"/>
                    </a:cubicBezTo>
                    <a:cubicBezTo>
                      <a:pt x="4671" y="3926"/>
                      <a:pt x="1" y="23707"/>
                      <a:pt x="1" y="23707"/>
                    </a:cubicBezTo>
                    <a:cubicBezTo>
                      <a:pt x="1" y="23707"/>
                      <a:pt x="1115" y="23394"/>
                      <a:pt x="3248" y="23394"/>
                    </a:cubicBezTo>
                    <a:cubicBezTo>
                      <a:pt x="6230" y="23394"/>
                      <a:pt x="11204" y="24006"/>
                      <a:pt x="17914" y="26943"/>
                    </a:cubicBezTo>
                    <a:lnTo>
                      <a:pt x="17947" y="26943"/>
                    </a:lnTo>
                    <a:cubicBezTo>
                      <a:pt x="17951" y="26944"/>
                      <a:pt x="17954" y="26945"/>
                      <a:pt x="17958" y="26945"/>
                    </a:cubicBezTo>
                    <a:cubicBezTo>
                      <a:pt x="18533" y="26945"/>
                      <a:pt x="22423" y="9790"/>
                      <a:pt x="23284" y="3826"/>
                    </a:cubicBezTo>
                    <a:cubicBezTo>
                      <a:pt x="23451" y="2659"/>
                      <a:pt x="23484" y="1891"/>
                      <a:pt x="23418" y="1858"/>
                    </a:cubicBezTo>
                    <a:cubicBezTo>
                      <a:pt x="23056" y="1516"/>
                      <a:pt x="19384" y="1"/>
                      <a:pt x="149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34" name="Google Shape;534;p25"/>
              <p:cNvSpPr/>
              <p:nvPr/>
            </p:nvSpPr>
            <p:spPr>
              <a:xfrm>
                <a:off x="3181600" y="691300"/>
                <a:ext cx="610475" cy="717675"/>
              </a:xfrm>
              <a:custGeom>
                <a:avLst/>
                <a:gdLst/>
                <a:ahLst/>
                <a:cxnLst/>
                <a:rect l="l" t="t" r="r" b="b"/>
                <a:pathLst>
                  <a:path w="24419" h="28707" extrusionOk="0">
                    <a:moveTo>
                      <a:pt x="9031" y="1"/>
                    </a:moveTo>
                    <a:cubicBezTo>
                      <a:pt x="8557" y="1"/>
                      <a:pt x="8071" y="17"/>
                      <a:pt x="7573" y="53"/>
                    </a:cubicBezTo>
                    <a:cubicBezTo>
                      <a:pt x="7440" y="53"/>
                      <a:pt x="7239" y="420"/>
                      <a:pt x="6939" y="1053"/>
                    </a:cubicBezTo>
                    <a:cubicBezTo>
                      <a:pt x="5004" y="5323"/>
                      <a:pt x="1" y="21535"/>
                      <a:pt x="501" y="22335"/>
                    </a:cubicBezTo>
                    <a:cubicBezTo>
                      <a:pt x="1035" y="23203"/>
                      <a:pt x="14378" y="24437"/>
                      <a:pt x="19548" y="28707"/>
                    </a:cubicBezTo>
                    <a:lnTo>
                      <a:pt x="24418" y="8659"/>
                    </a:lnTo>
                    <a:cubicBezTo>
                      <a:pt x="24418" y="8659"/>
                      <a:pt x="19768" y="1"/>
                      <a:pt x="903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35" name="Google Shape;535;p25"/>
              <p:cNvSpPr/>
              <p:nvPr/>
            </p:nvSpPr>
            <p:spPr>
              <a:xfrm>
                <a:off x="3697800" y="1408625"/>
                <a:ext cx="447850" cy="113775"/>
              </a:xfrm>
              <a:custGeom>
                <a:avLst/>
                <a:gdLst/>
                <a:ahLst/>
                <a:cxnLst/>
                <a:rect l="l" t="t" r="r" b="b"/>
                <a:pathLst>
                  <a:path w="17914" h="4551" extrusionOk="0">
                    <a:moveTo>
                      <a:pt x="3248" y="1"/>
                    </a:moveTo>
                    <a:cubicBezTo>
                      <a:pt x="1115" y="1"/>
                      <a:pt x="1" y="314"/>
                      <a:pt x="1" y="314"/>
                    </a:cubicBezTo>
                    <a:lnTo>
                      <a:pt x="168" y="747"/>
                    </a:lnTo>
                    <a:cubicBezTo>
                      <a:pt x="168" y="747"/>
                      <a:pt x="5138" y="1515"/>
                      <a:pt x="9941" y="2482"/>
                    </a:cubicBezTo>
                    <a:cubicBezTo>
                      <a:pt x="13077" y="3082"/>
                      <a:pt x="15812" y="4016"/>
                      <a:pt x="17480" y="4550"/>
                    </a:cubicBezTo>
                    <a:lnTo>
                      <a:pt x="17914" y="3549"/>
                    </a:lnTo>
                    <a:cubicBezTo>
                      <a:pt x="11204" y="613"/>
                      <a:pt x="6230" y="1"/>
                      <a:pt x="324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36" name="Google Shape;536;p25"/>
              <p:cNvSpPr/>
              <p:nvPr/>
            </p:nvSpPr>
            <p:spPr>
              <a:xfrm>
                <a:off x="4133950" y="918600"/>
                <a:ext cx="188500" cy="613625"/>
              </a:xfrm>
              <a:custGeom>
                <a:avLst/>
                <a:gdLst/>
                <a:ahLst/>
                <a:cxnLst/>
                <a:rect l="l" t="t" r="r" b="b"/>
                <a:pathLst>
                  <a:path w="7540" h="24545" extrusionOk="0">
                    <a:moveTo>
                      <a:pt x="5838" y="0"/>
                    </a:moveTo>
                    <a:cubicBezTo>
                      <a:pt x="4978" y="5959"/>
                      <a:pt x="1094" y="23153"/>
                      <a:pt x="514" y="23153"/>
                    </a:cubicBezTo>
                    <a:cubicBezTo>
                      <a:pt x="509" y="23153"/>
                      <a:pt x="505" y="23152"/>
                      <a:pt x="501" y="23150"/>
                    </a:cubicBezTo>
                    <a:cubicBezTo>
                      <a:pt x="468" y="23150"/>
                      <a:pt x="468" y="23150"/>
                      <a:pt x="434" y="23117"/>
                    </a:cubicBezTo>
                    <a:lnTo>
                      <a:pt x="1" y="24118"/>
                    </a:lnTo>
                    <a:cubicBezTo>
                      <a:pt x="824" y="24365"/>
                      <a:pt x="1377" y="24544"/>
                      <a:pt x="1565" y="24544"/>
                    </a:cubicBezTo>
                    <a:cubicBezTo>
                      <a:pt x="1606" y="24544"/>
                      <a:pt x="1629" y="24536"/>
                      <a:pt x="1635" y="24518"/>
                    </a:cubicBezTo>
                    <a:cubicBezTo>
                      <a:pt x="1969" y="24151"/>
                      <a:pt x="7539" y="1001"/>
                      <a:pt x="7306" y="668"/>
                    </a:cubicBezTo>
                    <a:cubicBezTo>
                      <a:pt x="7106" y="334"/>
                      <a:pt x="5938" y="34"/>
                      <a:pt x="5838"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37" name="Google Shape;537;p25"/>
              <p:cNvSpPr/>
              <p:nvPr/>
            </p:nvSpPr>
            <p:spPr>
              <a:xfrm>
                <a:off x="3134075" y="707575"/>
                <a:ext cx="567100" cy="725475"/>
              </a:xfrm>
              <a:custGeom>
                <a:avLst/>
                <a:gdLst/>
                <a:ahLst/>
                <a:cxnLst/>
                <a:rect l="l" t="t" r="r" b="b"/>
                <a:pathLst>
                  <a:path w="22684" h="29019" extrusionOk="0">
                    <a:moveTo>
                      <a:pt x="7087" y="0"/>
                    </a:moveTo>
                    <a:cubicBezTo>
                      <a:pt x="6960" y="0"/>
                      <a:pt x="6860" y="20"/>
                      <a:pt x="6805" y="69"/>
                    </a:cubicBezTo>
                    <a:cubicBezTo>
                      <a:pt x="6505" y="336"/>
                      <a:pt x="1" y="22051"/>
                      <a:pt x="734" y="22752"/>
                    </a:cubicBezTo>
                    <a:cubicBezTo>
                      <a:pt x="1101" y="23119"/>
                      <a:pt x="6172" y="24119"/>
                      <a:pt x="11175" y="25454"/>
                    </a:cubicBezTo>
                    <a:cubicBezTo>
                      <a:pt x="16145" y="26788"/>
                      <a:pt x="20982" y="28456"/>
                      <a:pt x="20982" y="28456"/>
                    </a:cubicBezTo>
                    <a:cubicBezTo>
                      <a:pt x="20982" y="28456"/>
                      <a:pt x="21339" y="29019"/>
                      <a:pt x="21967" y="29019"/>
                    </a:cubicBezTo>
                    <a:cubicBezTo>
                      <a:pt x="22177" y="29019"/>
                      <a:pt x="22417" y="28956"/>
                      <a:pt x="22683" y="28789"/>
                    </a:cubicBezTo>
                    <a:lnTo>
                      <a:pt x="22517" y="28356"/>
                    </a:lnTo>
                    <a:cubicBezTo>
                      <a:pt x="21616" y="28222"/>
                      <a:pt x="21449" y="28056"/>
                      <a:pt x="21449" y="28056"/>
                    </a:cubicBezTo>
                    <a:cubicBezTo>
                      <a:pt x="16279" y="23786"/>
                      <a:pt x="2936" y="22552"/>
                      <a:pt x="2302" y="21684"/>
                    </a:cubicBezTo>
                    <a:cubicBezTo>
                      <a:pt x="1835" y="20884"/>
                      <a:pt x="6805" y="4639"/>
                      <a:pt x="8773" y="402"/>
                    </a:cubicBezTo>
                    <a:cubicBezTo>
                      <a:pt x="8773" y="402"/>
                      <a:pt x="7657" y="0"/>
                      <a:pt x="70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38" name="Google Shape;538;p25"/>
              <p:cNvSpPr/>
              <p:nvPr/>
            </p:nvSpPr>
            <p:spPr>
              <a:xfrm>
                <a:off x="3391750" y="745150"/>
                <a:ext cx="332775" cy="215400"/>
              </a:xfrm>
              <a:custGeom>
                <a:avLst/>
                <a:gdLst/>
                <a:ahLst/>
                <a:cxnLst/>
                <a:rect l="l" t="t" r="r" b="b"/>
                <a:pathLst>
                  <a:path w="13311" h="8616" extrusionOk="0">
                    <a:moveTo>
                      <a:pt x="4312" y="1150"/>
                    </a:moveTo>
                    <a:cubicBezTo>
                      <a:pt x="4384" y="1150"/>
                      <a:pt x="4443" y="1164"/>
                      <a:pt x="4471" y="1201"/>
                    </a:cubicBezTo>
                    <a:cubicBezTo>
                      <a:pt x="4537" y="1268"/>
                      <a:pt x="3870" y="1935"/>
                      <a:pt x="3837" y="2002"/>
                    </a:cubicBezTo>
                    <a:cubicBezTo>
                      <a:pt x="3670" y="2168"/>
                      <a:pt x="3303" y="2369"/>
                      <a:pt x="2870" y="2535"/>
                    </a:cubicBezTo>
                    <a:lnTo>
                      <a:pt x="2870" y="2435"/>
                    </a:lnTo>
                    <a:cubicBezTo>
                      <a:pt x="2936" y="1935"/>
                      <a:pt x="3303" y="1501"/>
                      <a:pt x="3770" y="1268"/>
                    </a:cubicBezTo>
                    <a:cubicBezTo>
                      <a:pt x="3842" y="1244"/>
                      <a:pt x="4123" y="1150"/>
                      <a:pt x="4312" y="1150"/>
                    </a:cubicBezTo>
                    <a:close/>
                    <a:moveTo>
                      <a:pt x="6968" y="2310"/>
                    </a:moveTo>
                    <a:cubicBezTo>
                      <a:pt x="7064" y="2310"/>
                      <a:pt x="7123" y="2385"/>
                      <a:pt x="7039" y="2669"/>
                    </a:cubicBezTo>
                    <a:cubicBezTo>
                      <a:pt x="7006" y="2735"/>
                      <a:pt x="6839" y="2869"/>
                      <a:pt x="6772" y="2902"/>
                    </a:cubicBezTo>
                    <a:cubicBezTo>
                      <a:pt x="6439" y="3169"/>
                      <a:pt x="6039" y="3436"/>
                      <a:pt x="5672" y="3669"/>
                    </a:cubicBezTo>
                    <a:cubicBezTo>
                      <a:pt x="5672" y="3369"/>
                      <a:pt x="5838" y="3069"/>
                      <a:pt x="6039" y="2869"/>
                    </a:cubicBezTo>
                    <a:cubicBezTo>
                      <a:pt x="6205" y="2702"/>
                      <a:pt x="6472" y="2502"/>
                      <a:pt x="6672" y="2402"/>
                    </a:cubicBezTo>
                    <a:cubicBezTo>
                      <a:pt x="6739" y="2385"/>
                      <a:pt x="6872" y="2310"/>
                      <a:pt x="6968" y="2310"/>
                    </a:cubicBezTo>
                    <a:close/>
                    <a:moveTo>
                      <a:pt x="9163" y="3584"/>
                    </a:moveTo>
                    <a:cubicBezTo>
                      <a:pt x="9183" y="3584"/>
                      <a:pt x="9199" y="3590"/>
                      <a:pt x="9207" y="3603"/>
                    </a:cubicBezTo>
                    <a:cubicBezTo>
                      <a:pt x="9274" y="3703"/>
                      <a:pt x="8707" y="4203"/>
                      <a:pt x="8674" y="4203"/>
                    </a:cubicBezTo>
                    <a:cubicBezTo>
                      <a:pt x="8507" y="4303"/>
                      <a:pt x="8307" y="4437"/>
                      <a:pt x="8140" y="4570"/>
                    </a:cubicBezTo>
                    <a:cubicBezTo>
                      <a:pt x="8207" y="4337"/>
                      <a:pt x="8340" y="4070"/>
                      <a:pt x="8607" y="3870"/>
                    </a:cubicBezTo>
                    <a:cubicBezTo>
                      <a:pt x="8665" y="3841"/>
                      <a:pt x="9026" y="3584"/>
                      <a:pt x="9163" y="3584"/>
                    </a:cubicBezTo>
                    <a:close/>
                    <a:moveTo>
                      <a:pt x="11030" y="4725"/>
                    </a:moveTo>
                    <a:cubicBezTo>
                      <a:pt x="11054" y="4725"/>
                      <a:pt x="11081" y="4729"/>
                      <a:pt x="11109" y="4737"/>
                    </a:cubicBezTo>
                    <a:cubicBezTo>
                      <a:pt x="11109" y="4770"/>
                      <a:pt x="11142" y="4870"/>
                      <a:pt x="11142" y="4904"/>
                    </a:cubicBezTo>
                    <a:cubicBezTo>
                      <a:pt x="11209" y="5037"/>
                      <a:pt x="11209" y="5104"/>
                      <a:pt x="11109" y="5204"/>
                    </a:cubicBezTo>
                    <a:cubicBezTo>
                      <a:pt x="10975" y="5404"/>
                      <a:pt x="10642" y="5604"/>
                      <a:pt x="10442" y="5771"/>
                    </a:cubicBezTo>
                    <a:cubicBezTo>
                      <a:pt x="10342" y="5838"/>
                      <a:pt x="10275" y="5904"/>
                      <a:pt x="10175" y="5938"/>
                    </a:cubicBezTo>
                    <a:cubicBezTo>
                      <a:pt x="10208" y="5604"/>
                      <a:pt x="10375" y="5237"/>
                      <a:pt x="10642" y="5037"/>
                    </a:cubicBezTo>
                    <a:cubicBezTo>
                      <a:pt x="10759" y="4920"/>
                      <a:pt x="10851" y="4725"/>
                      <a:pt x="11030" y="4725"/>
                    </a:cubicBezTo>
                    <a:close/>
                    <a:moveTo>
                      <a:pt x="2836" y="0"/>
                    </a:moveTo>
                    <a:cubicBezTo>
                      <a:pt x="1969" y="0"/>
                      <a:pt x="1002" y="234"/>
                      <a:pt x="468" y="1001"/>
                    </a:cubicBezTo>
                    <a:cubicBezTo>
                      <a:pt x="101" y="1535"/>
                      <a:pt x="1" y="2369"/>
                      <a:pt x="468" y="2902"/>
                    </a:cubicBezTo>
                    <a:cubicBezTo>
                      <a:pt x="754" y="3207"/>
                      <a:pt x="1138" y="3316"/>
                      <a:pt x="1539" y="3316"/>
                    </a:cubicBezTo>
                    <a:cubicBezTo>
                      <a:pt x="1840" y="3316"/>
                      <a:pt x="2150" y="3255"/>
                      <a:pt x="2436" y="3169"/>
                    </a:cubicBezTo>
                    <a:cubicBezTo>
                      <a:pt x="2636" y="3770"/>
                      <a:pt x="3170" y="4203"/>
                      <a:pt x="3837" y="4337"/>
                    </a:cubicBezTo>
                    <a:cubicBezTo>
                      <a:pt x="3953" y="4354"/>
                      <a:pt x="4065" y="4363"/>
                      <a:pt x="4172" y="4363"/>
                    </a:cubicBezTo>
                    <a:cubicBezTo>
                      <a:pt x="4467" y="4363"/>
                      <a:pt x="4736" y="4301"/>
                      <a:pt x="5004" y="4203"/>
                    </a:cubicBezTo>
                    <a:cubicBezTo>
                      <a:pt x="5038" y="4437"/>
                      <a:pt x="5171" y="4704"/>
                      <a:pt x="5371" y="4904"/>
                    </a:cubicBezTo>
                    <a:cubicBezTo>
                      <a:pt x="5781" y="5337"/>
                      <a:pt x="6329" y="5510"/>
                      <a:pt x="6865" y="5510"/>
                    </a:cubicBezTo>
                    <a:cubicBezTo>
                      <a:pt x="7072" y="5510"/>
                      <a:pt x="7278" y="5484"/>
                      <a:pt x="7473" y="5437"/>
                    </a:cubicBezTo>
                    <a:cubicBezTo>
                      <a:pt x="7473" y="5504"/>
                      <a:pt x="7473" y="5537"/>
                      <a:pt x="7506" y="5571"/>
                    </a:cubicBezTo>
                    <a:cubicBezTo>
                      <a:pt x="7776" y="6218"/>
                      <a:pt x="8350" y="6647"/>
                      <a:pt x="9001" y="6647"/>
                    </a:cubicBezTo>
                    <a:cubicBezTo>
                      <a:pt x="9156" y="6647"/>
                      <a:pt x="9314" y="6623"/>
                      <a:pt x="9474" y="6572"/>
                    </a:cubicBezTo>
                    <a:cubicBezTo>
                      <a:pt x="9508" y="6572"/>
                      <a:pt x="9608" y="6538"/>
                      <a:pt x="9641" y="6505"/>
                    </a:cubicBezTo>
                    <a:cubicBezTo>
                      <a:pt x="9708" y="6872"/>
                      <a:pt x="10008" y="7205"/>
                      <a:pt x="10475" y="7372"/>
                    </a:cubicBezTo>
                    <a:cubicBezTo>
                      <a:pt x="10629" y="7418"/>
                      <a:pt x="10776" y="7438"/>
                      <a:pt x="10918" y="7438"/>
                    </a:cubicBezTo>
                    <a:cubicBezTo>
                      <a:pt x="11296" y="7438"/>
                      <a:pt x="11636" y="7290"/>
                      <a:pt x="11976" y="7072"/>
                    </a:cubicBezTo>
                    <a:cubicBezTo>
                      <a:pt x="12009" y="7572"/>
                      <a:pt x="12276" y="8073"/>
                      <a:pt x="12510" y="8506"/>
                    </a:cubicBezTo>
                    <a:cubicBezTo>
                      <a:pt x="12567" y="8583"/>
                      <a:pt x="12654" y="8615"/>
                      <a:pt x="12746" y="8615"/>
                    </a:cubicBezTo>
                    <a:cubicBezTo>
                      <a:pt x="12974" y="8615"/>
                      <a:pt x="13229" y="8411"/>
                      <a:pt x="13110" y="8173"/>
                    </a:cubicBezTo>
                    <a:cubicBezTo>
                      <a:pt x="12843" y="7706"/>
                      <a:pt x="12510" y="6938"/>
                      <a:pt x="12710" y="6438"/>
                    </a:cubicBezTo>
                    <a:lnTo>
                      <a:pt x="13210" y="5938"/>
                    </a:lnTo>
                    <a:cubicBezTo>
                      <a:pt x="13310" y="5871"/>
                      <a:pt x="13310" y="5704"/>
                      <a:pt x="13177" y="5704"/>
                    </a:cubicBezTo>
                    <a:cubicBezTo>
                      <a:pt x="13154" y="5703"/>
                      <a:pt x="13132" y="5702"/>
                      <a:pt x="13110" y="5702"/>
                    </a:cubicBezTo>
                    <a:cubicBezTo>
                      <a:pt x="12613" y="5702"/>
                      <a:pt x="12269" y="6059"/>
                      <a:pt x="12110" y="6538"/>
                    </a:cubicBezTo>
                    <a:cubicBezTo>
                      <a:pt x="12110" y="6572"/>
                      <a:pt x="12110" y="6605"/>
                      <a:pt x="12043" y="6672"/>
                    </a:cubicBezTo>
                    <a:cubicBezTo>
                      <a:pt x="11722" y="6825"/>
                      <a:pt x="11365" y="6920"/>
                      <a:pt x="11050" y="6920"/>
                    </a:cubicBezTo>
                    <a:cubicBezTo>
                      <a:pt x="10612" y="6920"/>
                      <a:pt x="10252" y="6737"/>
                      <a:pt x="10175" y="6271"/>
                    </a:cubicBezTo>
                    <a:cubicBezTo>
                      <a:pt x="10442" y="6105"/>
                      <a:pt x="10675" y="5938"/>
                      <a:pt x="10875" y="5738"/>
                    </a:cubicBezTo>
                    <a:cubicBezTo>
                      <a:pt x="11142" y="5504"/>
                      <a:pt x="11576" y="5104"/>
                      <a:pt x="11542" y="4737"/>
                    </a:cubicBezTo>
                    <a:cubicBezTo>
                      <a:pt x="11509" y="4437"/>
                      <a:pt x="11209" y="4237"/>
                      <a:pt x="10909" y="4237"/>
                    </a:cubicBezTo>
                    <a:cubicBezTo>
                      <a:pt x="10508" y="4270"/>
                      <a:pt x="10141" y="4704"/>
                      <a:pt x="9908" y="5037"/>
                    </a:cubicBezTo>
                    <a:cubicBezTo>
                      <a:pt x="9708" y="5337"/>
                      <a:pt x="9641" y="5738"/>
                      <a:pt x="9641" y="6105"/>
                    </a:cubicBezTo>
                    <a:cubicBezTo>
                      <a:pt x="9541" y="6105"/>
                      <a:pt x="9474" y="6171"/>
                      <a:pt x="9374" y="6171"/>
                    </a:cubicBezTo>
                    <a:cubicBezTo>
                      <a:pt x="9352" y="6172"/>
                      <a:pt x="9329" y="6173"/>
                      <a:pt x="9307" y="6173"/>
                    </a:cubicBezTo>
                    <a:cubicBezTo>
                      <a:pt x="8678" y="6173"/>
                      <a:pt x="8269" y="5721"/>
                      <a:pt x="8140" y="5237"/>
                    </a:cubicBezTo>
                    <a:cubicBezTo>
                      <a:pt x="8474" y="5070"/>
                      <a:pt x="8807" y="4870"/>
                      <a:pt x="9041" y="4603"/>
                    </a:cubicBezTo>
                    <a:cubicBezTo>
                      <a:pt x="9308" y="4370"/>
                      <a:pt x="9708" y="4003"/>
                      <a:pt x="9708" y="3603"/>
                    </a:cubicBezTo>
                    <a:cubicBezTo>
                      <a:pt x="9724" y="3187"/>
                      <a:pt x="9472" y="3047"/>
                      <a:pt x="9161" y="3047"/>
                    </a:cubicBezTo>
                    <a:cubicBezTo>
                      <a:pt x="8823" y="3047"/>
                      <a:pt x="8415" y="3213"/>
                      <a:pt x="8207" y="3369"/>
                    </a:cubicBezTo>
                    <a:cubicBezTo>
                      <a:pt x="7773" y="3703"/>
                      <a:pt x="7406" y="4237"/>
                      <a:pt x="7373" y="4837"/>
                    </a:cubicBezTo>
                    <a:cubicBezTo>
                      <a:pt x="7306" y="4837"/>
                      <a:pt x="7239" y="4870"/>
                      <a:pt x="7173" y="4870"/>
                    </a:cubicBezTo>
                    <a:cubicBezTo>
                      <a:pt x="7076" y="4882"/>
                      <a:pt x="6978" y="4889"/>
                      <a:pt x="6879" y="4889"/>
                    </a:cubicBezTo>
                    <a:cubicBezTo>
                      <a:pt x="6431" y="4889"/>
                      <a:pt x="5978" y="4753"/>
                      <a:pt x="5705" y="4370"/>
                    </a:cubicBezTo>
                    <a:cubicBezTo>
                      <a:pt x="5638" y="4237"/>
                      <a:pt x="5572" y="4070"/>
                      <a:pt x="5538" y="3936"/>
                    </a:cubicBezTo>
                    <a:cubicBezTo>
                      <a:pt x="5805" y="3836"/>
                      <a:pt x="6039" y="3603"/>
                      <a:pt x="6305" y="3436"/>
                    </a:cubicBezTo>
                    <a:cubicBezTo>
                      <a:pt x="6572" y="3202"/>
                      <a:pt x="7673" y="2535"/>
                      <a:pt x="7273" y="2002"/>
                    </a:cubicBezTo>
                    <a:cubicBezTo>
                      <a:pt x="7156" y="1862"/>
                      <a:pt x="7006" y="1805"/>
                      <a:pt x="6839" y="1805"/>
                    </a:cubicBezTo>
                    <a:cubicBezTo>
                      <a:pt x="6290" y="1805"/>
                      <a:pt x="5568" y="2421"/>
                      <a:pt x="5338" y="2702"/>
                    </a:cubicBezTo>
                    <a:cubicBezTo>
                      <a:pt x="5038" y="3069"/>
                      <a:pt x="4938" y="3436"/>
                      <a:pt x="4938" y="3870"/>
                    </a:cubicBezTo>
                    <a:cubicBezTo>
                      <a:pt x="4802" y="3891"/>
                      <a:pt x="4664" y="3902"/>
                      <a:pt x="4527" y="3902"/>
                    </a:cubicBezTo>
                    <a:cubicBezTo>
                      <a:pt x="3819" y="3902"/>
                      <a:pt x="3132" y="3606"/>
                      <a:pt x="2936" y="2936"/>
                    </a:cubicBezTo>
                    <a:cubicBezTo>
                      <a:pt x="3637" y="2669"/>
                      <a:pt x="4638" y="2068"/>
                      <a:pt x="4804" y="1268"/>
                    </a:cubicBezTo>
                    <a:cubicBezTo>
                      <a:pt x="4880" y="929"/>
                      <a:pt x="4551" y="834"/>
                      <a:pt x="4191" y="834"/>
                    </a:cubicBezTo>
                    <a:cubicBezTo>
                      <a:pt x="3912" y="834"/>
                      <a:pt x="3615" y="891"/>
                      <a:pt x="3470" y="934"/>
                    </a:cubicBezTo>
                    <a:cubicBezTo>
                      <a:pt x="2703" y="1234"/>
                      <a:pt x="2269" y="1935"/>
                      <a:pt x="2336" y="2735"/>
                    </a:cubicBezTo>
                    <a:cubicBezTo>
                      <a:pt x="2084" y="2804"/>
                      <a:pt x="1832" y="2849"/>
                      <a:pt x="1606" y="2849"/>
                    </a:cubicBezTo>
                    <a:cubicBezTo>
                      <a:pt x="1173" y="2849"/>
                      <a:pt x="834" y="2684"/>
                      <a:pt x="768" y="2202"/>
                    </a:cubicBezTo>
                    <a:cubicBezTo>
                      <a:pt x="601" y="1001"/>
                      <a:pt x="2036" y="667"/>
                      <a:pt x="2936" y="334"/>
                    </a:cubicBezTo>
                    <a:cubicBezTo>
                      <a:pt x="3136" y="234"/>
                      <a:pt x="3036" y="0"/>
                      <a:pt x="283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39" name="Google Shape;539;p25"/>
              <p:cNvSpPr/>
              <p:nvPr/>
            </p:nvSpPr>
            <p:spPr>
              <a:xfrm>
                <a:off x="3363400" y="879850"/>
                <a:ext cx="316625" cy="129125"/>
              </a:xfrm>
              <a:custGeom>
                <a:avLst/>
                <a:gdLst/>
                <a:ahLst/>
                <a:cxnLst/>
                <a:rect l="l" t="t" r="r" b="b"/>
                <a:pathLst>
                  <a:path w="12665" h="5165" extrusionOk="0">
                    <a:moveTo>
                      <a:pt x="589" y="1"/>
                    </a:moveTo>
                    <a:cubicBezTo>
                      <a:pt x="494" y="1"/>
                      <a:pt x="398" y="5"/>
                      <a:pt x="301" y="16"/>
                    </a:cubicBezTo>
                    <a:cubicBezTo>
                      <a:pt x="101" y="49"/>
                      <a:pt x="1" y="350"/>
                      <a:pt x="234" y="450"/>
                    </a:cubicBezTo>
                    <a:cubicBezTo>
                      <a:pt x="668" y="616"/>
                      <a:pt x="1235" y="650"/>
                      <a:pt x="1669" y="783"/>
                    </a:cubicBezTo>
                    <a:cubicBezTo>
                      <a:pt x="2236" y="850"/>
                      <a:pt x="2769" y="983"/>
                      <a:pt x="3270" y="1117"/>
                    </a:cubicBezTo>
                    <a:cubicBezTo>
                      <a:pt x="4337" y="1384"/>
                      <a:pt x="5438" y="1717"/>
                      <a:pt x="6472" y="2151"/>
                    </a:cubicBezTo>
                    <a:cubicBezTo>
                      <a:pt x="8507" y="2951"/>
                      <a:pt x="10341" y="4119"/>
                      <a:pt x="12276" y="5153"/>
                    </a:cubicBezTo>
                    <a:cubicBezTo>
                      <a:pt x="12304" y="5161"/>
                      <a:pt x="12332" y="5165"/>
                      <a:pt x="12358" y="5165"/>
                    </a:cubicBezTo>
                    <a:cubicBezTo>
                      <a:pt x="12546" y="5165"/>
                      <a:pt x="12664" y="4970"/>
                      <a:pt x="12576" y="4853"/>
                    </a:cubicBezTo>
                    <a:cubicBezTo>
                      <a:pt x="10909" y="3352"/>
                      <a:pt x="8807" y="2318"/>
                      <a:pt x="6739" y="1517"/>
                    </a:cubicBezTo>
                    <a:cubicBezTo>
                      <a:pt x="5738" y="1150"/>
                      <a:pt x="4671" y="817"/>
                      <a:pt x="3603" y="516"/>
                    </a:cubicBezTo>
                    <a:cubicBezTo>
                      <a:pt x="3070" y="383"/>
                      <a:pt x="2503" y="283"/>
                      <a:pt x="2002" y="183"/>
                    </a:cubicBezTo>
                    <a:cubicBezTo>
                      <a:pt x="1555" y="127"/>
                      <a:pt x="1084" y="1"/>
                      <a:pt x="5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40" name="Google Shape;540;p25"/>
              <p:cNvSpPr/>
              <p:nvPr/>
            </p:nvSpPr>
            <p:spPr>
              <a:xfrm>
                <a:off x="3357575" y="972800"/>
                <a:ext cx="341100" cy="145125"/>
              </a:xfrm>
              <a:custGeom>
                <a:avLst/>
                <a:gdLst/>
                <a:ahLst/>
                <a:cxnLst/>
                <a:rect l="l" t="t" r="r" b="b"/>
                <a:pathLst>
                  <a:path w="13644" h="5805" extrusionOk="0">
                    <a:moveTo>
                      <a:pt x="167" y="1"/>
                    </a:moveTo>
                    <a:cubicBezTo>
                      <a:pt x="34" y="1"/>
                      <a:pt x="0" y="167"/>
                      <a:pt x="134" y="234"/>
                    </a:cubicBezTo>
                    <a:cubicBezTo>
                      <a:pt x="2502" y="801"/>
                      <a:pt x="4837" y="1468"/>
                      <a:pt x="7072" y="2436"/>
                    </a:cubicBezTo>
                    <a:cubicBezTo>
                      <a:pt x="8173" y="2869"/>
                      <a:pt x="9240" y="3370"/>
                      <a:pt x="10308" y="3970"/>
                    </a:cubicBezTo>
                    <a:cubicBezTo>
                      <a:pt x="10808" y="4270"/>
                      <a:pt x="11342" y="4571"/>
                      <a:pt x="11842" y="4838"/>
                    </a:cubicBezTo>
                    <a:cubicBezTo>
                      <a:pt x="12376" y="5171"/>
                      <a:pt x="12876" y="5571"/>
                      <a:pt x="13410" y="5805"/>
                    </a:cubicBezTo>
                    <a:cubicBezTo>
                      <a:pt x="13577" y="5805"/>
                      <a:pt x="13643" y="5671"/>
                      <a:pt x="13543" y="5605"/>
                    </a:cubicBezTo>
                    <a:cubicBezTo>
                      <a:pt x="12743" y="4771"/>
                      <a:pt x="11542" y="4170"/>
                      <a:pt x="10541" y="3603"/>
                    </a:cubicBezTo>
                    <a:cubicBezTo>
                      <a:pt x="9474" y="2969"/>
                      <a:pt x="8340" y="2436"/>
                      <a:pt x="7205" y="1969"/>
                    </a:cubicBezTo>
                    <a:cubicBezTo>
                      <a:pt x="4970" y="1068"/>
                      <a:pt x="2569" y="301"/>
                      <a:pt x="16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41" name="Google Shape;541;p25"/>
              <p:cNvSpPr/>
              <p:nvPr/>
            </p:nvSpPr>
            <p:spPr>
              <a:xfrm>
                <a:off x="3315875" y="1085925"/>
                <a:ext cx="354450" cy="137200"/>
              </a:xfrm>
              <a:custGeom>
                <a:avLst/>
                <a:gdLst/>
                <a:ahLst/>
                <a:cxnLst/>
                <a:rect l="l" t="t" r="r" b="b"/>
                <a:pathLst>
                  <a:path w="14178" h="5488" extrusionOk="0">
                    <a:moveTo>
                      <a:pt x="2095" y="1"/>
                    </a:moveTo>
                    <a:cubicBezTo>
                      <a:pt x="1447" y="1"/>
                      <a:pt x="802" y="47"/>
                      <a:pt x="167" y="146"/>
                    </a:cubicBezTo>
                    <a:cubicBezTo>
                      <a:pt x="0" y="212"/>
                      <a:pt x="0" y="446"/>
                      <a:pt x="201" y="446"/>
                    </a:cubicBezTo>
                    <a:cubicBezTo>
                      <a:pt x="2802" y="446"/>
                      <a:pt x="5371" y="746"/>
                      <a:pt x="7806" y="1714"/>
                    </a:cubicBezTo>
                    <a:cubicBezTo>
                      <a:pt x="8973" y="2147"/>
                      <a:pt x="10141" y="2748"/>
                      <a:pt x="11175" y="3448"/>
                    </a:cubicBezTo>
                    <a:cubicBezTo>
                      <a:pt x="11709" y="3815"/>
                      <a:pt x="12209" y="4215"/>
                      <a:pt x="12676" y="4616"/>
                    </a:cubicBezTo>
                    <a:cubicBezTo>
                      <a:pt x="13025" y="4901"/>
                      <a:pt x="13434" y="5488"/>
                      <a:pt x="13875" y="5488"/>
                    </a:cubicBezTo>
                    <a:cubicBezTo>
                      <a:pt x="13898" y="5488"/>
                      <a:pt x="13921" y="5486"/>
                      <a:pt x="13944" y="5483"/>
                    </a:cubicBezTo>
                    <a:cubicBezTo>
                      <a:pt x="14077" y="5450"/>
                      <a:pt x="14177" y="5283"/>
                      <a:pt x="14177" y="5149"/>
                    </a:cubicBezTo>
                    <a:cubicBezTo>
                      <a:pt x="14177" y="4616"/>
                      <a:pt x="13377" y="4149"/>
                      <a:pt x="13010" y="3882"/>
                    </a:cubicBezTo>
                    <a:cubicBezTo>
                      <a:pt x="12509" y="3481"/>
                      <a:pt x="12009" y="3148"/>
                      <a:pt x="11509" y="2814"/>
                    </a:cubicBezTo>
                    <a:cubicBezTo>
                      <a:pt x="10341" y="2114"/>
                      <a:pt x="9140" y="1480"/>
                      <a:pt x="7873" y="1080"/>
                    </a:cubicBezTo>
                    <a:cubicBezTo>
                      <a:pt x="6065" y="427"/>
                      <a:pt x="4068" y="1"/>
                      <a:pt x="209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42" name="Google Shape;542;p25"/>
              <p:cNvSpPr/>
              <p:nvPr/>
            </p:nvSpPr>
            <p:spPr>
              <a:xfrm>
                <a:off x="3440125" y="1197125"/>
                <a:ext cx="150750" cy="50175"/>
              </a:xfrm>
              <a:custGeom>
                <a:avLst/>
                <a:gdLst/>
                <a:ahLst/>
                <a:cxnLst/>
                <a:rect l="l" t="t" r="r" b="b"/>
                <a:pathLst>
                  <a:path w="6030" h="2007" extrusionOk="0">
                    <a:moveTo>
                      <a:pt x="67" y="1"/>
                    </a:moveTo>
                    <a:cubicBezTo>
                      <a:pt x="1" y="1"/>
                      <a:pt x="1" y="168"/>
                      <a:pt x="67" y="168"/>
                    </a:cubicBezTo>
                    <a:cubicBezTo>
                      <a:pt x="2102" y="334"/>
                      <a:pt x="4037" y="1035"/>
                      <a:pt x="5838" y="2002"/>
                    </a:cubicBezTo>
                    <a:cubicBezTo>
                      <a:pt x="5847" y="2005"/>
                      <a:pt x="5856" y="2007"/>
                      <a:pt x="5865" y="2007"/>
                    </a:cubicBezTo>
                    <a:cubicBezTo>
                      <a:pt x="5955" y="2007"/>
                      <a:pt x="6029" y="1866"/>
                      <a:pt x="5938" y="1835"/>
                    </a:cubicBezTo>
                    <a:cubicBezTo>
                      <a:pt x="4270" y="535"/>
                      <a:pt x="2202" y="1"/>
                      <a:pt x="6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543" name="Google Shape;543;p25"/>
            <p:cNvGrpSpPr/>
            <p:nvPr/>
          </p:nvGrpSpPr>
          <p:grpSpPr>
            <a:xfrm rot="-2700000">
              <a:off x="838948" y="840954"/>
              <a:ext cx="310902" cy="239933"/>
              <a:chOff x="4882422" y="4353914"/>
              <a:chExt cx="235250" cy="181550"/>
            </a:xfrm>
          </p:grpSpPr>
          <p:sp>
            <p:nvSpPr>
              <p:cNvPr id="544" name="Google Shape;544;p25"/>
              <p:cNvSpPr/>
              <p:nvPr/>
            </p:nvSpPr>
            <p:spPr>
              <a:xfrm>
                <a:off x="4990847" y="4415089"/>
                <a:ext cx="39300" cy="35825"/>
              </a:xfrm>
              <a:custGeom>
                <a:avLst/>
                <a:gdLst/>
                <a:ahLst/>
                <a:cxnLst/>
                <a:rect l="l" t="t" r="r" b="b"/>
                <a:pathLst>
                  <a:path w="1572" h="1433" fill="none" extrusionOk="0">
                    <a:moveTo>
                      <a:pt x="219" y="0"/>
                    </a:moveTo>
                    <a:cubicBezTo>
                      <a:pt x="0" y="796"/>
                      <a:pt x="856" y="1433"/>
                      <a:pt x="1572" y="1075"/>
                    </a:cubicBezTo>
                  </a:path>
                </a:pathLst>
              </a:custGeom>
              <a:solidFill>
                <a:schemeClr val="lt2"/>
              </a:solidFill>
              <a:ln w="17900"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45" name="Google Shape;545;p25"/>
              <p:cNvSpPr/>
              <p:nvPr/>
            </p:nvSpPr>
            <p:spPr>
              <a:xfrm>
                <a:off x="4976422" y="4364364"/>
                <a:ext cx="31850" cy="29000"/>
              </a:xfrm>
              <a:custGeom>
                <a:avLst/>
                <a:gdLst/>
                <a:ahLst/>
                <a:cxnLst/>
                <a:rect l="l" t="t" r="r" b="b"/>
                <a:pathLst>
                  <a:path w="1274" h="1160" extrusionOk="0">
                    <a:moveTo>
                      <a:pt x="647" y="0"/>
                    </a:moveTo>
                    <a:cubicBezTo>
                      <a:pt x="498" y="0"/>
                      <a:pt x="348" y="60"/>
                      <a:pt x="239" y="179"/>
                    </a:cubicBezTo>
                    <a:cubicBezTo>
                      <a:pt x="0" y="398"/>
                      <a:pt x="0" y="776"/>
                      <a:pt x="239" y="995"/>
                    </a:cubicBezTo>
                    <a:cubicBezTo>
                      <a:pt x="348" y="1104"/>
                      <a:pt x="498" y="1159"/>
                      <a:pt x="647" y="1159"/>
                    </a:cubicBezTo>
                    <a:cubicBezTo>
                      <a:pt x="796" y="1159"/>
                      <a:pt x="945" y="1104"/>
                      <a:pt x="1055" y="995"/>
                    </a:cubicBezTo>
                    <a:cubicBezTo>
                      <a:pt x="1273" y="776"/>
                      <a:pt x="1273" y="398"/>
                      <a:pt x="1055" y="179"/>
                    </a:cubicBezTo>
                    <a:cubicBezTo>
                      <a:pt x="945" y="60"/>
                      <a:pt x="796" y="0"/>
                      <a:pt x="64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46" name="Google Shape;546;p25"/>
              <p:cNvSpPr/>
              <p:nvPr/>
            </p:nvSpPr>
            <p:spPr>
              <a:xfrm>
                <a:off x="5050022" y="4414089"/>
                <a:ext cx="31850" cy="29000"/>
              </a:xfrm>
              <a:custGeom>
                <a:avLst/>
                <a:gdLst/>
                <a:ahLst/>
                <a:cxnLst/>
                <a:rect l="l" t="t" r="r" b="b"/>
                <a:pathLst>
                  <a:path w="1274" h="1160" extrusionOk="0">
                    <a:moveTo>
                      <a:pt x="627" y="1"/>
                    </a:moveTo>
                    <a:cubicBezTo>
                      <a:pt x="478" y="1"/>
                      <a:pt x="329" y="60"/>
                      <a:pt x="219" y="180"/>
                    </a:cubicBezTo>
                    <a:cubicBezTo>
                      <a:pt x="0" y="398"/>
                      <a:pt x="0" y="776"/>
                      <a:pt x="219" y="995"/>
                    </a:cubicBezTo>
                    <a:cubicBezTo>
                      <a:pt x="329" y="1105"/>
                      <a:pt x="478" y="1159"/>
                      <a:pt x="627" y="1159"/>
                    </a:cubicBezTo>
                    <a:cubicBezTo>
                      <a:pt x="776" y="1159"/>
                      <a:pt x="925" y="1105"/>
                      <a:pt x="1035" y="995"/>
                    </a:cubicBezTo>
                    <a:cubicBezTo>
                      <a:pt x="1273" y="776"/>
                      <a:pt x="1273" y="398"/>
                      <a:pt x="1035" y="180"/>
                    </a:cubicBezTo>
                    <a:cubicBezTo>
                      <a:pt x="925" y="60"/>
                      <a:pt x="776" y="1"/>
                      <a:pt x="62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47" name="Google Shape;547;p25"/>
              <p:cNvSpPr/>
              <p:nvPr/>
            </p:nvSpPr>
            <p:spPr>
              <a:xfrm>
                <a:off x="5041572" y="4459339"/>
                <a:ext cx="76100" cy="76125"/>
              </a:xfrm>
              <a:custGeom>
                <a:avLst/>
                <a:gdLst/>
                <a:ahLst/>
                <a:cxnLst/>
                <a:rect l="l" t="t" r="r" b="b"/>
                <a:pathLst>
                  <a:path w="3044" h="3045" extrusionOk="0">
                    <a:moveTo>
                      <a:pt x="1532" y="1"/>
                    </a:moveTo>
                    <a:cubicBezTo>
                      <a:pt x="677" y="1"/>
                      <a:pt x="0" y="677"/>
                      <a:pt x="0" y="1513"/>
                    </a:cubicBezTo>
                    <a:cubicBezTo>
                      <a:pt x="0" y="2368"/>
                      <a:pt x="677" y="3044"/>
                      <a:pt x="1532" y="3044"/>
                    </a:cubicBezTo>
                    <a:cubicBezTo>
                      <a:pt x="2367" y="3044"/>
                      <a:pt x="3044" y="2368"/>
                      <a:pt x="3044" y="1513"/>
                    </a:cubicBezTo>
                    <a:cubicBezTo>
                      <a:pt x="3044" y="697"/>
                      <a:pt x="2367" y="1"/>
                      <a:pt x="153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48" name="Google Shape;548;p25"/>
              <p:cNvSpPr/>
              <p:nvPr/>
            </p:nvSpPr>
            <p:spPr>
              <a:xfrm>
                <a:off x="4882422" y="4353914"/>
                <a:ext cx="76125" cy="75625"/>
              </a:xfrm>
              <a:custGeom>
                <a:avLst/>
                <a:gdLst/>
                <a:ahLst/>
                <a:cxnLst/>
                <a:rect l="l" t="t" r="r" b="b"/>
                <a:pathLst>
                  <a:path w="3045" h="3025" extrusionOk="0">
                    <a:moveTo>
                      <a:pt x="1532" y="1"/>
                    </a:moveTo>
                    <a:cubicBezTo>
                      <a:pt x="677" y="1"/>
                      <a:pt x="1" y="657"/>
                      <a:pt x="1" y="1512"/>
                    </a:cubicBezTo>
                    <a:cubicBezTo>
                      <a:pt x="1" y="2348"/>
                      <a:pt x="677" y="3024"/>
                      <a:pt x="1532" y="3024"/>
                    </a:cubicBezTo>
                    <a:cubicBezTo>
                      <a:pt x="2368" y="3024"/>
                      <a:pt x="3044" y="2348"/>
                      <a:pt x="3044" y="1512"/>
                    </a:cubicBezTo>
                    <a:cubicBezTo>
                      <a:pt x="3044" y="697"/>
                      <a:pt x="2368" y="1"/>
                      <a:pt x="153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sp>
        <p:nvSpPr>
          <p:cNvPr id="549" name="Google Shape;549;p25"/>
          <p:cNvSpPr/>
          <p:nvPr/>
        </p:nvSpPr>
        <p:spPr>
          <a:xfrm rot="10800000">
            <a:off x="7" y="1920332"/>
            <a:ext cx="869860" cy="5357461"/>
          </a:xfrm>
          <a:custGeom>
            <a:avLst/>
            <a:gdLst/>
            <a:ahLst/>
            <a:cxnLst/>
            <a:rect l="l" t="t" r="r" b="b"/>
            <a:pathLst>
              <a:path w="18600" h="104829" extrusionOk="0">
                <a:moveTo>
                  <a:pt x="16360" y="1"/>
                </a:moveTo>
                <a:cubicBezTo>
                  <a:pt x="9962" y="1"/>
                  <a:pt x="4427" y="11283"/>
                  <a:pt x="3561" y="15670"/>
                </a:cubicBezTo>
                <a:cubicBezTo>
                  <a:pt x="1512" y="25875"/>
                  <a:pt x="9370" y="33772"/>
                  <a:pt x="10762" y="43341"/>
                </a:cubicBezTo>
                <a:cubicBezTo>
                  <a:pt x="11936" y="51337"/>
                  <a:pt x="10921" y="59692"/>
                  <a:pt x="7719" y="67132"/>
                </a:cubicBezTo>
                <a:cubicBezTo>
                  <a:pt x="5172" y="73120"/>
                  <a:pt x="1214" y="78750"/>
                  <a:pt x="657" y="85254"/>
                </a:cubicBezTo>
                <a:cubicBezTo>
                  <a:pt x="0" y="93609"/>
                  <a:pt x="9111" y="104590"/>
                  <a:pt x="18560" y="104829"/>
                </a:cubicBezTo>
                <a:lnTo>
                  <a:pt x="18560" y="104829"/>
                </a:lnTo>
                <a:cubicBezTo>
                  <a:pt x="18600" y="104809"/>
                  <a:pt x="18341" y="372"/>
                  <a:pt x="18341" y="372"/>
                </a:cubicBezTo>
                <a:cubicBezTo>
                  <a:pt x="17675" y="118"/>
                  <a:pt x="17013" y="1"/>
                  <a:pt x="16360" y="1"/>
                </a:cubicBez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550" name="Google Shape;550;p25"/>
          <p:cNvSpPr/>
          <p:nvPr/>
        </p:nvSpPr>
        <p:spPr>
          <a:xfrm>
            <a:off x="501665" y="5855761"/>
            <a:ext cx="458336" cy="404065"/>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551" name="Google Shape;551;p25"/>
          <p:cNvGrpSpPr/>
          <p:nvPr/>
        </p:nvGrpSpPr>
        <p:grpSpPr>
          <a:xfrm>
            <a:off x="2828434" y="1334086"/>
            <a:ext cx="341417" cy="425581"/>
            <a:chOff x="2121325" y="1000564"/>
            <a:chExt cx="256063" cy="319186"/>
          </a:xfrm>
        </p:grpSpPr>
        <p:sp>
          <p:nvSpPr>
            <p:cNvPr id="552" name="Google Shape;552;p25"/>
            <p:cNvSpPr/>
            <p:nvPr/>
          </p:nvSpPr>
          <p:spPr>
            <a:xfrm rot="-5400000">
              <a:off x="2283888" y="964664"/>
              <a:ext cx="57600" cy="129400"/>
            </a:xfrm>
            <a:custGeom>
              <a:avLst/>
              <a:gdLst/>
              <a:ahLst/>
              <a:cxnLst/>
              <a:rect l="l" t="t" r="r" b="b"/>
              <a:pathLst>
                <a:path w="2304" h="5176" extrusionOk="0">
                  <a:moveTo>
                    <a:pt x="1107" y="1"/>
                  </a:moveTo>
                  <a:cubicBezTo>
                    <a:pt x="725" y="1"/>
                    <a:pt x="361" y="211"/>
                    <a:pt x="254" y="700"/>
                  </a:cubicBezTo>
                  <a:cubicBezTo>
                    <a:pt x="0" y="1969"/>
                    <a:pt x="0" y="3209"/>
                    <a:pt x="224" y="4478"/>
                  </a:cubicBezTo>
                  <a:cubicBezTo>
                    <a:pt x="313" y="4965"/>
                    <a:pt x="663" y="5175"/>
                    <a:pt x="1039" y="5175"/>
                  </a:cubicBezTo>
                  <a:cubicBezTo>
                    <a:pt x="1610" y="5175"/>
                    <a:pt x="2241" y="4688"/>
                    <a:pt x="2106" y="3941"/>
                  </a:cubicBezTo>
                  <a:cubicBezTo>
                    <a:pt x="1942" y="3030"/>
                    <a:pt x="1957" y="2119"/>
                    <a:pt x="2151" y="1208"/>
                  </a:cubicBezTo>
                  <a:cubicBezTo>
                    <a:pt x="2304" y="480"/>
                    <a:pt x="1684" y="1"/>
                    <a:pt x="110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53" name="Google Shape;553;p25"/>
            <p:cNvSpPr/>
            <p:nvPr/>
          </p:nvSpPr>
          <p:spPr>
            <a:xfrm rot="-3370778">
              <a:off x="2225550" y="1076627"/>
              <a:ext cx="63151" cy="149252"/>
            </a:xfrm>
            <a:custGeom>
              <a:avLst/>
              <a:gdLst/>
              <a:ahLst/>
              <a:cxnLst/>
              <a:rect l="l" t="t" r="r" b="b"/>
              <a:pathLst>
                <a:path w="2526" h="5970" extrusionOk="0">
                  <a:moveTo>
                    <a:pt x="1338" y="0"/>
                  </a:moveTo>
                  <a:cubicBezTo>
                    <a:pt x="954" y="0"/>
                    <a:pt x="583" y="214"/>
                    <a:pt x="464" y="709"/>
                  </a:cubicBezTo>
                  <a:cubicBezTo>
                    <a:pt x="106" y="2128"/>
                    <a:pt x="1" y="3576"/>
                    <a:pt x="150" y="5040"/>
                  </a:cubicBezTo>
                  <a:cubicBezTo>
                    <a:pt x="218" y="5656"/>
                    <a:pt x="747" y="5970"/>
                    <a:pt x="1238" y="5970"/>
                  </a:cubicBezTo>
                  <a:cubicBezTo>
                    <a:pt x="1724" y="5970"/>
                    <a:pt x="2174" y="5664"/>
                    <a:pt x="2107" y="5040"/>
                  </a:cubicBezTo>
                  <a:cubicBezTo>
                    <a:pt x="1972" y="3756"/>
                    <a:pt x="2047" y="2486"/>
                    <a:pt x="2346" y="1231"/>
                  </a:cubicBezTo>
                  <a:cubicBezTo>
                    <a:pt x="2525" y="486"/>
                    <a:pt x="1917" y="0"/>
                    <a:pt x="133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54" name="Google Shape;554;p25"/>
            <p:cNvSpPr/>
            <p:nvPr/>
          </p:nvSpPr>
          <p:spPr>
            <a:xfrm>
              <a:off x="2121325" y="1162150"/>
              <a:ext cx="65825" cy="157600"/>
            </a:xfrm>
            <a:custGeom>
              <a:avLst/>
              <a:gdLst/>
              <a:ahLst/>
              <a:cxnLst/>
              <a:rect l="l" t="t" r="r" b="b"/>
              <a:pathLst>
                <a:path w="2633" h="6304" extrusionOk="0">
                  <a:moveTo>
                    <a:pt x="1092" y="0"/>
                  </a:moveTo>
                  <a:cubicBezTo>
                    <a:pt x="601" y="0"/>
                    <a:pt x="97" y="314"/>
                    <a:pt x="75" y="941"/>
                  </a:cubicBezTo>
                  <a:cubicBezTo>
                    <a:pt x="0" y="2510"/>
                    <a:pt x="164" y="4078"/>
                    <a:pt x="553" y="5616"/>
                  </a:cubicBezTo>
                  <a:cubicBezTo>
                    <a:pt x="677" y="6096"/>
                    <a:pt x="1051" y="6303"/>
                    <a:pt x="1435" y="6303"/>
                  </a:cubicBezTo>
                  <a:cubicBezTo>
                    <a:pt x="2021" y="6303"/>
                    <a:pt x="2633" y="5823"/>
                    <a:pt x="2435" y="5093"/>
                  </a:cubicBezTo>
                  <a:cubicBezTo>
                    <a:pt x="2106" y="3719"/>
                    <a:pt x="1972" y="2360"/>
                    <a:pt x="2031" y="941"/>
                  </a:cubicBezTo>
                  <a:cubicBezTo>
                    <a:pt x="2061" y="314"/>
                    <a:pt x="1583" y="0"/>
                    <a:pt x="109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555" name="Google Shape;555;p25"/>
          <p:cNvGrpSpPr/>
          <p:nvPr/>
        </p:nvGrpSpPr>
        <p:grpSpPr>
          <a:xfrm rot="-3818857">
            <a:off x="11251233" y="5891928"/>
            <a:ext cx="422369" cy="331755"/>
            <a:chOff x="4181197" y="354494"/>
            <a:chExt cx="316771" cy="248811"/>
          </a:xfrm>
        </p:grpSpPr>
        <p:sp>
          <p:nvSpPr>
            <p:cNvPr id="556" name="Google Shape;556;p25"/>
            <p:cNvSpPr/>
            <p:nvPr/>
          </p:nvSpPr>
          <p:spPr>
            <a:xfrm>
              <a:off x="4181197" y="550080"/>
              <a:ext cx="53750" cy="53225"/>
            </a:xfrm>
            <a:custGeom>
              <a:avLst/>
              <a:gdLst/>
              <a:ahLst/>
              <a:cxnLst/>
              <a:rect l="l" t="t" r="r" b="b"/>
              <a:pathLst>
                <a:path w="2150" h="2129" extrusionOk="0">
                  <a:moveTo>
                    <a:pt x="1075" y="0"/>
                  </a:moveTo>
                  <a:cubicBezTo>
                    <a:pt x="478" y="0"/>
                    <a:pt x="1" y="478"/>
                    <a:pt x="1" y="1075"/>
                  </a:cubicBezTo>
                  <a:cubicBezTo>
                    <a:pt x="1" y="1671"/>
                    <a:pt x="478" y="2129"/>
                    <a:pt x="1075" y="2129"/>
                  </a:cubicBezTo>
                  <a:cubicBezTo>
                    <a:pt x="1672" y="2129"/>
                    <a:pt x="2149" y="1671"/>
                    <a:pt x="2149" y="1075"/>
                  </a:cubicBezTo>
                  <a:cubicBezTo>
                    <a:pt x="2149" y="478"/>
                    <a:pt x="1672" y="0"/>
                    <a:pt x="107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57" name="Google Shape;557;p25"/>
            <p:cNvSpPr/>
            <p:nvPr/>
          </p:nvSpPr>
          <p:spPr>
            <a:xfrm>
              <a:off x="4257040" y="354494"/>
              <a:ext cx="62200" cy="62700"/>
            </a:xfrm>
            <a:custGeom>
              <a:avLst/>
              <a:gdLst/>
              <a:ahLst/>
              <a:cxnLst/>
              <a:rect l="l" t="t" r="r" b="b"/>
              <a:pathLst>
                <a:path w="2488" h="2508" extrusionOk="0">
                  <a:moveTo>
                    <a:pt x="1254" y="1"/>
                  </a:moveTo>
                  <a:cubicBezTo>
                    <a:pt x="557" y="1"/>
                    <a:pt x="0" y="558"/>
                    <a:pt x="0" y="1254"/>
                  </a:cubicBezTo>
                  <a:cubicBezTo>
                    <a:pt x="0" y="1950"/>
                    <a:pt x="557" y="2507"/>
                    <a:pt x="1254" y="2507"/>
                  </a:cubicBezTo>
                  <a:cubicBezTo>
                    <a:pt x="1950" y="2507"/>
                    <a:pt x="2487" y="1950"/>
                    <a:pt x="2487" y="1254"/>
                  </a:cubicBezTo>
                  <a:cubicBezTo>
                    <a:pt x="2487" y="558"/>
                    <a:pt x="1950" y="1"/>
                    <a:pt x="125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58" name="Google Shape;558;p25"/>
            <p:cNvSpPr/>
            <p:nvPr/>
          </p:nvSpPr>
          <p:spPr>
            <a:xfrm>
              <a:off x="4367816" y="426006"/>
              <a:ext cx="130152" cy="130197"/>
            </a:xfrm>
            <a:custGeom>
              <a:avLst/>
              <a:gdLst/>
              <a:ahLst/>
              <a:cxnLst/>
              <a:rect l="l" t="t" r="r" b="b"/>
              <a:pathLst>
                <a:path w="2845" h="2846" extrusionOk="0">
                  <a:moveTo>
                    <a:pt x="1432" y="1"/>
                  </a:moveTo>
                  <a:cubicBezTo>
                    <a:pt x="656" y="1"/>
                    <a:pt x="0" y="618"/>
                    <a:pt x="0" y="1413"/>
                  </a:cubicBezTo>
                  <a:cubicBezTo>
                    <a:pt x="0" y="2189"/>
                    <a:pt x="637" y="2846"/>
                    <a:pt x="1432" y="2846"/>
                  </a:cubicBezTo>
                  <a:cubicBezTo>
                    <a:pt x="2188" y="2846"/>
                    <a:pt x="2845" y="2209"/>
                    <a:pt x="2845" y="1413"/>
                  </a:cubicBezTo>
                  <a:cubicBezTo>
                    <a:pt x="2845" y="618"/>
                    <a:pt x="2188" y="1"/>
                    <a:pt x="14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559" name="Google Shape;559;p25"/>
          <p:cNvSpPr/>
          <p:nvPr/>
        </p:nvSpPr>
        <p:spPr>
          <a:xfrm>
            <a:off x="10842088" y="-439633"/>
            <a:ext cx="1747749" cy="1629872"/>
          </a:xfrm>
          <a:custGeom>
            <a:avLst/>
            <a:gdLst/>
            <a:ahLst/>
            <a:cxnLst/>
            <a:rect l="l" t="t" r="r" b="b"/>
            <a:pathLst>
              <a:path w="44540" h="41536" extrusionOk="0">
                <a:moveTo>
                  <a:pt x="29810" y="1"/>
                </a:moveTo>
                <a:cubicBezTo>
                  <a:pt x="18468" y="1"/>
                  <a:pt x="0" y="28135"/>
                  <a:pt x="4917" y="37113"/>
                </a:cubicBezTo>
                <a:cubicBezTo>
                  <a:pt x="5593" y="38327"/>
                  <a:pt x="7065" y="39043"/>
                  <a:pt x="8378" y="39520"/>
                </a:cubicBezTo>
                <a:cubicBezTo>
                  <a:pt x="12278" y="40914"/>
                  <a:pt x="15789" y="41536"/>
                  <a:pt x="18924" y="41536"/>
                </a:cubicBezTo>
                <a:cubicBezTo>
                  <a:pt x="41297" y="41536"/>
                  <a:pt x="44539" y="9881"/>
                  <a:pt x="33443" y="1227"/>
                </a:cubicBezTo>
                <a:cubicBezTo>
                  <a:pt x="32361" y="384"/>
                  <a:pt x="31134" y="1"/>
                  <a:pt x="29810" y="1"/>
                </a:cubicBezTo>
                <a:close/>
              </a:path>
            </a:pathLst>
          </a:custGeom>
          <a:solidFill>
            <a:schemeClr val="accent4"/>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560" name="Google Shape;560;p25"/>
          <p:cNvSpPr txBox="1">
            <a:spLocks noGrp="1"/>
          </p:cNvSpPr>
          <p:nvPr>
            <p:ph type="ctrTitle"/>
          </p:nvPr>
        </p:nvSpPr>
        <p:spPr>
          <a:xfrm flipH="1">
            <a:off x="3342200" y="3363433"/>
            <a:ext cx="2135200" cy="770400"/>
          </a:xfrm>
          <a:prstGeom prst="rect">
            <a:avLst/>
          </a:prstGeom>
        </p:spPr>
        <p:txBody>
          <a:bodyPr spcFirstLastPara="1" wrap="square" lIns="91425" tIns="91425" rIns="91425" bIns="91425" anchor="b" anchorCtr="0">
            <a:normAutofit/>
          </a:bodyPr>
          <a:lstStyle>
            <a:lvl1pPr lvl="0" algn="r" rtl="0">
              <a:spcBef>
                <a:spcPts val="0"/>
              </a:spcBef>
              <a:spcAft>
                <a:spcPts val="0"/>
              </a:spcAft>
              <a:buSzPts val="3300"/>
              <a:buNone/>
              <a:defRPr sz="4400"/>
            </a:lvl1pPr>
            <a:lvl2pPr lvl="1" algn="r" rtl="0">
              <a:spcBef>
                <a:spcPts val="0"/>
              </a:spcBef>
              <a:spcAft>
                <a:spcPts val="0"/>
              </a:spcAft>
              <a:buClr>
                <a:schemeClr val="dk2"/>
              </a:buClr>
              <a:buSzPts val="1800"/>
              <a:buNone/>
              <a:defRPr sz="2400">
                <a:solidFill>
                  <a:schemeClr val="dk2"/>
                </a:solidFill>
              </a:defRPr>
            </a:lvl2pPr>
            <a:lvl3pPr lvl="2" algn="r" rtl="0">
              <a:spcBef>
                <a:spcPts val="0"/>
              </a:spcBef>
              <a:spcAft>
                <a:spcPts val="0"/>
              </a:spcAft>
              <a:buClr>
                <a:schemeClr val="dk2"/>
              </a:buClr>
              <a:buSzPts val="1800"/>
              <a:buNone/>
              <a:defRPr sz="2400">
                <a:solidFill>
                  <a:schemeClr val="dk2"/>
                </a:solidFill>
              </a:defRPr>
            </a:lvl3pPr>
            <a:lvl4pPr lvl="3" algn="r" rtl="0">
              <a:spcBef>
                <a:spcPts val="0"/>
              </a:spcBef>
              <a:spcAft>
                <a:spcPts val="0"/>
              </a:spcAft>
              <a:buClr>
                <a:schemeClr val="dk2"/>
              </a:buClr>
              <a:buSzPts val="1800"/>
              <a:buNone/>
              <a:defRPr sz="2400">
                <a:solidFill>
                  <a:schemeClr val="dk2"/>
                </a:solidFill>
              </a:defRPr>
            </a:lvl4pPr>
            <a:lvl5pPr lvl="4" algn="r" rtl="0">
              <a:spcBef>
                <a:spcPts val="0"/>
              </a:spcBef>
              <a:spcAft>
                <a:spcPts val="0"/>
              </a:spcAft>
              <a:buClr>
                <a:schemeClr val="dk2"/>
              </a:buClr>
              <a:buSzPts val="1800"/>
              <a:buNone/>
              <a:defRPr sz="2400">
                <a:solidFill>
                  <a:schemeClr val="dk2"/>
                </a:solidFill>
              </a:defRPr>
            </a:lvl5pPr>
            <a:lvl6pPr lvl="5" algn="r" rtl="0">
              <a:spcBef>
                <a:spcPts val="0"/>
              </a:spcBef>
              <a:spcAft>
                <a:spcPts val="0"/>
              </a:spcAft>
              <a:buClr>
                <a:schemeClr val="dk2"/>
              </a:buClr>
              <a:buSzPts val="1800"/>
              <a:buNone/>
              <a:defRPr sz="2400">
                <a:solidFill>
                  <a:schemeClr val="dk2"/>
                </a:solidFill>
              </a:defRPr>
            </a:lvl6pPr>
            <a:lvl7pPr lvl="6" algn="r" rtl="0">
              <a:spcBef>
                <a:spcPts val="0"/>
              </a:spcBef>
              <a:spcAft>
                <a:spcPts val="0"/>
              </a:spcAft>
              <a:buClr>
                <a:schemeClr val="dk2"/>
              </a:buClr>
              <a:buSzPts val="1800"/>
              <a:buNone/>
              <a:defRPr sz="2400">
                <a:solidFill>
                  <a:schemeClr val="dk2"/>
                </a:solidFill>
              </a:defRPr>
            </a:lvl7pPr>
            <a:lvl8pPr lvl="7" algn="r" rtl="0">
              <a:spcBef>
                <a:spcPts val="0"/>
              </a:spcBef>
              <a:spcAft>
                <a:spcPts val="0"/>
              </a:spcAft>
              <a:buClr>
                <a:schemeClr val="dk2"/>
              </a:buClr>
              <a:buSzPts val="1800"/>
              <a:buNone/>
              <a:defRPr sz="2400">
                <a:solidFill>
                  <a:schemeClr val="dk2"/>
                </a:solidFill>
              </a:defRPr>
            </a:lvl8pPr>
            <a:lvl9pPr lvl="8" algn="r" rtl="0">
              <a:spcBef>
                <a:spcPts val="0"/>
              </a:spcBef>
              <a:spcAft>
                <a:spcPts val="0"/>
              </a:spcAft>
              <a:buClr>
                <a:schemeClr val="dk2"/>
              </a:buClr>
              <a:buSzPts val="1800"/>
              <a:buNone/>
              <a:defRPr sz="2400">
                <a:solidFill>
                  <a:schemeClr val="dk2"/>
                </a:solidFill>
              </a:defRPr>
            </a:lvl9pPr>
          </a:lstStyle>
          <a:p>
            <a:endParaRPr/>
          </a:p>
        </p:txBody>
      </p:sp>
      <p:sp>
        <p:nvSpPr>
          <p:cNvPr id="561" name="Google Shape;561;p25"/>
          <p:cNvSpPr txBox="1">
            <a:spLocks noGrp="1"/>
          </p:cNvSpPr>
          <p:nvPr>
            <p:ph type="subTitle" idx="1"/>
          </p:nvPr>
        </p:nvSpPr>
        <p:spPr>
          <a:xfrm flipH="1">
            <a:off x="1716167" y="3978700"/>
            <a:ext cx="3761200" cy="1476800"/>
          </a:xfrm>
          <a:prstGeom prst="rect">
            <a:avLst/>
          </a:prstGeom>
        </p:spPr>
        <p:txBody>
          <a:bodyPr spcFirstLastPara="1" wrap="square" lIns="91425" tIns="91425" rIns="91425" bIns="91425" anchor="t" anchorCtr="0">
            <a:normAutofit/>
          </a:bodyPr>
          <a:lstStyle>
            <a:lvl1pPr lvl="0" algn="r" rtl="0">
              <a:lnSpc>
                <a:spcPct val="100000"/>
              </a:lnSpc>
              <a:spcBef>
                <a:spcPts val="0"/>
              </a:spcBef>
              <a:spcAft>
                <a:spcPts val="0"/>
              </a:spcAft>
              <a:buSzPts val="1600"/>
              <a:buNone/>
              <a:defRPr sz="1867" b="0"/>
            </a:lvl1pPr>
            <a:lvl2pPr lvl="1" algn="r" rtl="0">
              <a:lnSpc>
                <a:spcPct val="100000"/>
              </a:lnSpc>
              <a:spcBef>
                <a:spcPts val="0"/>
              </a:spcBef>
              <a:spcAft>
                <a:spcPts val="0"/>
              </a:spcAft>
              <a:buSzPts val="1600"/>
              <a:buNone/>
              <a:defRPr/>
            </a:lvl2pPr>
            <a:lvl3pPr lvl="2" algn="r" rtl="0">
              <a:lnSpc>
                <a:spcPct val="100000"/>
              </a:lnSpc>
              <a:spcBef>
                <a:spcPts val="0"/>
              </a:spcBef>
              <a:spcAft>
                <a:spcPts val="0"/>
              </a:spcAft>
              <a:buSzPts val="1600"/>
              <a:buNone/>
              <a:defRPr/>
            </a:lvl3pPr>
            <a:lvl4pPr lvl="3" algn="r" rtl="0">
              <a:lnSpc>
                <a:spcPct val="100000"/>
              </a:lnSpc>
              <a:spcBef>
                <a:spcPts val="0"/>
              </a:spcBef>
              <a:spcAft>
                <a:spcPts val="0"/>
              </a:spcAft>
              <a:buSzPts val="1600"/>
              <a:buNone/>
              <a:defRPr/>
            </a:lvl4pPr>
            <a:lvl5pPr lvl="4" algn="r" rtl="0">
              <a:lnSpc>
                <a:spcPct val="100000"/>
              </a:lnSpc>
              <a:spcBef>
                <a:spcPts val="0"/>
              </a:spcBef>
              <a:spcAft>
                <a:spcPts val="0"/>
              </a:spcAft>
              <a:buSzPts val="1600"/>
              <a:buNone/>
              <a:defRPr/>
            </a:lvl5pPr>
            <a:lvl6pPr lvl="5" algn="r" rtl="0">
              <a:lnSpc>
                <a:spcPct val="100000"/>
              </a:lnSpc>
              <a:spcBef>
                <a:spcPts val="0"/>
              </a:spcBef>
              <a:spcAft>
                <a:spcPts val="0"/>
              </a:spcAft>
              <a:buSzPts val="1600"/>
              <a:buNone/>
              <a:defRPr/>
            </a:lvl6pPr>
            <a:lvl7pPr lvl="6" algn="r" rtl="0">
              <a:lnSpc>
                <a:spcPct val="100000"/>
              </a:lnSpc>
              <a:spcBef>
                <a:spcPts val="0"/>
              </a:spcBef>
              <a:spcAft>
                <a:spcPts val="0"/>
              </a:spcAft>
              <a:buSzPts val="1600"/>
              <a:buNone/>
              <a:defRPr/>
            </a:lvl7pPr>
            <a:lvl8pPr lvl="7" algn="r" rtl="0">
              <a:lnSpc>
                <a:spcPct val="100000"/>
              </a:lnSpc>
              <a:spcBef>
                <a:spcPts val="0"/>
              </a:spcBef>
              <a:spcAft>
                <a:spcPts val="0"/>
              </a:spcAft>
              <a:buSzPts val="1600"/>
              <a:buNone/>
              <a:defRPr/>
            </a:lvl8pPr>
            <a:lvl9pPr lvl="8" algn="r" rtl="0">
              <a:lnSpc>
                <a:spcPct val="100000"/>
              </a:lnSpc>
              <a:spcBef>
                <a:spcPts val="0"/>
              </a:spcBef>
              <a:spcAft>
                <a:spcPts val="0"/>
              </a:spcAft>
              <a:buSzPts val="1600"/>
              <a:buNone/>
              <a:defRPr/>
            </a:lvl9pPr>
          </a:lstStyle>
          <a:p>
            <a:endParaRPr/>
          </a:p>
        </p:txBody>
      </p:sp>
    </p:spTree>
    <p:extLst>
      <p:ext uri="{BB962C8B-B14F-4D97-AF65-F5344CB8AC3E}">
        <p14:creationId xmlns:p14="http://schemas.microsoft.com/office/powerpoint/2010/main" val="381362828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Title and text 6">
  <p:cSld name="Title and text 6">
    <p:bg>
      <p:bgPr>
        <a:blipFill>
          <a:blip r:embed="rId2">
            <a:alphaModFix/>
          </a:blip>
          <a:stretch>
            <a:fillRect/>
          </a:stretch>
        </a:blipFill>
        <a:effectLst/>
      </p:bgPr>
    </p:bg>
    <p:spTree>
      <p:nvGrpSpPr>
        <p:cNvPr id="1" name="Shape 562"/>
        <p:cNvGrpSpPr/>
        <p:nvPr/>
      </p:nvGrpSpPr>
      <p:grpSpPr>
        <a:xfrm>
          <a:off x="0" y="0"/>
          <a:ext cx="0" cy="0"/>
          <a:chOff x="0" y="0"/>
          <a:chExt cx="0" cy="0"/>
        </a:xfrm>
      </p:grpSpPr>
      <p:sp>
        <p:nvSpPr>
          <p:cNvPr id="563" name="Google Shape;563;p26"/>
          <p:cNvSpPr/>
          <p:nvPr/>
        </p:nvSpPr>
        <p:spPr>
          <a:xfrm>
            <a:off x="1371112" y="-85086"/>
            <a:ext cx="1985464" cy="845359"/>
          </a:xfrm>
          <a:custGeom>
            <a:avLst/>
            <a:gdLst/>
            <a:ahLst/>
            <a:cxnLst/>
            <a:rect l="l" t="t" r="r" b="b"/>
            <a:pathLst>
              <a:path w="17010" h="7242" extrusionOk="0">
                <a:moveTo>
                  <a:pt x="1" y="1"/>
                </a:moveTo>
                <a:cubicBezTo>
                  <a:pt x="677" y="4099"/>
                  <a:pt x="4238" y="7242"/>
                  <a:pt x="8515" y="7242"/>
                </a:cubicBezTo>
                <a:cubicBezTo>
                  <a:pt x="12792" y="7242"/>
                  <a:pt x="16333" y="4099"/>
                  <a:pt x="17009" y="1"/>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564" name="Google Shape;564;p26"/>
          <p:cNvGrpSpPr/>
          <p:nvPr/>
        </p:nvGrpSpPr>
        <p:grpSpPr>
          <a:xfrm rot="2469396" flipH="1">
            <a:off x="6715669" y="5171261"/>
            <a:ext cx="409016" cy="635108"/>
            <a:chOff x="4452729" y="352000"/>
            <a:chExt cx="225596" cy="350302"/>
          </a:xfrm>
        </p:grpSpPr>
        <p:sp>
          <p:nvSpPr>
            <p:cNvPr id="565" name="Google Shape;565;p26"/>
            <p:cNvSpPr/>
            <p:nvPr/>
          </p:nvSpPr>
          <p:spPr>
            <a:xfrm>
              <a:off x="4624575" y="352000"/>
              <a:ext cx="53750" cy="53225"/>
            </a:xfrm>
            <a:custGeom>
              <a:avLst/>
              <a:gdLst/>
              <a:ahLst/>
              <a:cxnLst/>
              <a:rect l="l" t="t" r="r" b="b"/>
              <a:pathLst>
                <a:path w="2150" h="2129" extrusionOk="0">
                  <a:moveTo>
                    <a:pt x="1075" y="0"/>
                  </a:moveTo>
                  <a:cubicBezTo>
                    <a:pt x="478" y="0"/>
                    <a:pt x="1" y="478"/>
                    <a:pt x="1" y="1075"/>
                  </a:cubicBezTo>
                  <a:cubicBezTo>
                    <a:pt x="1" y="1671"/>
                    <a:pt x="478" y="2129"/>
                    <a:pt x="1075" y="2129"/>
                  </a:cubicBezTo>
                  <a:cubicBezTo>
                    <a:pt x="1672" y="2129"/>
                    <a:pt x="2149" y="1671"/>
                    <a:pt x="2149" y="1075"/>
                  </a:cubicBezTo>
                  <a:cubicBezTo>
                    <a:pt x="2149" y="478"/>
                    <a:pt x="1672" y="0"/>
                    <a:pt x="107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66" name="Google Shape;566;p26"/>
            <p:cNvSpPr/>
            <p:nvPr/>
          </p:nvSpPr>
          <p:spPr>
            <a:xfrm>
              <a:off x="4452729" y="426046"/>
              <a:ext cx="62200" cy="62700"/>
            </a:xfrm>
            <a:custGeom>
              <a:avLst/>
              <a:gdLst/>
              <a:ahLst/>
              <a:cxnLst/>
              <a:rect l="l" t="t" r="r" b="b"/>
              <a:pathLst>
                <a:path w="2488" h="2508" extrusionOk="0">
                  <a:moveTo>
                    <a:pt x="1254" y="1"/>
                  </a:moveTo>
                  <a:cubicBezTo>
                    <a:pt x="557" y="1"/>
                    <a:pt x="0" y="558"/>
                    <a:pt x="0" y="1254"/>
                  </a:cubicBezTo>
                  <a:cubicBezTo>
                    <a:pt x="0" y="1950"/>
                    <a:pt x="557" y="2507"/>
                    <a:pt x="1254" y="2507"/>
                  </a:cubicBezTo>
                  <a:cubicBezTo>
                    <a:pt x="1950" y="2507"/>
                    <a:pt x="2487" y="1950"/>
                    <a:pt x="2487" y="1254"/>
                  </a:cubicBezTo>
                  <a:cubicBezTo>
                    <a:pt x="2487" y="558"/>
                    <a:pt x="1950" y="1"/>
                    <a:pt x="125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67" name="Google Shape;567;p26"/>
            <p:cNvSpPr/>
            <p:nvPr/>
          </p:nvSpPr>
          <p:spPr>
            <a:xfrm>
              <a:off x="4503927" y="572104"/>
              <a:ext cx="130152" cy="130197"/>
            </a:xfrm>
            <a:custGeom>
              <a:avLst/>
              <a:gdLst/>
              <a:ahLst/>
              <a:cxnLst/>
              <a:rect l="l" t="t" r="r" b="b"/>
              <a:pathLst>
                <a:path w="2845" h="2846" extrusionOk="0">
                  <a:moveTo>
                    <a:pt x="1432" y="1"/>
                  </a:moveTo>
                  <a:cubicBezTo>
                    <a:pt x="656" y="1"/>
                    <a:pt x="0" y="618"/>
                    <a:pt x="0" y="1413"/>
                  </a:cubicBezTo>
                  <a:cubicBezTo>
                    <a:pt x="0" y="2189"/>
                    <a:pt x="637" y="2846"/>
                    <a:pt x="1432" y="2846"/>
                  </a:cubicBezTo>
                  <a:cubicBezTo>
                    <a:pt x="2188" y="2846"/>
                    <a:pt x="2845" y="2209"/>
                    <a:pt x="2845" y="1413"/>
                  </a:cubicBezTo>
                  <a:cubicBezTo>
                    <a:pt x="2845" y="618"/>
                    <a:pt x="2188" y="1"/>
                    <a:pt x="143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568" name="Google Shape;568;p26"/>
          <p:cNvGrpSpPr/>
          <p:nvPr/>
        </p:nvGrpSpPr>
        <p:grpSpPr>
          <a:xfrm>
            <a:off x="960001" y="4415667"/>
            <a:ext cx="1628900" cy="1942611"/>
            <a:chOff x="2027450" y="3596675"/>
            <a:chExt cx="1221675" cy="1456958"/>
          </a:xfrm>
        </p:grpSpPr>
        <p:sp>
          <p:nvSpPr>
            <p:cNvPr id="569" name="Google Shape;569;p26"/>
            <p:cNvSpPr/>
            <p:nvPr/>
          </p:nvSpPr>
          <p:spPr>
            <a:xfrm>
              <a:off x="2283475" y="3989975"/>
              <a:ext cx="965650" cy="819875"/>
            </a:xfrm>
            <a:custGeom>
              <a:avLst/>
              <a:gdLst/>
              <a:ahLst/>
              <a:cxnLst/>
              <a:rect l="l" t="t" r="r" b="b"/>
              <a:pathLst>
                <a:path w="38626" h="32795" extrusionOk="0">
                  <a:moveTo>
                    <a:pt x="29355" y="0"/>
                  </a:moveTo>
                  <a:lnTo>
                    <a:pt x="29355" y="0"/>
                  </a:lnTo>
                  <a:cubicBezTo>
                    <a:pt x="29421" y="400"/>
                    <a:pt x="29455" y="834"/>
                    <a:pt x="29421" y="1168"/>
                  </a:cubicBezTo>
                  <a:cubicBezTo>
                    <a:pt x="28968" y="4957"/>
                    <a:pt x="16252" y="11827"/>
                    <a:pt x="12184" y="11827"/>
                  </a:cubicBezTo>
                  <a:cubicBezTo>
                    <a:pt x="12062" y="11827"/>
                    <a:pt x="11948" y="11821"/>
                    <a:pt x="11842" y="11809"/>
                  </a:cubicBezTo>
                  <a:cubicBezTo>
                    <a:pt x="8239" y="11342"/>
                    <a:pt x="6338" y="7372"/>
                    <a:pt x="4303" y="4970"/>
                  </a:cubicBezTo>
                  <a:cubicBezTo>
                    <a:pt x="3064" y="3483"/>
                    <a:pt x="1506" y="1791"/>
                    <a:pt x="531" y="1791"/>
                  </a:cubicBezTo>
                  <a:cubicBezTo>
                    <a:pt x="325" y="1791"/>
                    <a:pt x="146" y="1866"/>
                    <a:pt x="0" y="2035"/>
                  </a:cubicBezTo>
                  <a:cubicBezTo>
                    <a:pt x="0" y="2235"/>
                    <a:pt x="0" y="2402"/>
                    <a:pt x="67" y="2635"/>
                  </a:cubicBezTo>
                  <a:cubicBezTo>
                    <a:pt x="934" y="10708"/>
                    <a:pt x="3002" y="11508"/>
                    <a:pt x="3102" y="16178"/>
                  </a:cubicBezTo>
                  <a:cubicBezTo>
                    <a:pt x="3102" y="18480"/>
                    <a:pt x="3469" y="22049"/>
                    <a:pt x="4837" y="25318"/>
                  </a:cubicBezTo>
                  <a:cubicBezTo>
                    <a:pt x="5071" y="25819"/>
                    <a:pt x="5304" y="26352"/>
                    <a:pt x="5604" y="26853"/>
                  </a:cubicBezTo>
                  <a:cubicBezTo>
                    <a:pt x="7105" y="29588"/>
                    <a:pt x="9474" y="31890"/>
                    <a:pt x="13110" y="32523"/>
                  </a:cubicBezTo>
                  <a:cubicBezTo>
                    <a:pt x="14132" y="32702"/>
                    <a:pt x="15284" y="32794"/>
                    <a:pt x="16517" y="32794"/>
                  </a:cubicBezTo>
                  <a:cubicBezTo>
                    <a:pt x="25431" y="32794"/>
                    <a:pt x="38626" y="27959"/>
                    <a:pt x="38127" y="15711"/>
                  </a:cubicBezTo>
                  <a:cubicBezTo>
                    <a:pt x="37927" y="11008"/>
                    <a:pt x="29655" y="334"/>
                    <a:pt x="293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70" name="Google Shape;570;p26"/>
            <p:cNvSpPr/>
            <p:nvPr/>
          </p:nvSpPr>
          <p:spPr>
            <a:xfrm>
              <a:off x="2285125" y="3636275"/>
              <a:ext cx="736400" cy="649400"/>
            </a:xfrm>
            <a:custGeom>
              <a:avLst/>
              <a:gdLst/>
              <a:ahLst/>
              <a:cxnLst/>
              <a:rect l="l" t="t" r="r" b="b"/>
              <a:pathLst>
                <a:path w="29456" h="25976" extrusionOk="0">
                  <a:moveTo>
                    <a:pt x="18748" y="1"/>
                  </a:moveTo>
                  <a:cubicBezTo>
                    <a:pt x="18082" y="1"/>
                    <a:pt x="16846" y="387"/>
                    <a:pt x="15345" y="1039"/>
                  </a:cubicBezTo>
                  <a:cubicBezTo>
                    <a:pt x="14345" y="1472"/>
                    <a:pt x="13210" y="2039"/>
                    <a:pt x="12043" y="2707"/>
                  </a:cubicBezTo>
                  <a:cubicBezTo>
                    <a:pt x="10442" y="3641"/>
                    <a:pt x="8741" y="4708"/>
                    <a:pt x="7173" y="5976"/>
                  </a:cubicBezTo>
                  <a:cubicBezTo>
                    <a:pt x="6339" y="6609"/>
                    <a:pt x="5572" y="7277"/>
                    <a:pt x="4838" y="7944"/>
                  </a:cubicBezTo>
                  <a:cubicBezTo>
                    <a:pt x="3570" y="9044"/>
                    <a:pt x="2503" y="10279"/>
                    <a:pt x="1669" y="11513"/>
                  </a:cubicBezTo>
                  <a:cubicBezTo>
                    <a:pt x="1369" y="11980"/>
                    <a:pt x="1068" y="12480"/>
                    <a:pt x="835" y="12981"/>
                  </a:cubicBezTo>
                  <a:cubicBezTo>
                    <a:pt x="268" y="14048"/>
                    <a:pt x="1" y="15149"/>
                    <a:pt x="1" y="16183"/>
                  </a:cubicBezTo>
                  <a:cubicBezTo>
                    <a:pt x="146" y="16014"/>
                    <a:pt x="325" y="15939"/>
                    <a:pt x="529" y="15939"/>
                  </a:cubicBezTo>
                  <a:cubicBezTo>
                    <a:pt x="1496" y="15939"/>
                    <a:pt x="3031" y="17631"/>
                    <a:pt x="4271" y="19118"/>
                  </a:cubicBezTo>
                  <a:cubicBezTo>
                    <a:pt x="6339" y="21520"/>
                    <a:pt x="8240" y="25490"/>
                    <a:pt x="11843" y="25957"/>
                  </a:cubicBezTo>
                  <a:cubicBezTo>
                    <a:pt x="11947" y="25969"/>
                    <a:pt x="12059" y="25975"/>
                    <a:pt x="12179" y="25975"/>
                  </a:cubicBezTo>
                  <a:cubicBezTo>
                    <a:pt x="16188" y="25975"/>
                    <a:pt x="28935" y="19105"/>
                    <a:pt x="29389" y="15316"/>
                  </a:cubicBezTo>
                  <a:cubicBezTo>
                    <a:pt x="29455" y="14982"/>
                    <a:pt x="29422" y="14548"/>
                    <a:pt x="29355" y="14148"/>
                  </a:cubicBezTo>
                  <a:cubicBezTo>
                    <a:pt x="28455" y="9645"/>
                    <a:pt x="21383" y="772"/>
                    <a:pt x="19048" y="38"/>
                  </a:cubicBezTo>
                  <a:cubicBezTo>
                    <a:pt x="18967" y="13"/>
                    <a:pt x="18867" y="1"/>
                    <a:pt x="1874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71" name="Google Shape;571;p26"/>
            <p:cNvSpPr/>
            <p:nvPr/>
          </p:nvSpPr>
          <p:spPr>
            <a:xfrm>
              <a:off x="2360200" y="3596675"/>
              <a:ext cx="308575" cy="238200"/>
            </a:xfrm>
            <a:custGeom>
              <a:avLst/>
              <a:gdLst/>
              <a:ahLst/>
              <a:cxnLst/>
              <a:rect l="l" t="t" r="r" b="b"/>
              <a:pathLst>
                <a:path w="12343" h="9528" extrusionOk="0">
                  <a:moveTo>
                    <a:pt x="7200" y="1"/>
                  </a:moveTo>
                  <a:cubicBezTo>
                    <a:pt x="6306" y="1"/>
                    <a:pt x="5339" y="238"/>
                    <a:pt x="4337" y="855"/>
                  </a:cubicBezTo>
                  <a:cubicBezTo>
                    <a:pt x="0" y="3523"/>
                    <a:pt x="1835" y="9528"/>
                    <a:pt x="1835" y="9528"/>
                  </a:cubicBezTo>
                  <a:cubicBezTo>
                    <a:pt x="2569" y="8794"/>
                    <a:pt x="3369" y="8193"/>
                    <a:pt x="4170" y="7560"/>
                  </a:cubicBezTo>
                  <a:cubicBezTo>
                    <a:pt x="4170" y="7560"/>
                    <a:pt x="3036" y="4691"/>
                    <a:pt x="5271" y="3290"/>
                  </a:cubicBezTo>
                  <a:cubicBezTo>
                    <a:pt x="5629" y="3080"/>
                    <a:pt x="5997" y="2997"/>
                    <a:pt x="6355" y="2997"/>
                  </a:cubicBezTo>
                  <a:cubicBezTo>
                    <a:pt x="7767" y="2997"/>
                    <a:pt x="9040" y="4291"/>
                    <a:pt x="9040" y="4291"/>
                  </a:cubicBezTo>
                  <a:cubicBezTo>
                    <a:pt x="10207" y="3623"/>
                    <a:pt x="11342" y="3090"/>
                    <a:pt x="12342" y="2623"/>
                  </a:cubicBezTo>
                  <a:cubicBezTo>
                    <a:pt x="12342" y="2623"/>
                    <a:pt x="10174" y="1"/>
                    <a:pt x="720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72" name="Google Shape;572;p26"/>
            <p:cNvSpPr/>
            <p:nvPr/>
          </p:nvSpPr>
          <p:spPr>
            <a:xfrm>
              <a:off x="2027450" y="3887650"/>
              <a:ext cx="396975" cy="827775"/>
            </a:xfrm>
            <a:custGeom>
              <a:avLst/>
              <a:gdLst/>
              <a:ahLst/>
              <a:cxnLst/>
              <a:rect l="l" t="t" r="r" b="b"/>
              <a:pathLst>
                <a:path w="15879" h="33111" extrusionOk="0">
                  <a:moveTo>
                    <a:pt x="7779" y="1"/>
                  </a:moveTo>
                  <a:cubicBezTo>
                    <a:pt x="5553" y="1"/>
                    <a:pt x="3066" y="1061"/>
                    <a:pt x="2002" y="4794"/>
                  </a:cubicBezTo>
                  <a:cubicBezTo>
                    <a:pt x="1" y="11965"/>
                    <a:pt x="6272" y="14968"/>
                    <a:pt x="5605" y="20271"/>
                  </a:cubicBezTo>
                  <a:cubicBezTo>
                    <a:pt x="4709" y="27387"/>
                    <a:pt x="6077" y="33111"/>
                    <a:pt x="10401" y="33111"/>
                  </a:cubicBezTo>
                  <a:cubicBezTo>
                    <a:pt x="11875" y="33111"/>
                    <a:pt x="13691" y="32446"/>
                    <a:pt x="15879" y="30946"/>
                  </a:cubicBezTo>
                  <a:cubicBezTo>
                    <a:pt x="15578" y="30445"/>
                    <a:pt x="15345" y="29945"/>
                    <a:pt x="15145" y="29411"/>
                  </a:cubicBezTo>
                  <a:cubicBezTo>
                    <a:pt x="15145" y="29411"/>
                    <a:pt x="13607" y="30067"/>
                    <a:pt x="12099" y="30067"/>
                  </a:cubicBezTo>
                  <a:cubicBezTo>
                    <a:pt x="11085" y="30067"/>
                    <a:pt x="10084" y="29770"/>
                    <a:pt x="9574" y="28777"/>
                  </a:cubicBezTo>
                  <a:cubicBezTo>
                    <a:pt x="8173" y="25975"/>
                    <a:pt x="9874" y="22206"/>
                    <a:pt x="9374" y="18670"/>
                  </a:cubicBezTo>
                  <a:cubicBezTo>
                    <a:pt x="8907" y="15168"/>
                    <a:pt x="4170" y="9664"/>
                    <a:pt x="5338" y="5327"/>
                  </a:cubicBezTo>
                  <a:cubicBezTo>
                    <a:pt x="5965" y="2998"/>
                    <a:pt x="7584" y="2459"/>
                    <a:pt x="8947" y="2459"/>
                  </a:cubicBezTo>
                  <a:cubicBezTo>
                    <a:pt x="10123" y="2459"/>
                    <a:pt x="11109" y="2859"/>
                    <a:pt x="11109" y="2859"/>
                  </a:cubicBezTo>
                  <a:cubicBezTo>
                    <a:pt x="11342" y="2359"/>
                    <a:pt x="11609" y="1925"/>
                    <a:pt x="11942" y="1425"/>
                  </a:cubicBezTo>
                  <a:cubicBezTo>
                    <a:pt x="11624" y="883"/>
                    <a:pt x="9810" y="1"/>
                    <a:pt x="777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73" name="Google Shape;573;p26"/>
            <p:cNvSpPr/>
            <p:nvPr/>
          </p:nvSpPr>
          <p:spPr>
            <a:xfrm>
              <a:off x="2279300" y="3631850"/>
              <a:ext cx="751400" cy="662025"/>
            </a:xfrm>
            <a:custGeom>
              <a:avLst/>
              <a:gdLst/>
              <a:ahLst/>
              <a:cxnLst/>
              <a:rect l="l" t="t" r="r" b="b"/>
              <a:pathLst>
                <a:path w="30056" h="26481" extrusionOk="0">
                  <a:moveTo>
                    <a:pt x="19267" y="0"/>
                  </a:moveTo>
                  <a:cubicBezTo>
                    <a:pt x="19210" y="0"/>
                    <a:pt x="19159" y="15"/>
                    <a:pt x="19181" y="15"/>
                  </a:cubicBezTo>
                  <a:cubicBezTo>
                    <a:pt x="19147" y="115"/>
                    <a:pt x="19214" y="215"/>
                    <a:pt x="19314" y="282"/>
                  </a:cubicBezTo>
                  <a:cubicBezTo>
                    <a:pt x="19815" y="482"/>
                    <a:pt x="20282" y="849"/>
                    <a:pt x="20682" y="1216"/>
                  </a:cubicBezTo>
                  <a:cubicBezTo>
                    <a:pt x="21149" y="1616"/>
                    <a:pt x="21516" y="2016"/>
                    <a:pt x="21949" y="2450"/>
                  </a:cubicBezTo>
                  <a:cubicBezTo>
                    <a:pt x="22717" y="3284"/>
                    <a:pt x="23484" y="4185"/>
                    <a:pt x="24184" y="5119"/>
                  </a:cubicBezTo>
                  <a:cubicBezTo>
                    <a:pt x="25619" y="6953"/>
                    <a:pt x="26886" y="8888"/>
                    <a:pt x="27987" y="10956"/>
                  </a:cubicBezTo>
                  <a:cubicBezTo>
                    <a:pt x="28521" y="11990"/>
                    <a:pt x="28988" y="13024"/>
                    <a:pt x="29221" y="14125"/>
                  </a:cubicBezTo>
                  <a:cubicBezTo>
                    <a:pt x="29321" y="14659"/>
                    <a:pt x="29388" y="15192"/>
                    <a:pt x="29221" y="15659"/>
                  </a:cubicBezTo>
                  <a:cubicBezTo>
                    <a:pt x="29055" y="16160"/>
                    <a:pt x="28788" y="16627"/>
                    <a:pt x="28387" y="17027"/>
                  </a:cubicBezTo>
                  <a:cubicBezTo>
                    <a:pt x="27687" y="17894"/>
                    <a:pt x="26820" y="18662"/>
                    <a:pt x="25886" y="19362"/>
                  </a:cubicBezTo>
                  <a:cubicBezTo>
                    <a:pt x="24985" y="20063"/>
                    <a:pt x="24018" y="20696"/>
                    <a:pt x="23017" y="21330"/>
                  </a:cubicBezTo>
                  <a:cubicBezTo>
                    <a:pt x="21015" y="22531"/>
                    <a:pt x="18947" y="23632"/>
                    <a:pt x="16812" y="24499"/>
                  </a:cubicBezTo>
                  <a:cubicBezTo>
                    <a:pt x="15712" y="24899"/>
                    <a:pt x="14644" y="25333"/>
                    <a:pt x="13510" y="25533"/>
                  </a:cubicBezTo>
                  <a:cubicBezTo>
                    <a:pt x="13132" y="25622"/>
                    <a:pt x="12754" y="25667"/>
                    <a:pt x="12396" y="25667"/>
                  </a:cubicBezTo>
                  <a:cubicBezTo>
                    <a:pt x="12217" y="25667"/>
                    <a:pt x="12042" y="25655"/>
                    <a:pt x="11876" y="25633"/>
                  </a:cubicBezTo>
                  <a:cubicBezTo>
                    <a:pt x="11342" y="25566"/>
                    <a:pt x="10842" y="25366"/>
                    <a:pt x="10341" y="25133"/>
                  </a:cubicBezTo>
                  <a:cubicBezTo>
                    <a:pt x="9374" y="24632"/>
                    <a:pt x="8540" y="23832"/>
                    <a:pt x="7806" y="22965"/>
                  </a:cubicBezTo>
                  <a:cubicBezTo>
                    <a:pt x="7039" y="22064"/>
                    <a:pt x="6372" y="21130"/>
                    <a:pt x="5671" y="20163"/>
                  </a:cubicBezTo>
                  <a:cubicBezTo>
                    <a:pt x="4971" y="19229"/>
                    <a:pt x="4170" y="18328"/>
                    <a:pt x="3336" y="17494"/>
                  </a:cubicBezTo>
                  <a:cubicBezTo>
                    <a:pt x="2936" y="17060"/>
                    <a:pt x="2469" y="16660"/>
                    <a:pt x="1969" y="16327"/>
                  </a:cubicBezTo>
                  <a:cubicBezTo>
                    <a:pt x="1668" y="16160"/>
                    <a:pt x="1435" y="15993"/>
                    <a:pt x="1101" y="15893"/>
                  </a:cubicBezTo>
                  <a:lnTo>
                    <a:pt x="834" y="15860"/>
                  </a:lnTo>
                  <a:cubicBezTo>
                    <a:pt x="790" y="15848"/>
                    <a:pt x="753" y="15845"/>
                    <a:pt x="719" y="15845"/>
                  </a:cubicBezTo>
                  <a:cubicBezTo>
                    <a:pt x="653" y="15845"/>
                    <a:pt x="601" y="15860"/>
                    <a:pt x="534" y="15860"/>
                  </a:cubicBezTo>
                  <a:lnTo>
                    <a:pt x="301" y="15993"/>
                  </a:lnTo>
                  <a:cubicBezTo>
                    <a:pt x="201" y="16026"/>
                    <a:pt x="167" y="16060"/>
                    <a:pt x="101" y="16160"/>
                  </a:cubicBezTo>
                  <a:cubicBezTo>
                    <a:pt x="0" y="16226"/>
                    <a:pt x="0" y="16360"/>
                    <a:pt x="101" y="16460"/>
                  </a:cubicBezTo>
                  <a:cubicBezTo>
                    <a:pt x="134" y="16493"/>
                    <a:pt x="184" y="16510"/>
                    <a:pt x="234" y="16510"/>
                  </a:cubicBezTo>
                  <a:cubicBezTo>
                    <a:pt x="284" y="16510"/>
                    <a:pt x="334" y="16493"/>
                    <a:pt x="367" y="16460"/>
                  </a:cubicBezTo>
                  <a:cubicBezTo>
                    <a:pt x="458" y="16347"/>
                    <a:pt x="579" y="16280"/>
                    <a:pt x="732" y="16280"/>
                  </a:cubicBezTo>
                  <a:cubicBezTo>
                    <a:pt x="804" y="16280"/>
                    <a:pt x="882" y="16294"/>
                    <a:pt x="968" y="16327"/>
                  </a:cubicBezTo>
                  <a:cubicBezTo>
                    <a:pt x="1235" y="16393"/>
                    <a:pt x="1468" y="16527"/>
                    <a:pt x="1668" y="16693"/>
                  </a:cubicBezTo>
                  <a:cubicBezTo>
                    <a:pt x="2135" y="17027"/>
                    <a:pt x="2502" y="17461"/>
                    <a:pt x="2936" y="17861"/>
                  </a:cubicBezTo>
                  <a:cubicBezTo>
                    <a:pt x="3703" y="18728"/>
                    <a:pt x="4470" y="19629"/>
                    <a:pt x="5137" y="20563"/>
                  </a:cubicBezTo>
                  <a:cubicBezTo>
                    <a:pt x="5805" y="21497"/>
                    <a:pt x="6472" y="22498"/>
                    <a:pt x="7206" y="23398"/>
                  </a:cubicBezTo>
                  <a:cubicBezTo>
                    <a:pt x="8006" y="24332"/>
                    <a:pt x="8873" y="25166"/>
                    <a:pt x="9974" y="25800"/>
                  </a:cubicBezTo>
                  <a:cubicBezTo>
                    <a:pt x="10508" y="26067"/>
                    <a:pt x="11108" y="26334"/>
                    <a:pt x="11709" y="26400"/>
                  </a:cubicBezTo>
                  <a:cubicBezTo>
                    <a:pt x="11929" y="26449"/>
                    <a:pt x="12184" y="26480"/>
                    <a:pt x="12423" y="26480"/>
                  </a:cubicBezTo>
                  <a:cubicBezTo>
                    <a:pt x="12510" y="26480"/>
                    <a:pt x="12596" y="26476"/>
                    <a:pt x="12676" y="26467"/>
                  </a:cubicBezTo>
                  <a:cubicBezTo>
                    <a:pt x="13010" y="26467"/>
                    <a:pt x="13310" y="26367"/>
                    <a:pt x="13610" y="26334"/>
                  </a:cubicBezTo>
                  <a:cubicBezTo>
                    <a:pt x="14811" y="26067"/>
                    <a:pt x="15878" y="25667"/>
                    <a:pt x="17013" y="25233"/>
                  </a:cubicBezTo>
                  <a:cubicBezTo>
                    <a:pt x="19214" y="24366"/>
                    <a:pt x="21316" y="23298"/>
                    <a:pt x="23350" y="22031"/>
                  </a:cubicBezTo>
                  <a:cubicBezTo>
                    <a:pt x="24351" y="21397"/>
                    <a:pt x="25319" y="20730"/>
                    <a:pt x="26286" y="20029"/>
                  </a:cubicBezTo>
                  <a:cubicBezTo>
                    <a:pt x="27187" y="19295"/>
                    <a:pt x="28121" y="18528"/>
                    <a:pt x="28888" y="17561"/>
                  </a:cubicBezTo>
                  <a:cubicBezTo>
                    <a:pt x="29288" y="17127"/>
                    <a:pt x="29655" y="16560"/>
                    <a:pt x="29855" y="15960"/>
                  </a:cubicBezTo>
                  <a:cubicBezTo>
                    <a:pt x="30055" y="15292"/>
                    <a:pt x="29989" y="14625"/>
                    <a:pt x="29855" y="14025"/>
                  </a:cubicBezTo>
                  <a:cubicBezTo>
                    <a:pt x="29622" y="12824"/>
                    <a:pt x="29088" y="11723"/>
                    <a:pt x="28521" y="10689"/>
                  </a:cubicBezTo>
                  <a:cubicBezTo>
                    <a:pt x="27420" y="8621"/>
                    <a:pt x="26019" y="6653"/>
                    <a:pt x="24551" y="4818"/>
                  </a:cubicBezTo>
                  <a:cubicBezTo>
                    <a:pt x="23817" y="3884"/>
                    <a:pt x="23017" y="3017"/>
                    <a:pt x="22183" y="2183"/>
                  </a:cubicBezTo>
                  <a:cubicBezTo>
                    <a:pt x="21783" y="1783"/>
                    <a:pt x="21349" y="1349"/>
                    <a:pt x="20915" y="982"/>
                  </a:cubicBezTo>
                  <a:cubicBezTo>
                    <a:pt x="20448" y="615"/>
                    <a:pt x="19981" y="215"/>
                    <a:pt x="19348" y="15"/>
                  </a:cubicBezTo>
                  <a:cubicBezTo>
                    <a:pt x="19325" y="4"/>
                    <a:pt x="19296" y="0"/>
                    <a:pt x="1926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74" name="Google Shape;574;p26"/>
            <p:cNvSpPr/>
            <p:nvPr/>
          </p:nvSpPr>
          <p:spPr>
            <a:xfrm rot="-2170665">
              <a:off x="2459901" y="4739872"/>
              <a:ext cx="198028" cy="282554"/>
            </a:xfrm>
            <a:custGeom>
              <a:avLst/>
              <a:gdLst/>
              <a:ahLst/>
              <a:cxnLst/>
              <a:rect l="l" t="t" r="r" b="b"/>
              <a:pathLst>
                <a:path w="7921" h="11302" extrusionOk="0">
                  <a:moveTo>
                    <a:pt x="66" y="1"/>
                  </a:moveTo>
                  <a:cubicBezTo>
                    <a:pt x="37" y="1"/>
                    <a:pt x="0" y="33"/>
                    <a:pt x="0" y="53"/>
                  </a:cubicBezTo>
                  <a:cubicBezTo>
                    <a:pt x="101" y="2722"/>
                    <a:pt x="534" y="5424"/>
                    <a:pt x="2002" y="7692"/>
                  </a:cubicBezTo>
                  <a:cubicBezTo>
                    <a:pt x="3149" y="9494"/>
                    <a:pt x="5197" y="11297"/>
                    <a:pt x="7450" y="11297"/>
                  </a:cubicBezTo>
                  <a:cubicBezTo>
                    <a:pt x="7491" y="11297"/>
                    <a:pt x="7532" y="11296"/>
                    <a:pt x="7573" y="11295"/>
                  </a:cubicBezTo>
                  <a:cubicBezTo>
                    <a:pt x="7594" y="11300"/>
                    <a:pt x="7614" y="11302"/>
                    <a:pt x="7633" y="11302"/>
                  </a:cubicBezTo>
                  <a:cubicBezTo>
                    <a:pt x="7881" y="11302"/>
                    <a:pt x="7920" y="10923"/>
                    <a:pt x="7673" y="10861"/>
                  </a:cubicBezTo>
                  <a:cubicBezTo>
                    <a:pt x="6605" y="10561"/>
                    <a:pt x="5604" y="10227"/>
                    <a:pt x="4704" y="9560"/>
                  </a:cubicBezTo>
                  <a:cubicBezTo>
                    <a:pt x="3770" y="8893"/>
                    <a:pt x="3036" y="8059"/>
                    <a:pt x="2436" y="7092"/>
                  </a:cubicBezTo>
                  <a:cubicBezTo>
                    <a:pt x="1101" y="5024"/>
                    <a:pt x="568" y="2455"/>
                    <a:pt x="101" y="53"/>
                  </a:cubicBezTo>
                  <a:cubicBezTo>
                    <a:pt x="101" y="14"/>
                    <a:pt x="85" y="1"/>
                    <a:pt x="6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75" name="Google Shape;575;p26"/>
            <p:cNvSpPr/>
            <p:nvPr/>
          </p:nvSpPr>
          <p:spPr>
            <a:xfrm rot="-2170665">
              <a:off x="2524580" y="4800767"/>
              <a:ext cx="130977" cy="147627"/>
            </a:xfrm>
            <a:custGeom>
              <a:avLst/>
              <a:gdLst/>
              <a:ahLst/>
              <a:cxnLst/>
              <a:rect l="l" t="t" r="r" b="b"/>
              <a:pathLst>
                <a:path w="5239" h="5905" extrusionOk="0">
                  <a:moveTo>
                    <a:pt x="94" y="0"/>
                  </a:moveTo>
                  <a:cubicBezTo>
                    <a:pt x="45" y="0"/>
                    <a:pt x="0" y="45"/>
                    <a:pt x="0" y="134"/>
                  </a:cubicBezTo>
                  <a:cubicBezTo>
                    <a:pt x="334" y="1368"/>
                    <a:pt x="934" y="2502"/>
                    <a:pt x="1768" y="3503"/>
                  </a:cubicBezTo>
                  <a:cubicBezTo>
                    <a:pt x="2569" y="4504"/>
                    <a:pt x="3603" y="5404"/>
                    <a:pt x="4837" y="5871"/>
                  </a:cubicBezTo>
                  <a:cubicBezTo>
                    <a:pt x="4874" y="5894"/>
                    <a:pt x="4909" y="5905"/>
                    <a:pt x="4942" y="5905"/>
                  </a:cubicBezTo>
                  <a:cubicBezTo>
                    <a:pt x="5143" y="5905"/>
                    <a:pt x="5238" y="5510"/>
                    <a:pt x="5037" y="5338"/>
                  </a:cubicBezTo>
                  <a:cubicBezTo>
                    <a:pt x="4537" y="5004"/>
                    <a:pt x="4003" y="4704"/>
                    <a:pt x="3503" y="4337"/>
                  </a:cubicBezTo>
                  <a:cubicBezTo>
                    <a:pt x="3002" y="3970"/>
                    <a:pt x="2535" y="3570"/>
                    <a:pt x="2168" y="3136"/>
                  </a:cubicBezTo>
                  <a:cubicBezTo>
                    <a:pt x="1335" y="2235"/>
                    <a:pt x="601" y="1168"/>
                    <a:pt x="167" y="34"/>
                  </a:cubicBezTo>
                  <a:cubicBezTo>
                    <a:pt x="145" y="11"/>
                    <a:pt x="119" y="0"/>
                    <a:pt x="9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76" name="Google Shape;576;p26"/>
            <p:cNvSpPr/>
            <p:nvPr/>
          </p:nvSpPr>
          <p:spPr>
            <a:xfrm>
              <a:off x="2752975" y="4231800"/>
              <a:ext cx="301900" cy="208850"/>
            </a:xfrm>
            <a:custGeom>
              <a:avLst/>
              <a:gdLst/>
              <a:ahLst/>
              <a:cxnLst/>
              <a:rect l="l" t="t" r="r" b="b"/>
              <a:pathLst>
                <a:path w="12076" h="8354" extrusionOk="0">
                  <a:moveTo>
                    <a:pt x="10875" y="1"/>
                  </a:moveTo>
                  <a:cubicBezTo>
                    <a:pt x="9507" y="1"/>
                    <a:pt x="501" y="5071"/>
                    <a:pt x="0" y="6405"/>
                  </a:cubicBezTo>
                  <a:cubicBezTo>
                    <a:pt x="0" y="6405"/>
                    <a:pt x="2770" y="8353"/>
                    <a:pt x="4152" y="8353"/>
                  </a:cubicBezTo>
                  <a:cubicBezTo>
                    <a:pt x="4217" y="8353"/>
                    <a:pt x="4278" y="8349"/>
                    <a:pt x="4337" y="8340"/>
                  </a:cubicBezTo>
                  <a:cubicBezTo>
                    <a:pt x="5738" y="8140"/>
                    <a:pt x="11408" y="5338"/>
                    <a:pt x="11875" y="4170"/>
                  </a:cubicBezTo>
                  <a:cubicBezTo>
                    <a:pt x="12076" y="3637"/>
                    <a:pt x="10875" y="1"/>
                    <a:pt x="1087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77" name="Google Shape;577;p26"/>
            <p:cNvSpPr/>
            <p:nvPr/>
          </p:nvSpPr>
          <p:spPr>
            <a:xfrm>
              <a:off x="2740450" y="4232650"/>
              <a:ext cx="404425" cy="391250"/>
            </a:xfrm>
            <a:custGeom>
              <a:avLst/>
              <a:gdLst/>
              <a:ahLst/>
              <a:cxnLst/>
              <a:rect l="l" t="t" r="r" b="b"/>
              <a:pathLst>
                <a:path w="16177" h="15650" extrusionOk="0">
                  <a:moveTo>
                    <a:pt x="11376" y="0"/>
                  </a:moveTo>
                  <a:cubicBezTo>
                    <a:pt x="11376" y="0"/>
                    <a:pt x="12643" y="3603"/>
                    <a:pt x="12376" y="4170"/>
                  </a:cubicBezTo>
                  <a:cubicBezTo>
                    <a:pt x="11876" y="5337"/>
                    <a:pt x="6205" y="8139"/>
                    <a:pt x="4838" y="8339"/>
                  </a:cubicBezTo>
                  <a:cubicBezTo>
                    <a:pt x="4780" y="8348"/>
                    <a:pt x="4719" y="8353"/>
                    <a:pt x="4654" y="8353"/>
                  </a:cubicBezTo>
                  <a:cubicBezTo>
                    <a:pt x="3298" y="8353"/>
                    <a:pt x="501" y="6438"/>
                    <a:pt x="501" y="6438"/>
                  </a:cubicBezTo>
                  <a:lnTo>
                    <a:pt x="501" y="6438"/>
                  </a:lnTo>
                  <a:cubicBezTo>
                    <a:pt x="1" y="7772"/>
                    <a:pt x="3537" y="15478"/>
                    <a:pt x="5205" y="15645"/>
                  </a:cubicBezTo>
                  <a:cubicBezTo>
                    <a:pt x="5245" y="15648"/>
                    <a:pt x="5286" y="15650"/>
                    <a:pt x="5330" y="15650"/>
                  </a:cubicBezTo>
                  <a:cubicBezTo>
                    <a:pt x="7861" y="15650"/>
                    <a:pt x="16176" y="10003"/>
                    <a:pt x="16012" y="7839"/>
                  </a:cubicBezTo>
                  <a:cubicBezTo>
                    <a:pt x="15879" y="5637"/>
                    <a:pt x="11976" y="0"/>
                    <a:pt x="1137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78" name="Google Shape;578;p26"/>
            <p:cNvSpPr/>
            <p:nvPr/>
          </p:nvSpPr>
          <p:spPr>
            <a:xfrm>
              <a:off x="2599525" y="4201775"/>
              <a:ext cx="112600" cy="134600"/>
            </a:xfrm>
            <a:custGeom>
              <a:avLst/>
              <a:gdLst/>
              <a:ahLst/>
              <a:cxnLst/>
              <a:rect l="l" t="t" r="r" b="b"/>
              <a:pathLst>
                <a:path w="4504" h="5384" extrusionOk="0">
                  <a:moveTo>
                    <a:pt x="2803" y="1"/>
                  </a:moveTo>
                  <a:cubicBezTo>
                    <a:pt x="2336" y="34"/>
                    <a:pt x="1" y="868"/>
                    <a:pt x="34" y="1202"/>
                  </a:cubicBezTo>
                  <a:cubicBezTo>
                    <a:pt x="101" y="1769"/>
                    <a:pt x="1101" y="5238"/>
                    <a:pt x="1635" y="5371"/>
                  </a:cubicBezTo>
                  <a:cubicBezTo>
                    <a:pt x="1669" y="5380"/>
                    <a:pt x="1709" y="5384"/>
                    <a:pt x="1756" y="5384"/>
                  </a:cubicBezTo>
                  <a:cubicBezTo>
                    <a:pt x="2454" y="5384"/>
                    <a:pt x="4504" y="4489"/>
                    <a:pt x="4504" y="3770"/>
                  </a:cubicBezTo>
                  <a:cubicBezTo>
                    <a:pt x="4504" y="3036"/>
                    <a:pt x="3136" y="1"/>
                    <a:pt x="28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79" name="Google Shape;579;p26"/>
            <p:cNvSpPr/>
            <p:nvPr/>
          </p:nvSpPr>
          <p:spPr>
            <a:xfrm>
              <a:off x="2898900" y="4022500"/>
              <a:ext cx="117625" cy="137600"/>
            </a:xfrm>
            <a:custGeom>
              <a:avLst/>
              <a:gdLst/>
              <a:ahLst/>
              <a:cxnLst/>
              <a:rect l="l" t="t" r="r" b="b"/>
              <a:pathLst>
                <a:path w="4705" h="5504" extrusionOk="0">
                  <a:moveTo>
                    <a:pt x="2236" y="0"/>
                  </a:moveTo>
                  <a:cubicBezTo>
                    <a:pt x="1802" y="0"/>
                    <a:pt x="301" y="1034"/>
                    <a:pt x="134" y="1568"/>
                  </a:cubicBezTo>
                  <a:cubicBezTo>
                    <a:pt x="1" y="2035"/>
                    <a:pt x="1702" y="5504"/>
                    <a:pt x="2403" y="5504"/>
                  </a:cubicBezTo>
                  <a:cubicBezTo>
                    <a:pt x="3103" y="5504"/>
                    <a:pt x="4704" y="4503"/>
                    <a:pt x="4704" y="3736"/>
                  </a:cubicBezTo>
                  <a:cubicBezTo>
                    <a:pt x="4704" y="2902"/>
                    <a:pt x="2836" y="0"/>
                    <a:pt x="223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80" name="Google Shape;580;p26"/>
            <p:cNvSpPr/>
            <p:nvPr/>
          </p:nvSpPr>
          <p:spPr>
            <a:xfrm>
              <a:off x="2582025" y="3974125"/>
              <a:ext cx="60050" cy="58025"/>
            </a:xfrm>
            <a:custGeom>
              <a:avLst/>
              <a:gdLst/>
              <a:ahLst/>
              <a:cxnLst/>
              <a:rect l="l" t="t" r="r" b="b"/>
              <a:pathLst>
                <a:path w="2402" h="2321" extrusionOk="0">
                  <a:moveTo>
                    <a:pt x="901" y="0"/>
                  </a:moveTo>
                  <a:cubicBezTo>
                    <a:pt x="834" y="0"/>
                    <a:pt x="734" y="34"/>
                    <a:pt x="667" y="34"/>
                  </a:cubicBezTo>
                  <a:cubicBezTo>
                    <a:pt x="567" y="100"/>
                    <a:pt x="500" y="134"/>
                    <a:pt x="467" y="167"/>
                  </a:cubicBezTo>
                  <a:cubicBezTo>
                    <a:pt x="367" y="200"/>
                    <a:pt x="334" y="267"/>
                    <a:pt x="300" y="301"/>
                  </a:cubicBezTo>
                  <a:lnTo>
                    <a:pt x="67" y="501"/>
                  </a:lnTo>
                  <a:cubicBezTo>
                    <a:pt x="33" y="534"/>
                    <a:pt x="33" y="601"/>
                    <a:pt x="33" y="601"/>
                  </a:cubicBezTo>
                  <a:cubicBezTo>
                    <a:pt x="0" y="634"/>
                    <a:pt x="0" y="701"/>
                    <a:pt x="33" y="768"/>
                  </a:cubicBezTo>
                  <a:cubicBezTo>
                    <a:pt x="50" y="784"/>
                    <a:pt x="83" y="793"/>
                    <a:pt x="117" y="793"/>
                  </a:cubicBezTo>
                  <a:cubicBezTo>
                    <a:pt x="150" y="793"/>
                    <a:pt x="184" y="784"/>
                    <a:pt x="200" y="768"/>
                  </a:cubicBezTo>
                  <a:cubicBezTo>
                    <a:pt x="200" y="768"/>
                    <a:pt x="234" y="768"/>
                    <a:pt x="300" y="701"/>
                  </a:cubicBezTo>
                  <a:cubicBezTo>
                    <a:pt x="334" y="667"/>
                    <a:pt x="400" y="634"/>
                    <a:pt x="500" y="601"/>
                  </a:cubicBezTo>
                  <a:cubicBezTo>
                    <a:pt x="534" y="534"/>
                    <a:pt x="567" y="534"/>
                    <a:pt x="634" y="534"/>
                  </a:cubicBezTo>
                  <a:cubicBezTo>
                    <a:pt x="667" y="501"/>
                    <a:pt x="701" y="501"/>
                    <a:pt x="801" y="501"/>
                  </a:cubicBezTo>
                  <a:cubicBezTo>
                    <a:pt x="823" y="501"/>
                    <a:pt x="860" y="486"/>
                    <a:pt x="902" y="486"/>
                  </a:cubicBezTo>
                  <a:cubicBezTo>
                    <a:pt x="923" y="486"/>
                    <a:pt x="945" y="490"/>
                    <a:pt x="967" y="501"/>
                  </a:cubicBezTo>
                  <a:lnTo>
                    <a:pt x="1034" y="501"/>
                  </a:lnTo>
                  <a:cubicBezTo>
                    <a:pt x="667" y="701"/>
                    <a:pt x="534" y="1201"/>
                    <a:pt x="734" y="1702"/>
                  </a:cubicBezTo>
                  <a:cubicBezTo>
                    <a:pt x="909" y="2077"/>
                    <a:pt x="1234" y="2321"/>
                    <a:pt x="1555" y="2321"/>
                  </a:cubicBezTo>
                  <a:cubicBezTo>
                    <a:pt x="1662" y="2321"/>
                    <a:pt x="1768" y="2294"/>
                    <a:pt x="1868" y="2235"/>
                  </a:cubicBezTo>
                  <a:cubicBezTo>
                    <a:pt x="2302" y="2102"/>
                    <a:pt x="2402" y="1535"/>
                    <a:pt x="2202" y="1034"/>
                  </a:cubicBezTo>
                  <a:cubicBezTo>
                    <a:pt x="2035" y="601"/>
                    <a:pt x="1868" y="434"/>
                    <a:pt x="1835" y="367"/>
                  </a:cubicBezTo>
                  <a:cubicBezTo>
                    <a:pt x="1801" y="334"/>
                    <a:pt x="1701" y="301"/>
                    <a:pt x="1668" y="200"/>
                  </a:cubicBezTo>
                  <a:cubicBezTo>
                    <a:pt x="1635" y="167"/>
                    <a:pt x="1535" y="134"/>
                    <a:pt x="1468" y="100"/>
                  </a:cubicBezTo>
                  <a:cubicBezTo>
                    <a:pt x="1368" y="34"/>
                    <a:pt x="1301" y="0"/>
                    <a:pt x="12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81" name="Google Shape;581;p26"/>
            <p:cNvSpPr/>
            <p:nvPr/>
          </p:nvSpPr>
          <p:spPr>
            <a:xfrm>
              <a:off x="2747975" y="3894900"/>
              <a:ext cx="60050" cy="58025"/>
            </a:xfrm>
            <a:custGeom>
              <a:avLst/>
              <a:gdLst/>
              <a:ahLst/>
              <a:cxnLst/>
              <a:rect l="l" t="t" r="r" b="b"/>
              <a:pathLst>
                <a:path w="2402" h="2321" extrusionOk="0">
                  <a:moveTo>
                    <a:pt x="901" y="0"/>
                  </a:moveTo>
                  <a:cubicBezTo>
                    <a:pt x="834" y="0"/>
                    <a:pt x="734" y="34"/>
                    <a:pt x="667" y="34"/>
                  </a:cubicBezTo>
                  <a:cubicBezTo>
                    <a:pt x="567" y="100"/>
                    <a:pt x="501" y="134"/>
                    <a:pt x="434" y="167"/>
                  </a:cubicBezTo>
                  <a:cubicBezTo>
                    <a:pt x="367" y="201"/>
                    <a:pt x="334" y="267"/>
                    <a:pt x="267" y="301"/>
                  </a:cubicBezTo>
                  <a:lnTo>
                    <a:pt x="67" y="501"/>
                  </a:lnTo>
                  <a:cubicBezTo>
                    <a:pt x="34" y="534"/>
                    <a:pt x="34" y="601"/>
                    <a:pt x="34" y="601"/>
                  </a:cubicBezTo>
                  <a:cubicBezTo>
                    <a:pt x="0" y="634"/>
                    <a:pt x="0" y="701"/>
                    <a:pt x="34" y="768"/>
                  </a:cubicBezTo>
                  <a:cubicBezTo>
                    <a:pt x="50" y="784"/>
                    <a:pt x="84" y="793"/>
                    <a:pt x="117" y="793"/>
                  </a:cubicBezTo>
                  <a:cubicBezTo>
                    <a:pt x="150" y="793"/>
                    <a:pt x="184" y="784"/>
                    <a:pt x="200" y="768"/>
                  </a:cubicBezTo>
                  <a:cubicBezTo>
                    <a:pt x="200" y="768"/>
                    <a:pt x="234" y="768"/>
                    <a:pt x="267" y="701"/>
                  </a:cubicBezTo>
                  <a:cubicBezTo>
                    <a:pt x="334" y="668"/>
                    <a:pt x="400" y="634"/>
                    <a:pt x="501" y="601"/>
                  </a:cubicBezTo>
                  <a:cubicBezTo>
                    <a:pt x="534" y="534"/>
                    <a:pt x="567" y="534"/>
                    <a:pt x="601" y="534"/>
                  </a:cubicBezTo>
                  <a:cubicBezTo>
                    <a:pt x="667" y="501"/>
                    <a:pt x="701" y="501"/>
                    <a:pt x="767" y="501"/>
                  </a:cubicBezTo>
                  <a:cubicBezTo>
                    <a:pt x="812" y="501"/>
                    <a:pt x="856" y="486"/>
                    <a:pt x="891" y="486"/>
                  </a:cubicBezTo>
                  <a:cubicBezTo>
                    <a:pt x="908" y="486"/>
                    <a:pt x="923" y="490"/>
                    <a:pt x="934" y="501"/>
                  </a:cubicBezTo>
                  <a:lnTo>
                    <a:pt x="1034" y="501"/>
                  </a:lnTo>
                  <a:cubicBezTo>
                    <a:pt x="667" y="701"/>
                    <a:pt x="534" y="1201"/>
                    <a:pt x="734" y="1702"/>
                  </a:cubicBezTo>
                  <a:cubicBezTo>
                    <a:pt x="884" y="2077"/>
                    <a:pt x="1203" y="2321"/>
                    <a:pt x="1536" y="2321"/>
                  </a:cubicBezTo>
                  <a:cubicBezTo>
                    <a:pt x="1647" y="2321"/>
                    <a:pt x="1760" y="2294"/>
                    <a:pt x="1868" y="2235"/>
                  </a:cubicBezTo>
                  <a:cubicBezTo>
                    <a:pt x="2268" y="2069"/>
                    <a:pt x="2402" y="1535"/>
                    <a:pt x="2202" y="1034"/>
                  </a:cubicBezTo>
                  <a:cubicBezTo>
                    <a:pt x="2035" y="601"/>
                    <a:pt x="1868" y="434"/>
                    <a:pt x="1835" y="367"/>
                  </a:cubicBezTo>
                  <a:cubicBezTo>
                    <a:pt x="1768" y="334"/>
                    <a:pt x="1701" y="301"/>
                    <a:pt x="1668" y="201"/>
                  </a:cubicBezTo>
                  <a:cubicBezTo>
                    <a:pt x="1601" y="167"/>
                    <a:pt x="1535" y="134"/>
                    <a:pt x="1435" y="100"/>
                  </a:cubicBezTo>
                  <a:cubicBezTo>
                    <a:pt x="1368" y="34"/>
                    <a:pt x="1268" y="0"/>
                    <a:pt x="120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82" name="Google Shape;582;p26"/>
            <p:cNvSpPr/>
            <p:nvPr/>
          </p:nvSpPr>
          <p:spPr>
            <a:xfrm>
              <a:off x="2808000" y="3907550"/>
              <a:ext cx="145150" cy="128150"/>
            </a:xfrm>
            <a:custGeom>
              <a:avLst/>
              <a:gdLst/>
              <a:ahLst/>
              <a:cxnLst/>
              <a:rect l="l" t="t" r="r" b="b"/>
              <a:pathLst>
                <a:path w="5806" h="5126" extrusionOk="0">
                  <a:moveTo>
                    <a:pt x="2919" y="1"/>
                  </a:moveTo>
                  <a:cubicBezTo>
                    <a:pt x="2547" y="1"/>
                    <a:pt x="2167" y="84"/>
                    <a:pt x="1802" y="262"/>
                  </a:cubicBezTo>
                  <a:cubicBezTo>
                    <a:pt x="535" y="829"/>
                    <a:pt x="1" y="2363"/>
                    <a:pt x="601" y="3664"/>
                  </a:cubicBezTo>
                  <a:cubicBezTo>
                    <a:pt x="1009" y="4576"/>
                    <a:pt x="1919" y="5126"/>
                    <a:pt x="2881" y="5126"/>
                  </a:cubicBezTo>
                  <a:cubicBezTo>
                    <a:pt x="3256" y="5126"/>
                    <a:pt x="3639" y="5043"/>
                    <a:pt x="4004" y="4865"/>
                  </a:cubicBezTo>
                  <a:cubicBezTo>
                    <a:pt x="5271" y="4298"/>
                    <a:pt x="5805" y="2763"/>
                    <a:pt x="5205" y="1462"/>
                  </a:cubicBezTo>
                  <a:cubicBezTo>
                    <a:pt x="4772" y="550"/>
                    <a:pt x="3874" y="1"/>
                    <a:pt x="291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83" name="Google Shape;583;p26"/>
            <p:cNvSpPr/>
            <p:nvPr/>
          </p:nvSpPr>
          <p:spPr>
            <a:xfrm>
              <a:off x="2512800" y="4045150"/>
              <a:ext cx="145125" cy="128300"/>
            </a:xfrm>
            <a:custGeom>
              <a:avLst/>
              <a:gdLst/>
              <a:ahLst/>
              <a:cxnLst/>
              <a:rect l="l" t="t" r="r" b="b"/>
              <a:pathLst>
                <a:path w="5805" h="5132" extrusionOk="0">
                  <a:moveTo>
                    <a:pt x="2919" y="1"/>
                  </a:moveTo>
                  <a:cubicBezTo>
                    <a:pt x="2547" y="1"/>
                    <a:pt x="2166" y="84"/>
                    <a:pt x="1802" y="262"/>
                  </a:cubicBezTo>
                  <a:cubicBezTo>
                    <a:pt x="568" y="829"/>
                    <a:pt x="0" y="2363"/>
                    <a:pt x="601" y="3664"/>
                  </a:cubicBezTo>
                  <a:cubicBezTo>
                    <a:pt x="1006" y="4594"/>
                    <a:pt x="1922" y="5131"/>
                    <a:pt x="2875" y="5131"/>
                  </a:cubicBezTo>
                  <a:cubicBezTo>
                    <a:pt x="3255" y="5131"/>
                    <a:pt x="3642" y="5046"/>
                    <a:pt x="4003" y="4865"/>
                  </a:cubicBezTo>
                  <a:cubicBezTo>
                    <a:pt x="5271" y="4298"/>
                    <a:pt x="5805" y="2763"/>
                    <a:pt x="5238" y="1462"/>
                  </a:cubicBezTo>
                  <a:cubicBezTo>
                    <a:pt x="4781" y="550"/>
                    <a:pt x="3876" y="1"/>
                    <a:pt x="291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84" name="Google Shape;584;p26"/>
            <p:cNvSpPr/>
            <p:nvPr/>
          </p:nvSpPr>
          <p:spPr>
            <a:xfrm>
              <a:off x="2692925" y="4006000"/>
              <a:ext cx="85925" cy="57825"/>
            </a:xfrm>
            <a:custGeom>
              <a:avLst/>
              <a:gdLst/>
              <a:ahLst/>
              <a:cxnLst/>
              <a:rect l="l" t="t" r="r" b="b"/>
              <a:pathLst>
                <a:path w="3437" h="2313" extrusionOk="0">
                  <a:moveTo>
                    <a:pt x="2302" y="0"/>
                  </a:moveTo>
                  <a:cubicBezTo>
                    <a:pt x="2017" y="0"/>
                    <a:pt x="1713" y="48"/>
                    <a:pt x="1435" y="193"/>
                  </a:cubicBezTo>
                  <a:cubicBezTo>
                    <a:pt x="101" y="860"/>
                    <a:pt x="1" y="2161"/>
                    <a:pt x="1" y="2161"/>
                  </a:cubicBezTo>
                  <a:cubicBezTo>
                    <a:pt x="285" y="2256"/>
                    <a:pt x="591" y="2312"/>
                    <a:pt x="902" y="2312"/>
                  </a:cubicBezTo>
                  <a:cubicBezTo>
                    <a:pt x="1356" y="2312"/>
                    <a:pt x="1819" y="2192"/>
                    <a:pt x="2236" y="1894"/>
                  </a:cubicBezTo>
                  <a:cubicBezTo>
                    <a:pt x="2936" y="1427"/>
                    <a:pt x="3270" y="827"/>
                    <a:pt x="3436" y="193"/>
                  </a:cubicBezTo>
                  <a:cubicBezTo>
                    <a:pt x="3370" y="193"/>
                    <a:pt x="2873" y="0"/>
                    <a:pt x="230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85" name="Google Shape;585;p26"/>
            <p:cNvSpPr/>
            <p:nvPr/>
          </p:nvSpPr>
          <p:spPr>
            <a:xfrm>
              <a:off x="2657075" y="3954825"/>
              <a:ext cx="128450" cy="105225"/>
            </a:xfrm>
            <a:custGeom>
              <a:avLst/>
              <a:gdLst/>
              <a:ahLst/>
              <a:cxnLst/>
              <a:rect l="l" t="t" r="r" b="b"/>
              <a:pathLst>
                <a:path w="5138" h="4209" extrusionOk="0">
                  <a:moveTo>
                    <a:pt x="4071" y="1"/>
                  </a:moveTo>
                  <a:cubicBezTo>
                    <a:pt x="3565" y="1"/>
                    <a:pt x="2643" y="370"/>
                    <a:pt x="1768" y="906"/>
                  </a:cubicBezTo>
                  <a:cubicBezTo>
                    <a:pt x="834" y="1540"/>
                    <a:pt x="0" y="2307"/>
                    <a:pt x="34" y="2941"/>
                  </a:cubicBezTo>
                  <a:cubicBezTo>
                    <a:pt x="67" y="3374"/>
                    <a:pt x="667" y="3941"/>
                    <a:pt x="1435" y="4208"/>
                  </a:cubicBezTo>
                  <a:cubicBezTo>
                    <a:pt x="1435" y="4208"/>
                    <a:pt x="1568" y="2907"/>
                    <a:pt x="2869" y="2240"/>
                  </a:cubicBezTo>
                  <a:cubicBezTo>
                    <a:pt x="3158" y="2090"/>
                    <a:pt x="3479" y="2040"/>
                    <a:pt x="3778" y="2040"/>
                  </a:cubicBezTo>
                  <a:cubicBezTo>
                    <a:pt x="4341" y="2040"/>
                    <a:pt x="4827" y="2218"/>
                    <a:pt x="4870" y="2240"/>
                  </a:cubicBezTo>
                  <a:cubicBezTo>
                    <a:pt x="5137" y="1239"/>
                    <a:pt x="4737" y="239"/>
                    <a:pt x="4303" y="38"/>
                  </a:cubicBezTo>
                  <a:cubicBezTo>
                    <a:pt x="4242" y="13"/>
                    <a:pt x="4163" y="1"/>
                    <a:pt x="407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586" name="Google Shape;586;p26"/>
          <p:cNvSpPr/>
          <p:nvPr/>
        </p:nvSpPr>
        <p:spPr>
          <a:xfrm>
            <a:off x="9995399" y="4789700"/>
            <a:ext cx="2196509" cy="2068203"/>
          </a:xfrm>
          <a:custGeom>
            <a:avLst/>
            <a:gdLst/>
            <a:ahLst/>
            <a:cxnLst/>
            <a:rect l="l" t="t" r="r" b="b"/>
            <a:pathLst>
              <a:path w="59301" h="55837" extrusionOk="0">
                <a:moveTo>
                  <a:pt x="53972" y="1"/>
                </a:moveTo>
                <a:cubicBezTo>
                  <a:pt x="47710" y="1"/>
                  <a:pt x="44048" y="6413"/>
                  <a:pt x="43048" y="10621"/>
                </a:cubicBezTo>
                <a:cubicBezTo>
                  <a:pt x="41735" y="15892"/>
                  <a:pt x="42451" y="21621"/>
                  <a:pt x="40422" y="26654"/>
                </a:cubicBezTo>
                <a:cubicBezTo>
                  <a:pt x="36821" y="35666"/>
                  <a:pt x="25940" y="39386"/>
                  <a:pt x="16232" y="39425"/>
                </a:cubicBezTo>
                <a:cubicBezTo>
                  <a:pt x="15382" y="39425"/>
                  <a:pt x="14519" y="39408"/>
                  <a:pt x="13657" y="39408"/>
                </a:cubicBezTo>
                <a:cubicBezTo>
                  <a:pt x="11069" y="39408"/>
                  <a:pt x="8484" y="39565"/>
                  <a:pt x="6246" y="40818"/>
                </a:cubicBezTo>
                <a:cubicBezTo>
                  <a:pt x="1293" y="43563"/>
                  <a:pt x="338" y="50167"/>
                  <a:pt x="0" y="55837"/>
                </a:cubicBezTo>
                <a:lnTo>
                  <a:pt x="59300" y="55837"/>
                </a:lnTo>
                <a:lnTo>
                  <a:pt x="59221" y="1371"/>
                </a:lnTo>
                <a:cubicBezTo>
                  <a:pt x="57305" y="411"/>
                  <a:pt x="55555" y="1"/>
                  <a:pt x="53972"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587" name="Google Shape;587;p26"/>
          <p:cNvSpPr/>
          <p:nvPr/>
        </p:nvSpPr>
        <p:spPr>
          <a:xfrm rot="10487565">
            <a:off x="-270209" y="-261913"/>
            <a:ext cx="2460396" cy="3461020"/>
          </a:xfrm>
          <a:custGeom>
            <a:avLst/>
            <a:gdLst/>
            <a:ahLst/>
            <a:cxnLst/>
            <a:rect l="l" t="t" r="r" b="b"/>
            <a:pathLst>
              <a:path w="91268" h="128386" extrusionOk="0">
                <a:moveTo>
                  <a:pt x="70698" y="0"/>
                </a:moveTo>
                <a:cubicBezTo>
                  <a:pt x="63406" y="0"/>
                  <a:pt x="57439" y="3978"/>
                  <a:pt x="57530" y="14724"/>
                </a:cubicBezTo>
                <a:cubicBezTo>
                  <a:pt x="57609" y="23656"/>
                  <a:pt x="64711" y="30638"/>
                  <a:pt x="64353" y="39351"/>
                </a:cubicBezTo>
                <a:cubicBezTo>
                  <a:pt x="63995" y="47209"/>
                  <a:pt x="53730" y="47945"/>
                  <a:pt x="51244" y="55166"/>
                </a:cubicBezTo>
                <a:cubicBezTo>
                  <a:pt x="48200" y="64038"/>
                  <a:pt x="55401" y="73308"/>
                  <a:pt x="51045" y="81524"/>
                </a:cubicBezTo>
                <a:cubicBezTo>
                  <a:pt x="45196" y="92525"/>
                  <a:pt x="0" y="76292"/>
                  <a:pt x="9966" y="111622"/>
                </a:cubicBezTo>
                <a:cubicBezTo>
                  <a:pt x="13190" y="123066"/>
                  <a:pt x="31585" y="128386"/>
                  <a:pt x="48574" y="128386"/>
                </a:cubicBezTo>
                <a:cubicBezTo>
                  <a:pt x="59580" y="128386"/>
                  <a:pt x="69996" y="126153"/>
                  <a:pt x="75314" y="121906"/>
                </a:cubicBezTo>
                <a:cubicBezTo>
                  <a:pt x="83967" y="114964"/>
                  <a:pt x="83868" y="99050"/>
                  <a:pt x="84902" y="89123"/>
                </a:cubicBezTo>
                <a:cubicBezTo>
                  <a:pt x="87647" y="63382"/>
                  <a:pt x="78616" y="32727"/>
                  <a:pt x="91268" y="8617"/>
                </a:cubicBezTo>
                <a:cubicBezTo>
                  <a:pt x="86019" y="3711"/>
                  <a:pt x="77741" y="0"/>
                  <a:pt x="70698" y="0"/>
                </a:cubicBezTo>
                <a:close/>
              </a:path>
            </a:pathLst>
          </a:custGeom>
          <a:solidFill>
            <a:schemeClr val="accent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588" name="Google Shape;588;p26"/>
          <p:cNvSpPr/>
          <p:nvPr/>
        </p:nvSpPr>
        <p:spPr>
          <a:xfrm rot="3807589" flipH="1">
            <a:off x="1481481" y="882218"/>
            <a:ext cx="175860" cy="175919"/>
          </a:xfrm>
          <a:custGeom>
            <a:avLst/>
            <a:gdLst/>
            <a:ahLst/>
            <a:cxnLst/>
            <a:rect l="l" t="t" r="r" b="b"/>
            <a:pathLst>
              <a:path w="2845" h="2846" extrusionOk="0">
                <a:moveTo>
                  <a:pt x="1432" y="1"/>
                </a:moveTo>
                <a:cubicBezTo>
                  <a:pt x="656" y="1"/>
                  <a:pt x="0" y="618"/>
                  <a:pt x="0" y="1413"/>
                </a:cubicBezTo>
                <a:cubicBezTo>
                  <a:pt x="0" y="2189"/>
                  <a:pt x="637" y="2846"/>
                  <a:pt x="1432" y="2846"/>
                </a:cubicBezTo>
                <a:cubicBezTo>
                  <a:pt x="2188" y="2846"/>
                  <a:pt x="2845" y="2209"/>
                  <a:pt x="2845" y="1413"/>
                </a:cubicBezTo>
                <a:cubicBezTo>
                  <a:pt x="2845" y="618"/>
                  <a:pt x="2188" y="1"/>
                  <a:pt x="1432"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589" name="Google Shape;589;p26"/>
          <p:cNvSpPr/>
          <p:nvPr/>
        </p:nvSpPr>
        <p:spPr>
          <a:xfrm rot="3807589" flipH="1">
            <a:off x="1084862" y="750011"/>
            <a:ext cx="175860" cy="175919"/>
          </a:xfrm>
          <a:custGeom>
            <a:avLst/>
            <a:gdLst/>
            <a:ahLst/>
            <a:cxnLst/>
            <a:rect l="l" t="t" r="r" b="b"/>
            <a:pathLst>
              <a:path w="2845" h="2846" extrusionOk="0">
                <a:moveTo>
                  <a:pt x="1432" y="1"/>
                </a:moveTo>
                <a:cubicBezTo>
                  <a:pt x="656" y="1"/>
                  <a:pt x="0" y="618"/>
                  <a:pt x="0" y="1413"/>
                </a:cubicBezTo>
                <a:cubicBezTo>
                  <a:pt x="0" y="2189"/>
                  <a:pt x="637" y="2846"/>
                  <a:pt x="1432" y="2846"/>
                </a:cubicBezTo>
                <a:cubicBezTo>
                  <a:pt x="2188" y="2846"/>
                  <a:pt x="2845" y="2209"/>
                  <a:pt x="2845" y="1413"/>
                </a:cubicBezTo>
                <a:cubicBezTo>
                  <a:pt x="2845" y="618"/>
                  <a:pt x="2188" y="1"/>
                  <a:pt x="1432" y="1"/>
                </a:cubicBezTo>
                <a:close/>
              </a:path>
            </a:pathLst>
          </a:cu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590" name="Google Shape;590;p26"/>
          <p:cNvSpPr/>
          <p:nvPr/>
        </p:nvSpPr>
        <p:spPr>
          <a:xfrm rot="3807582" flipH="1">
            <a:off x="10606834" y="6072684"/>
            <a:ext cx="215993" cy="216057"/>
          </a:xfrm>
          <a:custGeom>
            <a:avLst/>
            <a:gdLst/>
            <a:ahLst/>
            <a:cxnLst/>
            <a:rect l="l" t="t" r="r" b="b"/>
            <a:pathLst>
              <a:path w="2845" h="2846" extrusionOk="0">
                <a:moveTo>
                  <a:pt x="1432" y="1"/>
                </a:moveTo>
                <a:cubicBezTo>
                  <a:pt x="656" y="1"/>
                  <a:pt x="0" y="618"/>
                  <a:pt x="0" y="1413"/>
                </a:cubicBezTo>
                <a:cubicBezTo>
                  <a:pt x="0" y="2189"/>
                  <a:pt x="637" y="2846"/>
                  <a:pt x="1432" y="2846"/>
                </a:cubicBezTo>
                <a:cubicBezTo>
                  <a:pt x="2188" y="2846"/>
                  <a:pt x="2845" y="2209"/>
                  <a:pt x="2845" y="1413"/>
                </a:cubicBezTo>
                <a:cubicBezTo>
                  <a:pt x="2845" y="618"/>
                  <a:pt x="2188" y="1"/>
                  <a:pt x="1432" y="1"/>
                </a:cubicBezTo>
                <a:close/>
              </a:path>
            </a:pathLst>
          </a:custGeom>
          <a:solidFill>
            <a:schemeClr val="accent4"/>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591" name="Google Shape;591;p26"/>
          <p:cNvSpPr txBox="1">
            <a:spLocks noGrp="1"/>
          </p:cNvSpPr>
          <p:nvPr>
            <p:ph type="ctrTitle"/>
          </p:nvPr>
        </p:nvSpPr>
        <p:spPr>
          <a:xfrm flipH="1">
            <a:off x="7098533" y="3363433"/>
            <a:ext cx="2246000" cy="770400"/>
          </a:xfrm>
          <a:prstGeom prst="rect">
            <a:avLst/>
          </a:prstGeom>
        </p:spPr>
        <p:txBody>
          <a:bodyPr spcFirstLastPara="1" wrap="square" lIns="91425" tIns="91425" rIns="91425" bIns="91425" anchor="b" anchorCtr="0">
            <a:normAutofit/>
          </a:bodyPr>
          <a:lstStyle>
            <a:lvl1pPr lvl="0" rtl="0">
              <a:spcBef>
                <a:spcPts val="0"/>
              </a:spcBef>
              <a:spcAft>
                <a:spcPts val="0"/>
              </a:spcAft>
              <a:buSzPts val="3300"/>
              <a:buNone/>
              <a:defRPr sz="4400"/>
            </a:lvl1pPr>
            <a:lvl2pPr lvl="1" algn="r" rtl="0">
              <a:spcBef>
                <a:spcPts val="0"/>
              </a:spcBef>
              <a:spcAft>
                <a:spcPts val="0"/>
              </a:spcAft>
              <a:buClr>
                <a:schemeClr val="dk2"/>
              </a:buClr>
              <a:buSzPts val="1800"/>
              <a:buNone/>
              <a:defRPr sz="2400">
                <a:solidFill>
                  <a:schemeClr val="dk2"/>
                </a:solidFill>
              </a:defRPr>
            </a:lvl2pPr>
            <a:lvl3pPr lvl="2" algn="r" rtl="0">
              <a:spcBef>
                <a:spcPts val="0"/>
              </a:spcBef>
              <a:spcAft>
                <a:spcPts val="0"/>
              </a:spcAft>
              <a:buClr>
                <a:schemeClr val="dk2"/>
              </a:buClr>
              <a:buSzPts val="1800"/>
              <a:buNone/>
              <a:defRPr sz="2400">
                <a:solidFill>
                  <a:schemeClr val="dk2"/>
                </a:solidFill>
              </a:defRPr>
            </a:lvl3pPr>
            <a:lvl4pPr lvl="3" algn="r" rtl="0">
              <a:spcBef>
                <a:spcPts val="0"/>
              </a:spcBef>
              <a:spcAft>
                <a:spcPts val="0"/>
              </a:spcAft>
              <a:buClr>
                <a:schemeClr val="dk2"/>
              </a:buClr>
              <a:buSzPts val="1800"/>
              <a:buNone/>
              <a:defRPr sz="2400">
                <a:solidFill>
                  <a:schemeClr val="dk2"/>
                </a:solidFill>
              </a:defRPr>
            </a:lvl4pPr>
            <a:lvl5pPr lvl="4" algn="r" rtl="0">
              <a:spcBef>
                <a:spcPts val="0"/>
              </a:spcBef>
              <a:spcAft>
                <a:spcPts val="0"/>
              </a:spcAft>
              <a:buClr>
                <a:schemeClr val="dk2"/>
              </a:buClr>
              <a:buSzPts val="1800"/>
              <a:buNone/>
              <a:defRPr sz="2400">
                <a:solidFill>
                  <a:schemeClr val="dk2"/>
                </a:solidFill>
              </a:defRPr>
            </a:lvl5pPr>
            <a:lvl6pPr lvl="5" algn="r" rtl="0">
              <a:spcBef>
                <a:spcPts val="0"/>
              </a:spcBef>
              <a:spcAft>
                <a:spcPts val="0"/>
              </a:spcAft>
              <a:buClr>
                <a:schemeClr val="dk2"/>
              </a:buClr>
              <a:buSzPts val="1800"/>
              <a:buNone/>
              <a:defRPr sz="2400">
                <a:solidFill>
                  <a:schemeClr val="dk2"/>
                </a:solidFill>
              </a:defRPr>
            </a:lvl6pPr>
            <a:lvl7pPr lvl="6" algn="r" rtl="0">
              <a:spcBef>
                <a:spcPts val="0"/>
              </a:spcBef>
              <a:spcAft>
                <a:spcPts val="0"/>
              </a:spcAft>
              <a:buClr>
                <a:schemeClr val="dk2"/>
              </a:buClr>
              <a:buSzPts val="1800"/>
              <a:buNone/>
              <a:defRPr sz="2400">
                <a:solidFill>
                  <a:schemeClr val="dk2"/>
                </a:solidFill>
              </a:defRPr>
            </a:lvl7pPr>
            <a:lvl8pPr lvl="7" algn="r" rtl="0">
              <a:spcBef>
                <a:spcPts val="0"/>
              </a:spcBef>
              <a:spcAft>
                <a:spcPts val="0"/>
              </a:spcAft>
              <a:buClr>
                <a:schemeClr val="dk2"/>
              </a:buClr>
              <a:buSzPts val="1800"/>
              <a:buNone/>
              <a:defRPr sz="2400">
                <a:solidFill>
                  <a:schemeClr val="dk2"/>
                </a:solidFill>
              </a:defRPr>
            </a:lvl8pPr>
            <a:lvl9pPr lvl="8" algn="r" rtl="0">
              <a:spcBef>
                <a:spcPts val="0"/>
              </a:spcBef>
              <a:spcAft>
                <a:spcPts val="0"/>
              </a:spcAft>
              <a:buClr>
                <a:schemeClr val="dk2"/>
              </a:buClr>
              <a:buSzPts val="1800"/>
              <a:buNone/>
              <a:defRPr sz="2400">
                <a:solidFill>
                  <a:schemeClr val="dk2"/>
                </a:solidFill>
              </a:defRPr>
            </a:lvl9pPr>
          </a:lstStyle>
          <a:p>
            <a:endParaRPr/>
          </a:p>
        </p:txBody>
      </p:sp>
      <p:sp>
        <p:nvSpPr>
          <p:cNvPr id="592" name="Google Shape;592;p26"/>
          <p:cNvSpPr txBox="1">
            <a:spLocks noGrp="1"/>
          </p:cNvSpPr>
          <p:nvPr>
            <p:ph type="subTitle" idx="1"/>
          </p:nvPr>
        </p:nvSpPr>
        <p:spPr>
          <a:xfrm flipH="1">
            <a:off x="7098533" y="3978700"/>
            <a:ext cx="3761200" cy="1476800"/>
          </a:xfrm>
          <a:prstGeom prst="rect">
            <a:avLst/>
          </a:prstGeom>
        </p:spPr>
        <p:txBody>
          <a:bodyPr spcFirstLastPara="1" wrap="square" lIns="91425" tIns="91425" rIns="91425" bIns="91425" anchor="t" anchorCtr="0">
            <a:normAutofit/>
          </a:bodyPr>
          <a:lstStyle>
            <a:lvl1pPr lvl="0" rtl="0">
              <a:lnSpc>
                <a:spcPct val="100000"/>
              </a:lnSpc>
              <a:spcBef>
                <a:spcPts val="0"/>
              </a:spcBef>
              <a:spcAft>
                <a:spcPts val="0"/>
              </a:spcAft>
              <a:buSzPts val="1600"/>
              <a:buNone/>
              <a:defRPr sz="1867" b="0"/>
            </a:lvl1pPr>
            <a:lvl2pPr lvl="1" algn="r" rtl="0">
              <a:lnSpc>
                <a:spcPct val="100000"/>
              </a:lnSpc>
              <a:spcBef>
                <a:spcPts val="0"/>
              </a:spcBef>
              <a:spcAft>
                <a:spcPts val="0"/>
              </a:spcAft>
              <a:buSzPts val="1600"/>
              <a:buNone/>
              <a:defRPr/>
            </a:lvl2pPr>
            <a:lvl3pPr lvl="2" algn="r" rtl="0">
              <a:lnSpc>
                <a:spcPct val="100000"/>
              </a:lnSpc>
              <a:spcBef>
                <a:spcPts val="0"/>
              </a:spcBef>
              <a:spcAft>
                <a:spcPts val="0"/>
              </a:spcAft>
              <a:buSzPts val="1600"/>
              <a:buNone/>
              <a:defRPr/>
            </a:lvl3pPr>
            <a:lvl4pPr lvl="3" algn="r" rtl="0">
              <a:lnSpc>
                <a:spcPct val="100000"/>
              </a:lnSpc>
              <a:spcBef>
                <a:spcPts val="0"/>
              </a:spcBef>
              <a:spcAft>
                <a:spcPts val="0"/>
              </a:spcAft>
              <a:buSzPts val="1600"/>
              <a:buNone/>
              <a:defRPr/>
            </a:lvl4pPr>
            <a:lvl5pPr lvl="4" algn="r" rtl="0">
              <a:lnSpc>
                <a:spcPct val="100000"/>
              </a:lnSpc>
              <a:spcBef>
                <a:spcPts val="0"/>
              </a:spcBef>
              <a:spcAft>
                <a:spcPts val="0"/>
              </a:spcAft>
              <a:buSzPts val="1600"/>
              <a:buNone/>
              <a:defRPr/>
            </a:lvl5pPr>
            <a:lvl6pPr lvl="5" algn="r" rtl="0">
              <a:lnSpc>
                <a:spcPct val="100000"/>
              </a:lnSpc>
              <a:spcBef>
                <a:spcPts val="0"/>
              </a:spcBef>
              <a:spcAft>
                <a:spcPts val="0"/>
              </a:spcAft>
              <a:buSzPts val="1600"/>
              <a:buNone/>
              <a:defRPr/>
            </a:lvl6pPr>
            <a:lvl7pPr lvl="6" algn="r" rtl="0">
              <a:lnSpc>
                <a:spcPct val="100000"/>
              </a:lnSpc>
              <a:spcBef>
                <a:spcPts val="0"/>
              </a:spcBef>
              <a:spcAft>
                <a:spcPts val="0"/>
              </a:spcAft>
              <a:buSzPts val="1600"/>
              <a:buNone/>
              <a:defRPr/>
            </a:lvl7pPr>
            <a:lvl8pPr lvl="7" algn="r" rtl="0">
              <a:lnSpc>
                <a:spcPct val="100000"/>
              </a:lnSpc>
              <a:spcBef>
                <a:spcPts val="0"/>
              </a:spcBef>
              <a:spcAft>
                <a:spcPts val="0"/>
              </a:spcAft>
              <a:buSzPts val="1600"/>
              <a:buNone/>
              <a:defRPr/>
            </a:lvl8pPr>
            <a:lvl9pPr lvl="8" algn="r" rtl="0">
              <a:lnSpc>
                <a:spcPct val="100000"/>
              </a:lnSpc>
              <a:spcBef>
                <a:spcPts val="0"/>
              </a:spcBef>
              <a:spcAft>
                <a:spcPts val="0"/>
              </a:spcAft>
              <a:buSzPts val="1600"/>
              <a:buNone/>
              <a:defRPr/>
            </a:lvl9pPr>
          </a:lstStyle>
          <a:p>
            <a:endParaRPr/>
          </a:p>
        </p:txBody>
      </p:sp>
    </p:spTree>
    <p:extLst>
      <p:ext uri="{BB962C8B-B14F-4D97-AF65-F5344CB8AC3E}">
        <p14:creationId xmlns:p14="http://schemas.microsoft.com/office/powerpoint/2010/main" val="161929789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Title and two columns 1">
  <p:cSld name="Title and two columns 1">
    <p:bg>
      <p:bgPr>
        <a:blipFill>
          <a:blip r:embed="rId2">
            <a:alphaModFix/>
          </a:blip>
          <a:stretch>
            <a:fillRect/>
          </a:stretch>
        </a:blipFill>
        <a:effectLst/>
      </p:bgPr>
    </p:bg>
    <p:spTree>
      <p:nvGrpSpPr>
        <p:cNvPr id="1" name="Shape 593"/>
        <p:cNvGrpSpPr/>
        <p:nvPr/>
      </p:nvGrpSpPr>
      <p:grpSpPr>
        <a:xfrm>
          <a:off x="0" y="0"/>
          <a:ext cx="0" cy="0"/>
          <a:chOff x="0" y="0"/>
          <a:chExt cx="0" cy="0"/>
        </a:xfrm>
      </p:grpSpPr>
      <p:sp>
        <p:nvSpPr>
          <p:cNvPr id="594" name="Google Shape;594;p27"/>
          <p:cNvSpPr txBox="1">
            <a:spLocks noGrp="1"/>
          </p:cNvSpPr>
          <p:nvPr>
            <p:ph type="title"/>
          </p:nvPr>
        </p:nvSpPr>
        <p:spPr>
          <a:xfrm>
            <a:off x="960100" y="593367"/>
            <a:ext cx="10272000" cy="763600"/>
          </a:xfrm>
          <a:prstGeom prst="rect">
            <a:avLst/>
          </a:prstGeom>
        </p:spPr>
        <p:txBody>
          <a:bodyPr spcFirstLastPara="1" wrap="square" lIns="91425" tIns="91425" rIns="91425" bIns="91425" anchor="t" anchorCtr="0">
            <a:normAutofit/>
          </a:bodyPr>
          <a:lstStyle>
            <a:lvl1pPr lvl="0" rtl="0">
              <a:spcBef>
                <a:spcPts val="0"/>
              </a:spcBef>
              <a:spcAft>
                <a:spcPts val="0"/>
              </a:spcAft>
              <a:buSzPts val="2800"/>
              <a:buNone/>
              <a:defRPr sz="4267"/>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595" name="Google Shape;595;p27"/>
          <p:cNvSpPr txBox="1">
            <a:spLocks noGrp="1"/>
          </p:cNvSpPr>
          <p:nvPr>
            <p:ph type="subTitle" idx="1"/>
          </p:nvPr>
        </p:nvSpPr>
        <p:spPr>
          <a:xfrm flipH="1">
            <a:off x="959967" y="3508833"/>
            <a:ext cx="2689600" cy="1737600"/>
          </a:xfrm>
          <a:prstGeom prst="rect">
            <a:avLst/>
          </a:prstGeom>
        </p:spPr>
        <p:txBody>
          <a:bodyPr spcFirstLastPara="1" wrap="square" lIns="91425" tIns="91425" rIns="91425" bIns="91425" anchor="t" anchorCtr="0">
            <a:normAutofit/>
          </a:bodyPr>
          <a:lstStyle>
            <a:lvl1pPr lvl="0" rtl="0">
              <a:lnSpc>
                <a:spcPct val="100000"/>
              </a:lnSpc>
              <a:spcBef>
                <a:spcPts val="0"/>
              </a:spcBef>
              <a:spcAft>
                <a:spcPts val="0"/>
              </a:spcAft>
              <a:buSzPts val="1000"/>
              <a:buNone/>
              <a:defRPr sz="1867" b="0"/>
            </a:lvl1pPr>
            <a:lvl2pPr lvl="1" algn="ctr" rtl="0">
              <a:lnSpc>
                <a:spcPct val="100000"/>
              </a:lnSpc>
              <a:spcBef>
                <a:spcPts val="0"/>
              </a:spcBef>
              <a:spcAft>
                <a:spcPts val="0"/>
              </a:spcAft>
              <a:buSzPts val="1000"/>
              <a:buNone/>
              <a:defRPr sz="1333"/>
            </a:lvl2pPr>
            <a:lvl3pPr lvl="2" algn="ctr" rtl="0">
              <a:lnSpc>
                <a:spcPct val="100000"/>
              </a:lnSpc>
              <a:spcBef>
                <a:spcPts val="0"/>
              </a:spcBef>
              <a:spcAft>
                <a:spcPts val="0"/>
              </a:spcAft>
              <a:buSzPts val="1000"/>
              <a:buNone/>
              <a:defRPr sz="1333"/>
            </a:lvl3pPr>
            <a:lvl4pPr lvl="3" algn="ctr" rtl="0">
              <a:lnSpc>
                <a:spcPct val="100000"/>
              </a:lnSpc>
              <a:spcBef>
                <a:spcPts val="0"/>
              </a:spcBef>
              <a:spcAft>
                <a:spcPts val="0"/>
              </a:spcAft>
              <a:buSzPts val="1000"/>
              <a:buNone/>
              <a:defRPr sz="1333"/>
            </a:lvl4pPr>
            <a:lvl5pPr lvl="4" algn="ctr" rtl="0">
              <a:lnSpc>
                <a:spcPct val="100000"/>
              </a:lnSpc>
              <a:spcBef>
                <a:spcPts val="0"/>
              </a:spcBef>
              <a:spcAft>
                <a:spcPts val="0"/>
              </a:spcAft>
              <a:buSzPts val="1000"/>
              <a:buNone/>
              <a:defRPr sz="1333"/>
            </a:lvl5pPr>
            <a:lvl6pPr lvl="5" algn="ctr" rtl="0">
              <a:lnSpc>
                <a:spcPct val="100000"/>
              </a:lnSpc>
              <a:spcBef>
                <a:spcPts val="0"/>
              </a:spcBef>
              <a:spcAft>
                <a:spcPts val="0"/>
              </a:spcAft>
              <a:buSzPts val="1000"/>
              <a:buNone/>
              <a:defRPr sz="1333"/>
            </a:lvl6pPr>
            <a:lvl7pPr lvl="6" algn="ctr" rtl="0">
              <a:lnSpc>
                <a:spcPct val="100000"/>
              </a:lnSpc>
              <a:spcBef>
                <a:spcPts val="0"/>
              </a:spcBef>
              <a:spcAft>
                <a:spcPts val="0"/>
              </a:spcAft>
              <a:buSzPts val="1000"/>
              <a:buNone/>
              <a:defRPr sz="1333"/>
            </a:lvl7pPr>
            <a:lvl8pPr lvl="7" algn="ctr" rtl="0">
              <a:lnSpc>
                <a:spcPct val="100000"/>
              </a:lnSpc>
              <a:spcBef>
                <a:spcPts val="0"/>
              </a:spcBef>
              <a:spcAft>
                <a:spcPts val="0"/>
              </a:spcAft>
              <a:buSzPts val="1000"/>
              <a:buNone/>
              <a:defRPr sz="1333"/>
            </a:lvl8pPr>
            <a:lvl9pPr lvl="8" algn="ctr" rtl="0">
              <a:lnSpc>
                <a:spcPct val="100000"/>
              </a:lnSpc>
              <a:spcBef>
                <a:spcPts val="0"/>
              </a:spcBef>
              <a:spcAft>
                <a:spcPts val="0"/>
              </a:spcAft>
              <a:buSzPts val="1000"/>
              <a:buNone/>
              <a:defRPr sz="1333"/>
            </a:lvl9pPr>
          </a:lstStyle>
          <a:p>
            <a:endParaRPr/>
          </a:p>
        </p:txBody>
      </p:sp>
      <p:sp>
        <p:nvSpPr>
          <p:cNvPr id="596" name="Google Shape;596;p27"/>
          <p:cNvSpPr txBox="1">
            <a:spLocks noGrp="1"/>
          </p:cNvSpPr>
          <p:nvPr>
            <p:ph type="subTitle" idx="2"/>
          </p:nvPr>
        </p:nvSpPr>
        <p:spPr>
          <a:xfrm flipH="1">
            <a:off x="8489100" y="2020133"/>
            <a:ext cx="2858000" cy="770400"/>
          </a:xfrm>
          <a:prstGeom prst="rect">
            <a:avLst/>
          </a:prstGeom>
        </p:spPr>
        <p:txBody>
          <a:bodyPr spcFirstLastPara="1" wrap="square" lIns="91425" tIns="91425" rIns="91425" bIns="91425" anchor="t" anchorCtr="0">
            <a:normAutofit/>
          </a:bodyPr>
          <a:lstStyle>
            <a:lvl1pPr lvl="0" algn="r" rtl="0">
              <a:lnSpc>
                <a:spcPct val="100000"/>
              </a:lnSpc>
              <a:spcBef>
                <a:spcPts val="0"/>
              </a:spcBef>
              <a:spcAft>
                <a:spcPts val="0"/>
              </a:spcAft>
              <a:buSzPts val="1000"/>
              <a:buNone/>
              <a:defRPr sz="1867" b="0"/>
            </a:lvl1pPr>
            <a:lvl2pPr lvl="1" algn="ctr" rtl="0">
              <a:lnSpc>
                <a:spcPct val="100000"/>
              </a:lnSpc>
              <a:spcBef>
                <a:spcPts val="0"/>
              </a:spcBef>
              <a:spcAft>
                <a:spcPts val="0"/>
              </a:spcAft>
              <a:buSzPts val="1000"/>
              <a:buNone/>
              <a:defRPr sz="1333"/>
            </a:lvl2pPr>
            <a:lvl3pPr lvl="2" algn="ctr" rtl="0">
              <a:lnSpc>
                <a:spcPct val="100000"/>
              </a:lnSpc>
              <a:spcBef>
                <a:spcPts val="0"/>
              </a:spcBef>
              <a:spcAft>
                <a:spcPts val="0"/>
              </a:spcAft>
              <a:buSzPts val="1000"/>
              <a:buNone/>
              <a:defRPr sz="1333"/>
            </a:lvl3pPr>
            <a:lvl4pPr lvl="3" algn="ctr" rtl="0">
              <a:lnSpc>
                <a:spcPct val="100000"/>
              </a:lnSpc>
              <a:spcBef>
                <a:spcPts val="0"/>
              </a:spcBef>
              <a:spcAft>
                <a:spcPts val="0"/>
              </a:spcAft>
              <a:buSzPts val="1000"/>
              <a:buNone/>
              <a:defRPr sz="1333"/>
            </a:lvl4pPr>
            <a:lvl5pPr lvl="4" algn="ctr" rtl="0">
              <a:lnSpc>
                <a:spcPct val="100000"/>
              </a:lnSpc>
              <a:spcBef>
                <a:spcPts val="0"/>
              </a:spcBef>
              <a:spcAft>
                <a:spcPts val="0"/>
              </a:spcAft>
              <a:buSzPts val="1000"/>
              <a:buNone/>
              <a:defRPr sz="1333"/>
            </a:lvl5pPr>
            <a:lvl6pPr lvl="5" algn="ctr" rtl="0">
              <a:lnSpc>
                <a:spcPct val="100000"/>
              </a:lnSpc>
              <a:spcBef>
                <a:spcPts val="0"/>
              </a:spcBef>
              <a:spcAft>
                <a:spcPts val="0"/>
              </a:spcAft>
              <a:buSzPts val="1000"/>
              <a:buNone/>
              <a:defRPr sz="1333"/>
            </a:lvl6pPr>
            <a:lvl7pPr lvl="6" algn="ctr" rtl="0">
              <a:lnSpc>
                <a:spcPct val="100000"/>
              </a:lnSpc>
              <a:spcBef>
                <a:spcPts val="0"/>
              </a:spcBef>
              <a:spcAft>
                <a:spcPts val="0"/>
              </a:spcAft>
              <a:buSzPts val="1000"/>
              <a:buNone/>
              <a:defRPr sz="1333"/>
            </a:lvl7pPr>
            <a:lvl8pPr lvl="7" algn="ctr" rtl="0">
              <a:lnSpc>
                <a:spcPct val="100000"/>
              </a:lnSpc>
              <a:spcBef>
                <a:spcPts val="0"/>
              </a:spcBef>
              <a:spcAft>
                <a:spcPts val="0"/>
              </a:spcAft>
              <a:buSzPts val="1000"/>
              <a:buNone/>
              <a:defRPr sz="1333"/>
            </a:lvl8pPr>
            <a:lvl9pPr lvl="8" algn="ctr" rtl="0">
              <a:lnSpc>
                <a:spcPct val="100000"/>
              </a:lnSpc>
              <a:spcBef>
                <a:spcPts val="0"/>
              </a:spcBef>
              <a:spcAft>
                <a:spcPts val="0"/>
              </a:spcAft>
              <a:buSzPts val="1000"/>
              <a:buNone/>
              <a:defRPr sz="1333"/>
            </a:lvl9pPr>
          </a:lstStyle>
          <a:p>
            <a:endParaRPr/>
          </a:p>
        </p:txBody>
      </p:sp>
      <p:sp>
        <p:nvSpPr>
          <p:cNvPr id="597" name="Google Shape;597;p27"/>
          <p:cNvSpPr txBox="1">
            <a:spLocks noGrp="1"/>
          </p:cNvSpPr>
          <p:nvPr>
            <p:ph type="title" idx="3"/>
          </p:nvPr>
        </p:nvSpPr>
        <p:spPr>
          <a:xfrm>
            <a:off x="1075100" y="2994033"/>
            <a:ext cx="2273200" cy="562000"/>
          </a:xfrm>
          <a:prstGeom prst="rect">
            <a:avLst/>
          </a:prstGeom>
          <a:noFill/>
          <a:ln>
            <a:noFill/>
          </a:ln>
        </p:spPr>
        <p:txBody>
          <a:bodyPr spcFirstLastPara="1" wrap="square" lIns="0" tIns="0" rIns="0" bIns="0" anchor="ctr" anchorCtr="0">
            <a:normAutofit/>
          </a:bodyPr>
          <a:lstStyle>
            <a:lvl1pPr lvl="0" rtl="0">
              <a:spcBef>
                <a:spcPts val="0"/>
              </a:spcBef>
              <a:spcAft>
                <a:spcPts val="0"/>
              </a:spcAft>
              <a:buSzPts val="1400"/>
              <a:buNone/>
              <a:defRPr sz="2933" i="0"/>
            </a:lvl1pPr>
            <a:lvl2pPr lvl="1" algn="r" rtl="0">
              <a:spcBef>
                <a:spcPts val="0"/>
              </a:spcBef>
              <a:spcAft>
                <a:spcPts val="0"/>
              </a:spcAft>
              <a:buSzPts val="1400"/>
              <a:buNone/>
              <a:defRPr sz="1867"/>
            </a:lvl2pPr>
            <a:lvl3pPr lvl="2" algn="r" rtl="0">
              <a:spcBef>
                <a:spcPts val="0"/>
              </a:spcBef>
              <a:spcAft>
                <a:spcPts val="0"/>
              </a:spcAft>
              <a:buSzPts val="1400"/>
              <a:buNone/>
              <a:defRPr sz="1867"/>
            </a:lvl3pPr>
            <a:lvl4pPr lvl="3" algn="r" rtl="0">
              <a:spcBef>
                <a:spcPts val="0"/>
              </a:spcBef>
              <a:spcAft>
                <a:spcPts val="0"/>
              </a:spcAft>
              <a:buSzPts val="1400"/>
              <a:buNone/>
              <a:defRPr sz="1867"/>
            </a:lvl4pPr>
            <a:lvl5pPr lvl="4" algn="r" rtl="0">
              <a:spcBef>
                <a:spcPts val="0"/>
              </a:spcBef>
              <a:spcAft>
                <a:spcPts val="0"/>
              </a:spcAft>
              <a:buSzPts val="1400"/>
              <a:buNone/>
              <a:defRPr sz="1867"/>
            </a:lvl5pPr>
            <a:lvl6pPr lvl="5" algn="r" rtl="0">
              <a:spcBef>
                <a:spcPts val="0"/>
              </a:spcBef>
              <a:spcAft>
                <a:spcPts val="0"/>
              </a:spcAft>
              <a:buSzPts val="1400"/>
              <a:buNone/>
              <a:defRPr sz="1867"/>
            </a:lvl6pPr>
            <a:lvl7pPr lvl="6" algn="r" rtl="0">
              <a:spcBef>
                <a:spcPts val="0"/>
              </a:spcBef>
              <a:spcAft>
                <a:spcPts val="0"/>
              </a:spcAft>
              <a:buSzPts val="1400"/>
              <a:buNone/>
              <a:defRPr sz="1867"/>
            </a:lvl7pPr>
            <a:lvl8pPr lvl="7" algn="r" rtl="0">
              <a:spcBef>
                <a:spcPts val="0"/>
              </a:spcBef>
              <a:spcAft>
                <a:spcPts val="0"/>
              </a:spcAft>
              <a:buSzPts val="1400"/>
              <a:buNone/>
              <a:defRPr sz="1867"/>
            </a:lvl8pPr>
            <a:lvl9pPr lvl="8" algn="r" rtl="0">
              <a:spcBef>
                <a:spcPts val="0"/>
              </a:spcBef>
              <a:spcAft>
                <a:spcPts val="0"/>
              </a:spcAft>
              <a:buSzPts val="1400"/>
              <a:buNone/>
              <a:defRPr sz="1867"/>
            </a:lvl9pPr>
          </a:lstStyle>
          <a:p>
            <a:endParaRPr/>
          </a:p>
        </p:txBody>
      </p:sp>
      <p:sp>
        <p:nvSpPr>
          <p:cNvPr id="598" name="Google Shape;598;p27"/>
          <p:cNvSpPr txBox="1">
            <a:spLocks noGrp="1"/>
          </p:cNvSpPr>
          <p:nvPr>
            <p:ph type="title" idx="4"/>
          </p:nvPr>
        </p:nvSpPr>
        <p:spPr>
          <a:xfrm>
            <a:off x="8872467" y="2991400"/>
            <a:ext cx="2382000" cy="562000"/>
          </a:xfrm>
          <a:prstGeom prst="rect">
            <a:avLst/>
          </a:prstGeom>
          <a:noFill/>
          <a:ln>
            <a:noFill/>
          </a:ln>
        </p:spPr>
        <p:txBody>
          <a:bodyPr spcFirstLastPara="1" wrap="square" lIns="0" tIns="0" rIns="0" bIns="0" anchor="ctr" anchorCtr="0">
            <a:normAutofit/>
          </a:bodyPr>
          <a:lstStyle>
            <a:lvl1pPr lvl="0" algn="r" rtl="0">
              <a:spcBef>
                <a:spcPts val="0"/>
              </a:spcBef>
              <a:spcAft>
                <a:spcPts val="0"/>
              </a:spcAft>
              <a:buSzPts val="1400"/>
              <a:buNone/>
              <a:defRPr sz="2933" i="0"/>
            </a:lvl1pPr>
            <a:lvl2pPr lvl="1" rtl="0">
              <a:spcBef>
                <a:spcPts val="0"/>
              </a:spcBef>
              <a:spcAft>
                <a:spcPts val="0"/>
              </a:spcAft>
              <a:buSzPts val="1400"/>
              <a:buNone/>
              <a:defRPr sz="1867"/>
            </a:lvl2pPr>
            <a:lvl3pPr lvl="2" rtl="0">
              <a:spcBef>
                <a:spcPts val="0"/>
              </a:spcBef>
              <a:spcAft>
                <a:spcPts val="0"/>
              </a:spcAft>
              <a:buSzPts val="1400"/>
              <a:buNone/>
              <a:defRPr sz="1867"/>
            </a:lvl3pPr>
            <a:lvl4pPr lvl="3" rtl="0">
              <a:spcBef>
                <a:spcPts val="0"/>
              </a:spcBef>
              <a:spcAft>
                <a:spcPts val="0"/>
              </a:spcAft>
              <a:buSzPts val="1400"/>
              <a:buNone/>
              <a:defRPr sz="1867"/>
            </a:lvl4pPr>
            <a:lvl5pPr lvl="4" rtl="0">
              <a:spcBef>
                <a:spcPts val="0"/>
              </a:spcBef>
              <a:spcAft>
                <a:spcPts val="0"/>
              </a:spcAft>
              <a:buSzPts val="1400"/>
              <a:buNone/>
              <a:defRPr sz="1867"/>
            </a:lvl5pPr>
            <a:lvl6pPr lvl="5" rtl="0">
              <a:spcBef>
                <a:spcPts val="0"/>
              </a:spcBef>
              <a:spcAft>
                <a:spcPts val="0"/>
              </a:spcAft>
              <a:buSzPts val="1400"/>
              <a:buNone/>
              <a:defRPr sz="1867"/>
            </a:lvl6pPr>
            <a:lvl7pPr lvl="6" rtl="0">
              <a:spcBef>
                <a:spcPts val="0"/>
              </a:spcBef>
              <a:spcAft>
                <a:spcPts val="0"/>
              </a:spcAft>
              <a:buSzPts val="1400"/>
              <a:buNone/>
              <a:defRPr sz="1867"/>
            </a:lvl7pPr>
            <a:lvl8pPr lvl="7" rtl="0">
              <a:spcBef>
                <a:spcPts val="0"/>
              </a:spcBef>
              <a:spcAft>
                <a:spcPts val="0"/>
              </a:spcAft>
              <a:buSzPts val="1400"/>
              <a:buNone/>
              <a:defRPr sz="1867"/>
            </a:lvl8pPr>
            <a:lvl9pPr lvl="8" rtl="0">
              <a:spcBef>
                <a:spcPts val="0"/>
              </a:spcBef>
              <a:spcAft>
                <a:spcPts val="0"/>
              </a:spcAft>
              <a:buSzPts val="1400"/>
              <a:buNone/>
              <a:defRPr sz="1867"/>
            </a:lvl9pPr>
          </a:lstStyle>
          <a:p>
            <a:endParaRPr/>
          </a:p>
        </p:txBody>
      </p:sp>
      <p:sp>
        <p:nvSpPr>
          <p:cNvPr id="599" name="Google Shape;599;p27"/>
          <p:cNvSpPr/>
          <p:nvPr/>
        </p:nvSpPr>
        <p:spPr>
          <a:xfrm rot="-5400000">
            <a:off x="-670555" y="4679181"/>
            <a:ext cx="1985464" cy="845359"/>
          </a:xfrm>
          <a:custGeom>
            <a:avLst/>
            <a:gdLst/>
            <a:ahLst/>
            <a:cxnLst/>
            <a:rect l="l" t="t" r="r" b="b"/>
            <a:pathLst>
              <a:path w="17010" h="7242" extrusionOk="0">
                <a:moveTo>
                  <a:pt x="1" y="1"/>
                </a:moveTo>
                <a:cubicBezTo>
                  <a:pt x="677" y="4099"/>
                  <a:pt x="4238" y="7242"/>
                  <a:pt x="8515" y="7242"/>
                </a:cubicBezTo>
                <a:cubicBezTo>
                  <a:pt x="12792" y="7242"/>
                  <a:pt x="16333" y="4099"/>
                  <a:pt x="17009" y="1"/>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600" name="Google Shape;600;p27"/>
          <p:cNvSpPr/>
          <p:nvPr/>
        </p:nvSpPr>
        <p:spPr>
          <a:xfrm rot="5400000">
            <a:off x="10264813" y="-1895049"/>
            <a:ext cx="1685787" cy="4699368"/>
          </a:xfrm>
          <a:custGeom>
            <a:avLst/>
            <a:gdLst/>
            <a:ahLst/>
            <a:cxnLst/>
            <a:rect l="l" t="t" r="r" b="b"/>
            <a:pathLst>
              <a:path w="32605" h="90891" extrusionOk="0">
                <a:moveTo>
                  <a:pt x="0" y="1"/>
                </a:moveTo>
                <a:lnTo>
                  <a:pt x="0" y="90890"/>
                </a:lnTo>
                <a:cubicBezTo>
                  <a:pt x="7361" y="89757"/>
                  <a:pt x="16312" y="85062"/>
                  <a:pt x="19893" y="78557"/>
                </a:cubicBezTo>
                <a:cubicBezTo>
                  <a:pt x="23454" y="72032"/>
                  <a:pt x="23792" y="63836"/>
                  <a:pt x="20788" y="57033"/>
                </a:cubicBezTo>
                <a:cubicBezTo>
                  <a:pt x="18640" y="52239"/>
                  <a:pt x="15039" y="48260"/>
                  <a:pt x="12453" y="43705"/>
                </a:cubicBezTo>
                <a:cubicBezTo>
                  <a:pt x="9887" y="39130"/>
                  <a:pt x="8415" y="33341"/>
                  <a:pt x="10941" y="28746"/>
                </a:cubicBezTo>
                <a:cubicBezTo>
                  <a:pt x="12871" y="25205"/>
                  <a:pt x="16690" y="23176"/>
                  <a:pt x="20311" y="21445"/>
                </a:cubicBezTo>
                <a:cubicBezTo>
                  <a:pt x="23971" y="19734"/>
                  <a:pt x="27830" y="18023"/>
                  <a:pt x="30217" y="14761"/>
                </a:cubicBezTo>
                <a:cubicBezTo>
                  <a:pt x="32604" y="11538"/>
                  <a:pt x="29780" y="2189"/>
                  <a:pt x="26398" y="20"/>
                </a:cubicBezTo>
                <a:lnTo>
                  <a:pt x="0" y="1"/>
                </a:lnTo>
                <a:close/>
              </a:path>
            </a:pathLst>
          </a:custGeom>
          <a:solidFill>
            <a:schemeClr val="accent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601" name="Google Shape;601;p27"/>
          <p:cNvSpPr/>
          <p:nvPr/>
        </p:nvSpPr>
        <p:spPr>
          <a:xfrm rot="-2567227">
            <a:off x="-582408" y="5339817"/>
            <a:ext cx="1425507" cy="2040371"/>
          </a:xfrm>
          <a:custGeom>
            <a:avLst/>
            <a:gdLst/>
            <a:ahLst/>
            <a:cxnLst/>
            <a:rect l="l" t="t" r="r" b="b"/>
            <a:pathLst>
              <a:path w="42770" h="61218" extrusionOk="0">
                <a:moveTo>
                  <a:pt x="27259" y="0"/>
                </a:moveTo>
                <a:cubicBezTo>
                  <a:pt x="15130" y="0"/>
                  <a:pt x="1" y="17509"/>
                  <a:pt x="7877" y="50591"/>
                </a:cubicBezTo>
                <a:cubicBezTo>
                  <a:pt x="12286" y="56677"/>
                  <a:pt x="20419" y="61217"/>
                  <a:pt x="27674" y="61217"/>
                </a:cubicBezTo>
                <a:cubicBezTo>
                  <a:pt x="34693" y="61217"/>
                  <a:pt x="40890" y="56967"/>
                  <a:pt x="42093" y="45757"/>
                </a:cubicBezTo>
                <a:cubicBezTo>
                  <a:pt x="42769" y="39391"/>
                  <a:pt x="38492" y="34498"/>
                  <a:pt x="38612" y="28231"/>
                </a:cubicBezTo>
                <a:cubicBezTo>
                  <a:pt x="38751" y="20692"/>
                  <a:pt x="41615" y="14127"/>
                  <a:pt x="38055" y="7046"/>
                </a:cubicBezTo>
                <a:cubicBezTo>
                  <a:pt x="35688" y="2317"/>
                  <a:pt x="31672" y="0"/>
                  <a:pt x="27259" y="0"/>
                </a:cubicBez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602" name="Google Shape;602;p27"/>
          <p:cNvSpPr/>
          <p:nvPr/>
        </p:nvSpPr>
        <p:spPr>
          <a:xfrm rot="2469417" flipH="1">
            <a:off x="11587347" y="340426"/>
            <a:ext cx="402203" cy="402335"/>
          </a:xfrm>
          <a:custGeom>
            <a:avLst/>
            <a:gdLst/>
            <a:ahLst/>
            <a:cxnLst/>
            <a:rect l="l" t="t" r="r" b="b"/>
            <a:pathLst>
              <a:path w="2845" h="2846" extrusionOk="0">
                <a:moveTo>
                  <a:pt x="1432" y="1"/>
                </a:moveTo>
                <a:cubicBezTo>
                  <a:pt x="656" y="1"/>
                  <a:pt x="0" y="618"/>
                  <a:pt x="0" y="1413"/>
                </a:cubicBezTo>
                <a:cubicBezTo>
                  <a:pt x="0" y="2189"/>
                  <a:pt x="637" y="2846"/>
                  <a:pt x="1432" y="2846"/>
                </a:cubicBezTo>
                <a:cubicBezTo>
                  <a:pt x="2188" y="2846"/>
                  <a:pt x="2845" y="2209"/>
                  <a:pt x="2845" y="1413"/>
                </a:cubicBezTo>
                <a:cubicBezTo>
                  <a:pt x="2845" y="618"/>
                  <a:pt x="2188" y="1"/>
                  <a:pt x="1432"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603" name="Google Shape;603;p27"/>
          <p:cNvSpPr/>
          <p:nvPr/>
        </p:nvSpPr>
        <p:spPr>
          <a:xfrm rot="2469375" flipH="1">
            <a:off x="546679" y="4163454"/>
            <a:ext cx="235976" cy="236057"/>
          </a:xfrm>
          <a:custGeom>
            <a:avLst/>
            <a:gdLst/>
            <a:ahLst/>
            <a:cxnLst/>
            <a:rect l="l" t="t" r="r" b="b"/>
            <a:pathLst>
              <a:path w="2845" h="2846" extrusionOk="0">
                <a:moveTo>
                  <a:pt x="1432" y="1"/>
                </a:moveTo>
                <a:cubicBezTo>
                  <a:pt x="656" y="1"/>
                  <a:pt x="0" y="618"/>
                  <a:pt x="0" y="1413"/>
                </a:cubicBezTo>
                <a:cubicBezTo>
                  <a:pt x="0" y="2189"/>
                  <a:pt x="637" y="2846"/>
                  <a:pt x="1432" y="2846"/>
                </a:cubicBezTo>
                <a:cubicBezTo>
                  <a:pt x="2188" y="2846"/>
                  <a:pt x="2845" y="2209"/>
                  <a:pt x="2845" y="1413"/>
                </a:cubicBezTo>
                <a:cubicBezTo>
                  <a:pt x="2845" y="618"/>
                  <a:pt x="2188" y="1"/>
                  <a:pt x="1432"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63323739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Only title 1">
  <p:cSld name="Only title 1">
    <p:bg>
      <p:bgPr>
        <a:blipFill>
          <a:blip r:embed="rId2">
            <a:alphaModFix/>
          </a:blip>
          <a:stretch>
            <a:fillRect/>
          </a:stretch>
        </a:blipFill>
        <a:effectLst/>
      </p:bgPr>
    </p:bg>
    <p:spTree>
      <p:nvGrpSpPr>
        <p:cNvPr id="1" name="Shape 604"/>
        <p:cNvGrpSpPr/>
        <p:nvPr/>
      </p:nvGrpSpPr>
      <p:grpSpPr>
        <a:xfrm>
          <a:off x="0" y="0"/>
          <a:ext cx="0" cy="0"/>
          <a:chOff x="0" y="0"/>
          <a:chExt cx="0" cy="0"/>
        </a:xfrm>
      </p:grpSpPr>
      <p:sp>
        <p:nvSpPr>
          <p:cNvPr id="605" name="Google Shape;605;p28"/>
          <p:cNvSpPr txBox="1">
            <a:spLocks noGrp="1"/>
          </p:cNvSpPr>
          <p:nvPr>
            <p:ph type="title"/>
          </p:nvPr>
        </p:nvSpPr>
        <p:spPr>
          <a:xfrm>
            <a:off x="831200" y="593367"/>
            <a:ext cx="10400800" cy="763600"/>
          </a:xfrm>
          <a:prstGeom prst="rect">
            <a:avLst/>
          </a:prstGeom>
        </p:spPr>
        <p:txBody>
          <a:bodyPr spcFirstLastPara="1" wrap="square" lIns="91425" tIns="91425" rIns="91425" bIns="91425" anchor="t" anchorCtr="0">
            <a:normAutofit/>
          </a:bodyPr>
          <a:lstStyle>
            <a:lvl1pPr lvl="0" rtl="0">
              <a:spcBef>
                <a:spcPts val="0"/>
              </a:spcBef>
              <a:spcAft>
                <a:spcPts val="0"/>
              </a:spcAft>
              <a:buSzPts val="2800"/>
              <a:buNone/>
              <a:defRPr sz="4267"/>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606" name="Google Shape;606;p28"/>
          <p:cNvSpPr/>
          <p:nvPr/>
        </p:nvSpPr>
        <p:spPr>
          <a:xfrm rot="5400000">
            <a:off x="9288307" y="3896699"/>
            <a:ext cx="869860" cy="5357461"/>
          </a:xfrm>
          <a:custGeom>
            <a:avLst/>
            <a:gdLst/>
            <a:ahLst/>
            <a:cxnLst/>
            <a:rect l="l" t="t" r="r" b="b"/>
            <a:pathLst>
              <a:path w="18600" h="104829" extrusionOk="0">
                <a:moveTo>
                  <a:pt x="16360" y="1"/>
                </a:moveTo>
                <a:cubicBezTo>
                  <a:pt x="9962" y="1"/>
                  <a:pt x="4427" y="11283"/>
                  <a:pt x="3561" y="15670"/>
                </a:cubicBezTo>
                <a:cubicBezTo>
                  <a:pt x="1512" y="25875"/>
                  <a:pt x="9370" y="33772"/>
                  <a:pt x="10762" y="43341"/>
                </a:cubicBezTo>
                <a:cubicBezTo>
                  <a:pt x="11936" y="51337"/>
                  <a:pt x="10921" y="59692"/>
                  <a:pt x="7719" y="67132"/>
                </a:cubicBezTo>
                <a:cubicBezTo>
                  <a:pt x="5172" y="73120"/>
                  <a:pt x="1214" y="78750"/>
                  <a:pt x="657" y="85254"/>
                </a:cubicBezTo>
                <a:cubicBezTo>
                  <a:pt x="0" y="93609"/>
                  <a:pt x="9111" y="104590"/>
                  <a:pt x="18560" y="104829"/>
                </a:cubicBezTo>
                <a:lnTo>
                  <a:pt x="18560" y="104829"/>
                </a:lnTo>
                <a:cubicBezTo>
                  <a:pt x="18600" y="104809"/>
                  <a:pt x="18341" y="372"/>
                  <a:pt x="18341" y="372"/>
                </a:cubicBezTo>
                <a:cubicBezTo>
                  <a:pt x="17675" y="118"/>
                  <a:pt x="17013" y="1"/>
                  <a:pt x="16360" y="1"/>
                </a:cubicBez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607" name="Google Shape;607;p28"/>
          <p:cNvSpPr/>
          <p:nvPr/>
        </p:nvSpPr>
        <p:spPr>
          <a:xfrm rot="-5400000">
            <a:off x="-670555" y="5594947"/>
            <a:ext cx="1985464" cy="845359"/>
          </a:xfrm>
          <a:custGeom>
            <a:avLst/>
            <a:gdLst/>
            <a:ahLst/>
            <a:cxnLst/>
            <a:rect l="l" t="t" r="r" b="b"/>
            <a:pathLst>
              <a:path w="17010" h="7242" extrusionOk="0">
                <a:moveTo>
                  <a:pt x="1" y="1"/>
                </a:moveTo>
                <a:cubicBezTo>
                  <a:pt x="677" y="4099"/>
                  <a:pt x="4238" y="7242"/>
                  <a:pt x="8515" y="7242"/>
                </a:cubicBezTo>
                <a:cubicBezTo>
                  <a:pt x="12792" y="7242"/>
                  <a:pt x="16333" y="4099"/>
                  <a:pt x="17009" y="1"/>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608" name="Google Shape;608;p28"/>
          <p:cNvSpPr/>
          <p:nvPr/>
        </p:nvSpPr>
        <p:spPr>
          <a:xfrm rot="2469294" flipH="1">
            <a:off x="421486" y="5001778"/>
            <a:ext cx="156495" cy="156548"/>
          </a:xfrm>
          <a:custGeom>
            <a:avLst/>
            <a:gdLst/>
            <a:ahLst/>
            <a:cxnLst/>
            <a:rect l="l" t="t" r="r" b="b"/>
            <a:pathLst>
              <a:path w="2845" h="2846" extrusionOk="0">
                <a:moveTo>
                  <a:pt x="1432" y="1"/>
                </a:moveTo>
                <a:cubicBezTo>
                  <a:pt x="656" y="1"/>
                  <a:pt x="0" y="618"/>
                  <a:pt x="0" y="1413"/>
                </a:cubicBezTo>
                <a:cubicBezTo>
                  <a:pt x="0" y="2189"/>
                  <a:pt x="637" y="2846"/>
                  <a:pt x="1432" y="2846"/>
                </a:cubicBezTo>
                <a:cubicBezTo>
                  <a:pt x="2188" y="2846"/>
                  <a:pt x="2845" y="2209"/>
                  <a:pt x="2845" y="1413"/>
                </a:cubicBezTo>
                <a:cubicBezTo>
                  <a:pt x="2845" y="618"/>
                  <a:pt x="2188" y="1"/>
                  <a:pt x="1432" y="1"/>
                </a:cubicBezTo>
                <a:close/>
              </a:path>
            </a:pathLst>
          </a:custGeom>
          <a:solidFill>
            <a:schemeClr val="accent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609" name="Google Shape;609;p28"/>
          <p:cNvSpPr/>
          <p:nvPr/>
        </p:nvSpPr>
        <p:spPr>
          <a:xfrm rot="2469228" flipH="1">
            <a:off x="548549" y="4801281"/>
            <a:ext cx="119363" cy="119403"/>
          </a:xfrm>
          <a:custGeom>
            <a:avLst/>
            <a:gdLst/>
            <a:ahLst/>
            <a:cxnLst/>
            <a:rect l="l" t="t" r="r" b="b"/>
            <a:pathLst>
              <a:path w="2845" h="2846" extrusionOk="0">
                <a:moveTo>
                  <a:pt x="1432" y="1"/>
                </a:moveTo>
                <a:cubicBezTo>
                  <a:pt x="656" y="1"/>
                  <a:pt x="0" y="618"/>
                  <a:pt x="0" y="1413"/>
                </a:cubicBezTo>
                <a:cubicBezTo>
                  <a:pt x="0" y="2189"/>
                  <a:pt x="637" y="2846"/>
                  <a:pt x="1432" y="2846"/>
                </a:cubicBezTo>
                <a:cubicBezTo>
                  <a:pt x="2188" y="2846"/>
                  <a:pt x="2845" y="2209"/>
                  <a:pt x="2845" y="1413"/>
                </a:cubicBezTo>
                <a:cubicBezTo>
                  <a:pt x="2845" y="618"/>
                  <a:pt x="2188" y="1"/>
                  <a:pt x="1432"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610" name="Google Shape;610;p28"/>
          <p:cNvSpPr/>
          <p:nvPr/>
        </p:nvSpPr>
        <p:spPr>
          <a:xfrm rot="2469331" flipH="1">
            <a:off x="8284209" y="6093625"/>
            <a:ext cx="304240" cy="304343"/>
          </a:xfrm>
          <a:custGeom>
            <a:avLst/>
            <a:gdLst/>
            <a:ahLst/>
            <a:cxnLst/>
            <a:rect l="l" t="t" r="r" b="b"/>
            <a:pathLst>
              <a:path w="2845" h="2846" extrusionOk="0">
                <a:moveTo>
                  <a:pt x="1432" y="1"/>
                </a:moveTo>
                <a:cubicBezTo>
                  <a:pt x="656" y="1"/>
                  <a:pt x="0" y="618"/>
                  <a:pt x="0" y="1413"/>
                </a:cubicBezTo>
                <a:cubicBezTo>
                  <a:pt x="0" y="2189"/>
                  <a:pt x="637" y="2846"/>
                  <a:pt x="1432" y="2846"/>
                </a:cubicBezTo>
                <a:cubicBezTo>
                  <a:pt x="2188" y="2846"/>
                  <a:pt x="2845" y="2209"/>
                  <a:pt x="2845" y="1413"/>
                </a:cubicBezTo>
                <a:cubicBezTo>
                  <a:pt x="2845" y="618"/>
                  <a:pt x="2188" y="1"/>
                  <a:pt x="1432" y="1"/>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611" name="Google Shape;611;p28"/>
          <p:cNvGrpSpPr/>
          <p:nvPr/>
        </p:nvGrpSpPr>
        <p:grpSpPr>
          <a:xfrm rot="5770333" flipH="1">
            <a:off x="11018653" y="513314"/>
            <a:ext cx="409016" cy="635117"/>
            <a:chOff x="4452729" y="352000"/>
            <a:chExt cx="225596" cy="350302"/>
          </a:xfrm>
        </p:grpSpPr>
        <p:sp>
          <p:nvSpPr>
            <p:cNvPr id="612" name="Google Shape;612;p28"/>
            <p:cNvSpPr/>
            <p:nvPr/>
          </p:nvSpPr>
          <p:spPr>
            <a:xfrm>
              <a:off x="4624575" y="352000"/>
              <a:ext cx="53750" cy="53225"/>
            </a:xfrm>
            <a:custGeom>
              <a:avLst/>
              <a:gdLst/>
              <a:ahLst/>
              <a:cxnLst/>
              <a:rect l="l" t="t" r="r" b="b"/>
              <a:pathLst>
                <a:path w="2150" h="2129" extrusionOk="0">
                  <a:moveTo>
                    <a:pt x="1075" y="0"/>
                  </a:moveTo>
                  <a:cubicBezTo>
                    <a:pt x="478" y="0"/>
                    <a:pt x="1" y="478"/>
                    <a:pt x="1" y="1075"/>
                  </a:cubicBezTo>
                  <a:cubicBezTo>
                    <a:pt x="1" y="1671"/>
                    <a:pt x="478" y="2129"/>
                    <a:pt x="1075" y="2129"/>
                  </a:cubicBezTo>
                  <a:cubicBezTo>
                    <a:pt x="1672" y="2129"/>
                    <a:pt x="2149" y="1671"/>
                    <a:pt x="2149" y="1075"/>
                  </a:cubicBezTo>
                  <a:cubicBezTo>
                    <a:pt x="2149" y="478"/>
                    <a:pt x="1672" y="0"/>
                    <a:pt x="107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13" name="Google Shape;613;p28"/>
            <p:cNvSpPr/>
            <p:nvPr/>
          </p:nvSpPr>
          <p:spPr>
            <a:xfrm>
              <a:off x="4452729" y="426046"/>
              <a:ext cx="62200" cy="62700"/>
            </a:xfrm>
            <a:custGeom>
              <a:avLst/>
              <a:gdLst/>
              <a:ahLst/>
              <a:cxnLst/>
              <a:rect l="l" t="t" r="r" b="b"/>
              <a:pathLst>
                <a:path w="2488" h="2508" extrusionOk="0">
                  <a:moveTo>
                    <a:pt x="1254" y="1"/>
                  </a:moveTo>
                  <a:cubicBezTo>
                    <a:pt x="557" y="1"/>
                    <a:pt x="0" y="558"/>
                    <a:pt x="0" y="1254"/>
                  </a:cubicBezTo>
                  <a:cubicBezTo>
                    <a:pt x="0" y="1950"/>
                    <a:pt x="557" y="2507"/>
                    <a:pt x="1254" y="2507"/>
                  </a:cubicBezTo>
                  <a:cubicBezTo>
                    <a:pt x="1950" y="2507"/>
                    <a:pt x="2487" y="1950"/>
                    <a:pt x="2487" y="1254"/>
                  </a:cubicBezTo>
                  <a:cubicBezTo>
                    <a:pt x="2487" y="558"/>
                    <a:pt x="1950" y="1"/>
                    <a:pt x="125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14" name="Google Shape;614;p28"/>
            <p:cNvSpPr/>
            <p:nvPr/>
          </p:nvSpPr>
          <p:spPr>
            <a:xfrm>
              <a:off x="4503927" y="572104"/>
              <a:ext cx="130152" cy="130197"/>
            </a:xfrm>
            <a:custGeom>
              <a:avLst/>
              <a:gdLst/>
              <a:ahLst/>
              <a:cxnLst/>
              <a:rect l="l" t="t" r="r" b="b"/>
              <a:pathLst>
                <a:path w="2845" h="2846" extrusionOk="0">
                  <a:moveTo>
                    <a:pt x="1432" y="1"/>
                  </a:moveTo>
                  <a:cubicBezTo>
                    <a:pt x="656" y="1"/>
                    <a:pt x="0" y="618"/>
                    <a:pt x="0" y="1413"/>
                  </a:cubicBezTo>
                  <a:cubicBezTo>
                    <a:pt x="0" y="2189"/>
                    <a:pt x="637" y="2846"/>
                    <a:pt x="1432" y="2846"/>
                  </a:cubicBezTo>
                  <a:cubicBezTo>
                    <a:pt x="2188" y="2846"/>
                    <a:pt x="2845" y="2209"/>
                    <a:pt x="2845" y="1413"/>
                  </a:cubicBezTo>
                  <a:cubicBezTo>
                    <a:pt x="2845" y="618"/>
                    <a:pt x="2188" y="1"/>
                    <a:pt x="14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260573598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Background">
  <p:cSld name="Background">
    <p:bg>
      <p:bgPr>
        <a:blipFill>
          <a:blip r:embed="rId2">
            <a:alphaModFix/>
          </a:blip>
          <a:stretch>
            <a:fillRect/>
          </a:stretch>
        </a:blipFill>
        <a:effectLst/>
      </p:bgPr>
    </p:bg>
    <p:spTree>
      <p:nvGrpSpPr>
        <p:cNvPr id="1" name="Shape 628"/>
        <p:cNvGrpSpPr/>
        <p:nvPr/>
      </p:nvGrpSpPr>
      <p:grpSpPr>
        <a:xfrm>
          <a:off x="0" y="0"/>
          <a:ext cx="0" cy="0"/>
          <a:chOff x="0" y="0"/>
          <a:chExt cx="0" cy="0"/>
        </a:xfrm>
      </p:grpSpPr>
    </p:spTree>
    <p:extLst>
      <p:ext uri="{BB962C8B-B14F-4D97-AF65-F5344CB8AC3E}">
        <p14:creationId xmlns:p14="http://schemas.microsoft.com/office/powerpoint/2010/main" val="336210073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Background 1">
  <p:cSld name="Background 1">
    <p:bg>
      <p:bgPr>
        <a:blipFill>
          <a:blip r:embed="rId2">
            <a:alphaModFix/>
          </a:blip>
          <a:stretch>
            <a:fillRect/>
          </a:stretch>
        </a:blipFill>
        <a:effectLst/>
      </p:bgPr>
    </p:bg>
    <p:spTree>
      <p:nvGrpSpPr>
        <p:cNvPr id="1" name="Shape 629"/>
        <p:cNvGrpSpPr/>
        <p:nvPr/>
      </p:nvGrpSpPr>
      <p:grpSpPr>
        <a:xfrm>
          <a:off x="0" y="0"/>
          <a:ext cx="0" cy="0"/>
          <a:chOff x="0" y="0"/>
          <a:chExt cx="0" cy="0"/>
        </a:xfrm>
      </p:grpSpPr>
    </p:spTree>
    <p:extLst>
      <p:ext uri="{BB962C8B-B14F-4D97-AF65-F5344CB8AC3E}">
        <p14:creationId xmlns:p14="http://schemas.microsoft.com/office/powerpoint/2010/main" val="72974780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Background 2">
  <p:cSld name="Background 2">
    <p:bg>
      <p:bgPr>
        <a:blipFill>
          <a:blip r:embed="rId2">
            <a:alphaModFix/>
          </a:blip>
          <a:stretch>
            <a:fillRect/>
          </a:stretch>
        </a:blipFill>
        <a:effectLst/>
      </p:bgPr>
    </p:bg>
    <p:spTree>
      <p:nvGrpSpPr>
        <p:cNvPr id="1" name="Shape 630"/>
        <p:cNvGrpSpPr/>
        <p:nvPr/>
      </p:nvGrpSpPr>
      <p:grpSpPr>
        <a:xfrm>
          <a:off x="0" y="0"/>
          <a:ext cx="0" cy="0"/>
          <a:chOff x="0" y="0"/>
          <a:chExt cx="0" cy="0"/>
        </a:xfrm>
      </p:grpSpPr>
    </p:spTree>
    <p:extLst>
      <p:ext uri="{BB962C8B-B14F-4D97-AF65-F5344CB8AC3E}">
        <p14:creationId xmlns:p14="http://schemas.microsoft.com/office/powerpoint/2010/main" val="9949510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AF8333-1A20-F943-C3B9-A554C54E058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78151E9C-81A6-07F9-2669-615581081A2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C6A2BE38-D166-28F2-7186-49C186ECA4F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036A011-5A77-828C-4DB3-726E4D2CCD67}"/>
              </a:ext>
            </a:extLst>
          </p:cNvPr>
          <p:cNvSpPr>
            <a:spLocks noGrp="1"/>
          </p:cNvSpPr>
          <p:nvPr>
            <p:ph type="dt" sz="half" idx="10"/>
          </p:nvPr>
        </p:nvSpPr>
        <p:spPr/>
        <p:txBody>
          <a:bodyPr/>
          <a:lstStyle/>
          <a:p>
            <a:fld id="{1E32E15C-1ABB-4FCE-A664-E12BA74059BF}" type="datetimeFigureOut">
              <a:rPr lang="en-IN" smtClean="0"/>
              <a:t>13-01-2023</a:t>
            </a:fld>
            <a:endParaRPr lang="en-IN"/>
          </a:p>
        </p:txBody>
      </p:sp>
      <p:sp>
        <p:nvSpPr>
          <p:cNvPr id="6" name="Footer Placeholder 5">
            <a:extLst>
              <a:ext uri="{FF2B5EF4-FFF2-40B4-BE49-F238E27FC236}">
                <a16:creationId xmlns:a16="http://schemas.microsoft.com/office/drawing/2014/main" id="{80C1D0CE-FC2B-AA5B-A563-20878A53A10C}"/>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14117331-C473-26AE-B430-3C81B9809CF7}"/>
              </a:ext>
            </a:extLst>
          </p:cNvPr>
          <p:cNvSpPr>
            <a:spLocks noGrp="1"/>
          </p:cNvSpPr>
          <p:nvPr>
            <p:ph type="sldNum" sz="quarter" idx="12"/>
          </p:nvPr>
        </p:nvSpPr>
        <p:spPr/>
        <p:txBody>
          <a:bodyPr/>
          <a:lstStyle/>
          <a:p>
            <a:fld id="{B4B60327-AE25-4737-85CF-0B04EF4FAC0C}" type="slidenum">
              <a:rPr lang="en-IN" smtClean="0"/>
              <a:t>‹#›</a:t>
            </a:fld>
            <a:endParaRPr lang="en-IN"/>
          </a:p>
        </p:txBody>
      </p:sp>
    </p:spTree>
    <p:extLst>
      <p:ext uri="{BB962C8B-B14F-4D97-AF65-F5344CB8AC3E}">
        <p14:creationId xmlns:p14="http://schemas.microsoft.com/office/powerpoint/2010/main" val="293785043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Numbers and Text">
  <p:cSld name="Numbers and Text">
    <p:bg>
      <p:bgPr>
        <a:blipFill>
          <a:blip r:embed="rId2">
            <a:alphaModFix/>
          </a:blip>
          <a:stretch>
            <a:fillRect/>
          </a:stretch>
        </a:blipFill>
        <a:effectLst/>
      </p:bgPr>
    </p:bg>
    <p:spTree>
      <p:nvGrpSpPr>
        <p:cNvPr id="1" name="Shape 321"/>
        <p:cNvGrpSpPr/>
        <p:nvPr/>
      </p:nvGrpSpPr>
      <p:grpSpPr>
        <a:xfrm>
          <a:off x="0" y="0"/>
          <a:ext cx="0" cy="0"/>
          <a:chOff x="0" y="0"/>
          <a:chExt cx="0" cy="0"/>
        </a:xfrm>
      </p:grpSpPr>
      <p:sp>
        <p:nvSpPr>
          <p:cNvPr id="322" name="Google Shape;322;p16"/>
          <p:cNvSpPr/>
          <p:nvPr/>
        </p:nvSpPr>
        <p:spPr>
          <a:xfrm>
            <a:off x="-470194" y="-107584"/>
            <a:ext cx="2183233" cy="929559"/>
          </a:xfrm>
          <a:custGeom>
            <a:avLst/>
            <a:gdLst/>
            <a:ahLst/>
            <a:cxnLst/>
            <a:rect l="l" t="t" r="r" b="b"/>
            <a:pathLst>
              <a:path w="17010" h="7242" extrusionOk="0">
                <a:moveTo>
                  <a:pt x="1" y="1"/>
                </a:moveTo>
                <a:cubicBezTo>
                  <a:pt x="677" y="4099"/>
                  <a:pt x="4238" y="7242"/>
                  <a:pt x="8515" y="7242"/>
                </a:cubicBezTo>
                <a:cubicBezTo>
                  <a:pt x="12792" y="7242"/>
                  <a:pt x="16333" y="4099"/>
                  <a:pt x="17009" y="1"/>
                </a:cubicBez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23" name="Google Shape;323;p16"/>
          <p:cNvSpPr txBox="1">
            <a:spLocks noGrp="1"/>
          </p:cNvSpPr>
          <p:nvPr>
            <p:ph type="subTitle" idx="1"/>
          </p:nvPr>
        </p:nvSpPr>
        <p:spPr>
          <a:xfrm>
            <a:off x="2416005" y="1675567"/>
            <a:ext cx="4170400" cy="894000"/>
          </a:xfrm>
          <a:prstGeom prst="rect">
            <a:avLst/>
          </a:prstGeom>
        </p:spPr>
        <p:txBody>
          <a:bodyPr spcFirstLastPara="1" wrap="square" lIns="91425" tIns="91425" rIns="91425" bIns="91425" anchor="t" anchorCtr="0">
            <a:normAutofit/>
          </a:bodyPr>
          <a:lstStyle>
            <a:lvl1pPr lvl="0" rtl="0">
              <a:lnSpc>
                <a:spcPct val="100000"/>
              </a:lnSpc>
              <a:spcBef>
                <a:spcPts val="0"/>
              </a:spcBef>
              <a:spcAft>
                <a:spcPts val="0"/>
              </a:spcAft>
              <a:buSzPts val="1400"/>
              <a:buNone/>
              <a:defRPr sz="1867" b="0"/>
            </a:lvl1pPr>
            <a:lvl2pPr lvl="1" algn="ctr" rtl="0">
              <a:lnSpc>
                <a:spcPct val="100000"/>
              </a:lnSpc>
              <a:spcBef>
                <a:spcPts val="0"/>
              </a:spcBef>
              <a:spcAft>
                <a:spcPts val="0"/>
              </a:spcAft>
              <a:buSzPts val="1400"/>
              <a:buNone/>
              <a:defRPr sz="1867"/>
            </a:lvl2pPr>
            <a:lvl3pPr lvl="2" algn="ctr" rtl="0">
              <a:lnSpc>
                <a:spcPct val="100000"/>
              </a:lnSpc>
              <a:spcBef>
                <a:spcPts val="0"/>
              </a:spcBef>
              <a:spcAft>
                <a:spcPts val="0"/>
              </a:spcAft>
              <a:buSzPts val="1400"/>
              <a:buNone/>
              <a:defRPr sz="1867"/>
            </a:lvl3pPr>
            <a:lvl4pPr lvl="3" algn="ctr" rtl="0">
              <a:lnSpc>
                <a:spcPct val="100000"/>
              </a:lnSpc>
              <a:spcBef>
                <a:spcPts val="0"/>
              </a:spcBef>
              <a:spcAft>
                <a:spcPts val="0"/>
              </a:spcAft>
              <a:buSzPts val="1400"/>
              <a:buNone/>
              <a:defRPr sz="1867"/>
            </a:lvl4pPr>
            <a:lvl5pPr lvl="4" algn="ctr" rtl="0">
              <a:lnSpc>
                <a:spcPct val="100000"/>
              </a:lnSpc>
              <a:spcBef>
                <a:spcPts val="0"/>
              </a:spcBef>
              <a:spcAft>
                <a:spcPts val="0"/>
              </a:spcAft>
              <a:buSzPts val="1400"/>
              <a:buNone/>
              <a:defRPr sz="1867"/>
            </a:lvl5pPr>
            <a:lvl6pPr lvl="5" algn="ctr" rtl="0">
              <a:lnSpc>
                <a:spcPct val="100000"/>
              </a:lnSpc>
              <a:spcBef>
                <a:spcPts val="0"/>
              </a:spcBef>
              <a:spcAft>
                <a:spcPts val="0"/>
              </a:spcAft>
              <a:buSzPts val="1400"/>
              <a:buNone/>
              <a:defRPr sz="1867"/>
            </a:lvl6pPr>
            <a:lvl7pPr lvl="6" algn="ctr" rtl="0">
              <a:lnSpc>
                <a:spcPct val="100000"/>
              </a:lnSpc>
              <a:spcBef>
                <a:spcPts val="0"/>
              </a:spcBef>
              <a:spcAft>
                <a:spcPts val="0"/>
              </a:spcAft>
              <a:buSzPts val="1400"/>
              <a:buNone/>
              <a:defRPr sz="1867"/>
            </a:lvl7pPr>
            <a:lvl8pPr lvl="7" algn="ctr" rtl="0">
              <a:lnSpc>
                <a:spcPct val="100000"/>
              </a:lnSpc>
              <a:spcBef>
                <a:spcPts val="0"/>
              </a:spcBef>
              <a:spcAft>
                <a:spcPts val="0"/>
              </a:spcAft>
              <a:buSzPts val="1400"/>
              <a:buNone/>
              <a:defRPr sz="1867"/>
            </a:lvl8pPr>
            <a:lvl9pPr lvl="8" algn="ctr" rtl="0">
              <a:lnSpc>
                <a:spcPct val="100000"/>
              </a:lnSpc>
              <a:spcBef>
                <a:spcPts val="0"/>
              </a:spcBef>
              <a:spcAft>
                <a:spcPts val="0"/>
              </a:spcAft>
              <a:buSzPts val="1400"/>
              <a:buNone/>
              <a:defRPr sz="1867"/>
            </a:lvl9pPr>
          </a:lstStyle>
          <a:p>
            <a:endParaRPr/>
          </a:p>
        </p:txBody>
      </p:sp>
      <p:sp>
        <p:nvSpPr>
          <p:cNvPr id="324" name="Google Shape;324;p16"/>
          <p:cNvSpPr txBox="1">
            <a:spLocks noGrp="1"/>
          </p:cNvSpPr>
          <p:nvPr>
            <p:ph type="title" hasCustomPrompt="1"/>
          </p:nvPr>
        </p:nvSpPr>
        <p:spPr>
          <a:xfrm>
            <a:off x="2415999" y="975500"/>
            <a:ext cx="4170400" cy="770400"/>
          </a:xfrm>
          <a:prstGeom prst="rect">
            <a:avLst/>
          </a:prstGeom>
          <a:noFill/>
        </p:spPr>
        <p:txBody>
          <a:bodyPr spcFirstLastPara="1" wrap="square" lIns="91425" tIns="91425" rIns="91425" bIns="91425" anchor="ctr" anchorCtr="0">
            <a:normAutofit/>
          </a:bodyPr>
          <a:lstStyle>
            <a:lvl1pPr lvl="0" rtl="0">
              <a:spcBef>
                <a:spcPts val="0"/>
              </a:spcBef>
              <a:spcAft>
                <a:spcPts val="0"/>
              </a:spcAft>
              <a:buSzPts val="3600"/>
              <a:buNone/>
              <a:defRPr sz="4800"/>
            </a:lvl1pPr>
            <a:lvl2pPr lvl="1"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2pPr>
            <a:lvl3pPr lvl="2"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3pPr>
            <a:lvl4pPr lvl="3"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4pPr>
            <a:lvl5pPr lvl="4"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5pPr>
            <a:lvl6pPr lvl="5"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6pPr>
            <a:lvl7pPr lvl="6"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7pPr>
            <a:lvl8pPr lvl="7"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8pPr>
            <a:lvl9pPr lvl="8"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9pPr>
          </a:lstStyle>
          <a:p>
            <a:r>
              <a:t>xx%</a:t>
            </a:r>
          </a:p>
        </p:txBody>
      </p:sp>
      <p:sp>
        <p:nvSpPr>
          <p:cNvPr id="325" name="Google Shape;325;p16"/>
          <p:cNvSpPr txBox="1">
            <a:spLocks noGrp="1"/>
          </p:cNvSpPr>
          <p:nvPr>
            <p:ph type="subTitle" idx="2"/>
          </p:nvPr>
        </p:nvSpPr>
        <p:spPr>
          <a:xfrm>
            <a:off x="2416005" y="3371233"/>
            <a:ext cx="4170400" cy="894000"/>
          </a:xfrm>
          <a:prstGeom prst="rect">
            <a:avLst/>
          </a:prstGeom>
        </p:spPr>
        <p:txBody>
          <a:bodyPr spcFirstLastPara="1" wrap="square" lIns="91425" tIns="91425" rIns="91425" bIns="91425" anchor="t" anchorCtr="0">
            <a:normAutofit/>
          </a:bodyPr>
          <a:lstStyle>
            <a:lvl1pPr lvl="0" rtl="0">
              <a:lnSpc>
                <a:spcPct val="100000"/>
              </a:lnSpc>
              <a:spcBef>
                <a:spcPts val="0"/>
              </a:spcBef>
              <a:spcAft>
                <a:spcPts val="0"/>
              </a:spcAft>
              <a:buSzPts val="1400"/>
              <a:buNone/>
              <a:defRPr sz="1867" b="0"/>
            </a:lvl1pPr>
            <a:lvl2pPr lvl="1" algn="ctr" rtl="0">
              <a:lnSpc>
                <a:spcPct val="100000"/>
              </a:lnSpc>
              <a:spcBef>
                <a:spcPts val="0"/>
              </a:spcBef>
              <a:spcAft>
                <a:spcPts val="0"/>
              </a:spcAft>
              <a:buSzPts val="1400"/>
              <a:buNone/>
              <a:defRPr sz="1867"/>
            </a:lvl2pPr>
            <a:lvl3pPr lvl="2" algn="ctr" rtl="0">
              <a:lnSpc>
                <a:spcPct val="100000"/>
              </a:lnSpc>
              <a:spcBef>
                <a:spcPts val="0"/>
              </a:spcBef>
              <a:spcAft>
                <a:spcPts val="0"/>
              </a:spcAft>
              <a:buSzPts val="1400"/>
              <a:buNone/>
              <a:defRPr sz="1867"/>
            </a:lvl3pPr>
            <a:lvl4pPr lvl="3" algn="ctr" rtl="0">
              <a:lnSpc>
                <a:spcPct val="100000"/>
              </a:lnSpc>
              <a:spcBef>
                <a:spcPts val="0"/>
              </a:spcBef>
              <a:spcAft>
                <a:spcPts val="0"/>
              </a:spcAft>
              <a:buSzPts val="1400"/>
              <a:buNone/>
              <a:defRPr sz="1867"/>
            </a:lvl4pPr>
            <a:lvl5pPr lvl="4" algn="ctr" rtl="0">
              <a:lnSpc>
                <a:spcPct val="100000"/>
              </a:lnSpc>
              <a:spcBef>
                <a:spcPts val="0"/>
              </a:spcBef>
              <a:spcAft>
                <a:spcPts val="0"/>
              </a:spcAft>
              <a:buSzPts val="1400"/>
              <a:buNone/>
              <a:defRPr sz="1867"/>
            </a:lvl5pPr>
            <a:lvl6pPr lvl="5" algn="ctr" rtl="0">
              <a:lnSpc>
                <a:spcPct val="100000"/>
              </a:lnSpc>
              <a:spcBef>
                <a:spcPts val="0"/>
              </a:spcBef>
              <a:spcAft>
                <a:spcPts val="0"/>
              </a:spcAft>
              <a:buSzPts val="1400"/>
              <a:buNone/>
              <a:defRPr sz="1867"/>
            </a:lvl6pPr>
            <a:lvl7pPr lvl="6" algn="ctr" rtl="0">
              <a:lnSpc>
                <a:spcPct val="100000"/>
              </a:lnSpc>
              <a:spcBef>
                <a:spcPts val="0"/>
              </a:spcBef>
              <a:spcAft>
                <a:spcPts val="0"/>
              </a:spcAft>
              <a:buSzPts val="1400"/>
              <a:buNone/>
              <a:defRPr sz="1867"/>
            </a:lvl7pPr>
            <a:lvl8pPr lvl="7" algn="ctr" rtl="0">
              <a:lnSpc>
                <a:spcPct val="100000"/>
              </a:lnSpc>
              <a:spcBef>
                <a:spcPts val="0"/>
              </a:spcBef>
              <a:spcAft>
                <a:spcPts val="0"/>
              </a:spcAft>
              <a:buSzPts val="1400"/>
              <a:buNone/>
              <a:defRPr sz="1867"/>
            </a:lvl8pPr>
            <a:lvl9pPr lvl="8" algn="ctr" rtl="0">
              <a:lnSpc>
                <a:spcPct val="100000"/>
              </a:lnSpc>
              <a:spcBef>
                <a:spcPts val="0"/>
              </a:spcBef>
              <a:spcAft>
                <a:spcPts val="0"/>
              </a:spcAft>
              <a:buSzPts val="1400"/>
              <a:buNone/>
              <a:defRPr sz="1867"/>
            </a:lvl9pPr>
          </a:lstStyle>
          <a:p>
            <a:endParaRPr/>
          </a:p>
        </p:txBody>
      </p:sp>
      <p:sp>
        <p:nvSpPr>
          <p:cNvPr id="326" name="Google Shape;326;p16"/>
          <p:cNvSpPr txBox="1">
            <a:spLocks noGrp="1"/>
          </p:cNvSpPr>
          <p:nvPr>
            <p:ph type="title" idx="3" hasCustomPrompt="1"/>
          </p:nvPr>
        </p:nvSpPr>
        <p:spPr>
          <a:xfrm>
            <a:off x="2415999" y="2671167"/>
            <a:ext cx="4170400" cy="770400"/>
          </a:xfrm>
          <a:prstGeom prst="rect">
            <a:avLst/>
          </a:prstGeom>
          <a:noFill/>
        </p:spPr>
        <p:txBody>
          <a:bodyPr spcFirstLastPara="1" wrap="square" lIns="91425" tIns="91425" rIns="91425" bIns="91425" anchor="ctr" anchorCtr="0">
            <a:normAutofit/>
          </a:bodyPr>
          <a:lstStyle>
            <a:lvl1pPr lvl="0" rtl="0">
              <a:spcBef>
                <a:spcPts val="0"/>
              </a:spcBef>
              <a:spcAft>
                <a:spcPts val="0"/>
              </a:spcAft>
              <a:buSzPts val="3600"/>
              <a:buNone/>
              <a:defRPr sz="4800"/>
            </a:lvl1pPr>
            <a:lvl2pPr lvl="1"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2pPr>
            <a:lvl3pPr lvl="2"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3pPr>
            <a:lvl4pPr lvl="3"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4pPr>
            <a:lvl5pPr lvl="4"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5pPr>
            <a:lvl6pPr lvl="5"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6pPr>
            <a:lvl7pPr lvl="6"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7pPr>
            <a:lvl8pPr lvl="7"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8pPr>
            <a:lvl9pPr lvl="8"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9pPr>
          </a:lstStyle>
          <a:p>
            <a:r>
              <a:t>xx%</a:t>
            </a:r>
          </a:p>
        </p:txBody>
      </p:sp>
      <p:sp>
        <p:nvSpPr>
          <p:cNvPr id="327" name="Google Shape;327;p16"/>
          <p:cNvSpPr txBox="1">
            <a:spLocks noGrp="1"/>
          </p:cNvSpPr>
          <p:nvPr>
            <p:ph type="subTitle" idx="4"/>
          </p:nvPr>
        </p:nvSpPr>
        <p:spPr>
          <a:xfrm>
            <a:off x="2416005" y="5066900"/>
            <a:ext cx="4170400" cy="894000"/>
          </a:xfrm>
          <a:prstGeom prst="rect">
            <a:avLst/>
          </a:prstGeom>
        </p:spPr>
        <p:txBody>
          <a:bodyPr spcFirstLastPara="1" wrap="square" lIns="91425" tIns="91425" rIns="91425" bIns="91425" anchor="t" anchorCtr="0">
            <a:normAutofit/>
          </a:bodyPr>
          <a:lstStyle>
            <a:lvl1pPr lvl="0" rtl="0">
              <a:lnSpc>
                <a:spcPct val="100000"/>
              </a:lnSpc>
              <a:spcBef>
                <a:spcPts val="0"/>
              </a:spcBef>
              <a:spcAft>
                <a:spcPts val="0"/>
              </a:spcAft>
              <a:buSzPts val="1400"/>
              <a:buNone/>
              <a:defRPr sz="1867" b="0"/>
            </a:lvl1pPr>
            <a:lvl2pPr lvl="1" algn="ctr" rtl="0">
              <a:lnSpc>
                <a:spcPct val="100000"/>
              </a:lnSpc>
              <a:spcBef>
                <a:spcPts val="0"/>
              </a:spcBef>
              <a:spcAft>
                <a:spcPts val="0"/>
              </a:spcAft>
              <a:buSzPts val="1400"/>
              <a:buNone/>
              <a:defRPr sz="1867"/>
            </a:lvl2pPr>
            <a:lvl3pPr lvl="2" algn="ctr" rtl="0">
              <a:lnSpc>
                <a:spcPct val="100000"/>
              </a:lnSpc>
              <a:spcBef>
                <a:spcPts val="0"/>
              </a:spcBef>
              <a:spcAft>
                <a:spcPts val="0"/>
              </a:spcAft>
              <a:buSzPts val="1400"/>
              <a:buNone/>
              <a:defRPr sz="1867"/>
            </a:lvl3pPr>
            <a:lvl4pPr lvl="3" algn="ctr" rtl="0">
              <a:lnSpc>
                <a:spcPct val="100000"/>
              </a:lnSpc>
              <a:spcBef>
                <a:spcPts val="0"/>
              </a:spcBef>
              <a:spcAft>
                <a:spcPts val="0"/>
              </a:spcAft>
              <a:buSzPts val="1400"/>
              <a:buNone/>
              <a:defRPr sz="1867"/>
            </a:lvl4pPr>
            <a:lvl5pPr lvl="4" algn="ctr" rtl="0">
              <a:lnSpc>
                <a:spcPct val="100000"/>
              </a:lnSpc>
              <a:spcBef>
                <a:spcPts val="0"/>
              </a:spcBef>
              <a:spcAft>
                <a:spcPts val="0"/>
              </a:spcAft>
              <a:buSzPts val="1400"/>
              <a:buNone/>
              <a:defRPr sz="1867"/>
            </a:lvl5pPr>
            <a:lvl6pPr lvl="5" algn="ctr" rtl="0">
              <a:lnSpc>
                <a:spcPct val="100000"/>
              </a:lnSpc>
              <a:spcBef>
                <a:spcPts val="0"/>
              </a:spcBef>
              <a:spcAft>
                <a:spcPts val="0"/>
              </a:spcAft>
              <a:buSzPts val="1400"/>
              <a:buNone/>
              <a:defRPr sz="1867"/>
            </a:lvl6pPr>
            <a:lvl7pPr lvl="6" algn="ctr" rtl="0">
              <a:lnSpc>
                <a:spcPct val="100000"/>
              </a:lnSpc>
              <a:spcBef>
                <a:spcPts val="0"/>
              </a:spcBef>
              <a:spcAft>
                <a:spcPts val="0"/>
              </a:spcAft>
              <a:buSzPts val="1400"/>
              <a:buNone/>
              <a:defRPr sz="1867"/>
            </a:lvl7pPr>
            <a:lvl8pPr lvl="7" algn="ctr" rtl="0">
              <a:lnSpc>
                <a:spcPct val="100000"/>
              </a:lnSpc>
              <a:spcBef>
                <a:spcPts val="0"/>
              </a:spcBef>
              <a:spcAft>
                <a:spcPts val="0"/>
              </a:spcAft>
              <a:buSzPts val="1400"/>
              <a:buNone/>
              <a:defRPr sz="1867"/>
            </a:lvl8pPr>
            <a:lvl9pPr lvl="8" algn="ctr" rtl="0">
              <a:lnSpc>
                <a:spcPct val="100000"/>
              </a:lnSpc>
              <a:spcBef>
                <a:spcPts val="0"/>
              </a:spcBef>
              <a:spcAft>
                <a:spcPts val="0"/>
              </a:spcAft>
              <a:buSzPts val="1400"/>
              <a:buNone/>
              <a:defRPr sz="1867"/>
            </a:lvl9pPr>
          </a:lstStyle>
          <a:p>
            <a:endParaRPr/>
          </a:p>
        </p:txBody>
      </p:sp>
      <p:sp>
        <p:nvSpPr>
          <p:cNvPr id="328" name="Google Shape;328;p16"/>
          <p:cNvSpPr txBox="1">
            <a:spLocks noGrp="1"/>
          </p:cNvSpPr>
          <p:nvPr>
            <p:ph type="title" idx="5" hasCustomPrompt="1"/>
          </p:nvPr>
        </p:nvSpPr>
        <p:spPr>
          <a:xfrm>
            <a:off x="2415999" y="4366833"/>
            <a:ext cx="4170400" cy="770400"/>
          </a:xfrm>
          <a:prstGeom prst="rect">
            <a:avLst/>
          </a:prstGeom>
          <a:noFill/>
        </p:spPr>
        <p:txBody>
          <a:bodyPr spcFirstLastPara="1" wrap="square" lIns="91425" tIns="91425" rIns="91425" bIns="91425" anchor="ctr" anchorCtr="0">
            <a:normAutofit/>
          </a:bodyPr>
          <a:lstStyle>
            <a:lvl1pPr lvl="0" rtl="0">
              <a:spcBef>
                <a:spcPts val="0"/>
              </a:spcBef>
              <a:spcAft>
                <a:spcPts val="0"/>
              </a:spcAft>
              <a:buSzPts val="3600"/>
              <a:buNone/>
              <a:defRPr sz="4800"/>
            </a:lvl1pPr>
            <a:lvl2pPr lvl="1"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2pPr>
            <a:lvl3pPr lvl="2"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3pPr>
            <a:lvl4pPr lvl="3"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4pPr>
            <a:lvl5pPr lvl="4"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5pPr>
            <a:lvl6pPr lvl="5"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6pPr>
            <a:lvl7pPr lvl="6"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7pPr>
            <a:lvl8pPr lvl="7"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8pPr>
            <a:lvl9pPr lvl="8" algn="ctr" rtl="0">
              <a:spcBef>
                <a:spcPts val="0"/>
              </a:spcBef>
              <a:spcAft>
                <a:spcPts val="0"/>
              </a:spcAft>
              <a:buClr>
                <a:schemeClr val="dk2"/>
              </a:buClr>
              <a:buSzPts val="3600"/>
              <a:buFont typeface="Fira Sans Extra Condensed Medium"/>
              <a:buNone/>
              <a:defRPr sz="4800">
                <a:solidFill>
                  <a:schemeClr val="dk2"/>
                </a:solidFill>
                <a:latin typeface="Fira Sans Extra Condensed Medium"/>
                <a:ea typeface="Fira Sans Extra Condensed Medium"/>
                <a:cs typeface="Fira Sans Extra Condensed Medium"/>
                <a:sym typeface="Fira Sans Extra Condensed Medium"/>
              </a:defRPr>
            </a:lvl9pPr>
          </a:lstStyle>
          <a:p>
            <a:r>
              <a:t>xx%</a:t>
            </a:r>
          </a:p>
        </p:txBody>
      </p:sp>
      <p:grpSp>
        <p:nvGrpSpPr>
          <p:cNvPr id="329" name="Google Shape;329;p16"/>
          <p:cNvGrpSpPr/>
          <p:nvPr/>
        </p:nvGrpSpPr>
        <p:grpSpPr>
          <a:xfrm rot="10800000">
            <a:off x="2510603" y="713666"/>
            <a:ext cx="2963933" cy="1673367"/>
            <a:chOff x="2256903" y="816487"/>
            <a:chExt cx="4630180" cy="3653639"/>
          </a:xfrm>
        </p:grpSpPr>
        <p:sp>
          <p:nvSpPr>
            <p:cNvPr id="330" name="Google Shape;330;p16"/>
            <p:cNvSpPr/>
            <p:nvPr/>
          </p:nvSpPr>
          <p:spPr>
            <a:xfrm>
              <a:off x="2256903" y="816487"/>
              <a:ext cx="4630180" cy="3653639"/>
            </a:xfrm>
            <a:custGeom>
              <a:avLst/>
              <a:gdLst/>
              <a:ahLst/>
              <a:cxnLst/>
              <a:rect l="l" t="t" r="r" b="b"/>
              <a:pathLst>
                <a:path w="90191" h="71169" extrusionOk="0">
                  <a:moveTo>
                    <a:pt x="51262" y="4765"/>
                  </a:moveTo>
                  <a:cubicBezTo>
                    <a:pt x="51543" y="4765"/>
                    <a:pt x="51822" y="4770"/>
                    <a:pt x="52107" y="4781"/>
                  </a:cubicBezTo>
                  <a:cubicBezTo>
                    <a:pt x="53975" y="4833"/>
                    <a:pt x="54987" y="5361"/>
                    <a:pt x="55432" y="6154"/>
                  </a:cubicBezTo>
                  <a:cubicBezTo>
                    <a:pt x="51794" y="7210"/>
                    <a:pt x="48217" y="9267"/>
                    <a:pt x="46121" y="10663"/>
                  </a:cubicBezTo>
                  <a:cubicBezTo>
                    <a:pt x="46025" y="10731"/>
                    <a:pt x="45925" y="10799"/>
                    <a:pt x="45825" y="10863"/>
                  </a:cubicBezTo>
                  <a:cubicBezTo>
                    <a:pt x="45553" y="10363"/>
                    <a:pt x="45052" y="9947"/>
                    <a:pt x="44389" y="9719"/>
                  </a:cubicBezTo>
                  <a:cubicBezTo>
                    <a:pt x="46153" y="8262"/>
                    <a:pt x="44493" y="6181"/>
                    <a:pt x="42360" y="6181"/>
                  </a:cubicBezTo>
                  <a:cubicBezTo>
                    <a:pt x="42252" y="6181"/>
                    <a:pt x="42140" y="6190"/>
                    <a:pt x="42032" y="6198"/>
                  </a:cubicBezTo>
                  <a:cubicBezTo>
                    <a:pt x="44973" y="5302"/>
                    <a:pt x="48058" y="4765"/>
                    <a:pt x="51262" y="4765"/>
                  </a:cubicBezTo>
                  <a:close/>
                  <a:moveTo>
                    <a:pt x="53559" y="12371"/>
                  </a:moveTo>
                  <a:lnTo>
                    <a:pt x="53559" y="12371"/>
                  </a:lnTo>
                  <a:cubicBezTo>
                    <a:pt x="53323" y="12716"/>
                    <a:pt x="53087" y="13044"/>
                    <a:pt x="52859" y="13348"/>
                  </a:cubicBezTo>
                  <a:cubicBezTo>
                    <a:pt x="52583" y="13296"/>
                    <a:pt x="52315" y="13252"/>
                    <a:pt x="52038" y="13216"/>
                  </a:cubicBezTo>
                  <a:cubicBezTo>
                    <a:pt x="52551" y="12916"/>
                    <a:pt x="53059" y="12632"/>
                    <a:pt x="53559" y="12371"/>
                  </a:cubicBezTo>
                  <a:close/>
                  <a:moveTo>
                    <a:pt x="60457" y="10499"/>
                  </a:moveTo>
                  <a:cubicBezTo>
                    <a:pt x="60693" y="10607"/>
                    <a:pt x="60869" y="10772"/>
                    <a:pt x="60978" y="10999"/>
                  </a:cubicBezTo>
                  <a:cubicBezTo>
                    <a:pt x="61593" y="12308"/>
                    <a:pt x="60645" y="13856"/>
                    <a:pt x="59453" y="15213"/>
                  </a:cubicBezTo>
                  <a:cubicBezTo>
                    <a:pt x="58601" y="15592"/>
                    <a:pt x="57772" y="16017"/>
                    <a:pt x="56965" y="16465"/>
                  </a:cubicBezTo>
                  <a:cubicBezTo>
                    <a:pt x="57004" y="16417"/>
                    <a:pt x="57044" y="16369"/>
                    <a:pt x="57080" y="16325"/>
                  </a:cubicBezTo>
                  <a:cubicBezTo>
                    <a:pt x="58365" y="14737"/>
                    <a:pt x="59685" y="12648"/>
                    <a:pt x="60457" y="10499"/>
                  </a:cubicBezTo>
                  <a:close/>
                  <a:moveTo>
                    <a:pt x="48430" y="17945"/>
                  </a:moveTo>
                  <a:lnTo>
                    <a:pt x="48430" y="17945"/>
                  </a:lnTo>
                  <a:cubicBezTo>
                    <a:pt x="47685" y="18670"/>
                    <a:pt x="46889" y="19346"/>
                    <a:pt x="46041" y="19985"/>
                  </a:cubicBezTo>
                  <a:cubicBezTo>
                    <a:pt x="45949" y="19542"/>
                    <a:pt x="45721" y="19121"/>
                    <a:pt x="45397" y="18766"/>
                  </a:cubicBezTo>
                  <a:cubicBezTo>
                    <a:pt x="46389" y="18382"/>
                    <a:pt x="47405" y="18098"/>
                    <a:pt x="48430" y="17945"/>
                  </a:cubicBezTo>
                  <a:close/>
                  <a:moveTo>
                    <a:pt x="14204" y="18897"/>
                  </a:moveTo>
                  <a:lnTo>
                    <a:pt x="14204" y="18897"/>
                  </a:lnTo>
                  <a:cubicBezTo>
                    <a:pt x="11908" y="21130"/>
                    <a:pt x="9710" y="23439"/>
                    <a:pt x="7582" y="25787"/>
                  </a:cubicBezTo>
                  <a:cubicBezTo>
                    <a:pt x="8911" y="23163"/>
                    <a:pt x="11455" y="20874"/>
                    <a:pt x="14204" y="18897"/>
                  </a:cubicBezTo>
                  <a:close/>
                  <a:moveTo>
                    <a:pt x="35198" y="24947"/>
                  </a:moveTo>
                  <a:cubicBezTo>
                    <a:pt x="35198" y="25015"/>
                    <a:pt x="35202" y="25084"/>
                    <a:pt x="35206" y="25152"/>
                  </a:cubicBezTo>
                  <a:cubicBezTo>
                    <a:pt x="34670" y="25728"/>
                    <a:pt x="34138" y="26304"/>
                    <a:pt x="33606" y="26880"/>
                  </a:cubicBezTo>
                  <a:cubicBezTo>
                    <a:pt x="32177" y="27564"/>
                    <a:pt x="30768" y="28253"/>
                    <a:pt x="29412" y="28960"/>
                  </a:cubicBezTo>
                  <a:cubicBezTo>
                    <a:pt x="31313" y="27600"/>
                    <a:pt x="33257" y="26275"/>
                    <a:pt x="35198" y="24947"/>
                  </a:cubicBezTo>
                  <a:close/>
                  <a:moveTo>
                    <a:pt x="82050" y="30753"/>
                  </a:moveTo>
                  <a:cubicBezTo>
                    <a:pt x="83182" y="32002"/>
                    <a:pt x="81618" y="35483"/>
                    <a:pt x="80535" y="37715"/>
                  </a:cubicBezTo>
                  <a:cubicBezTo>
                    <a:pt x="80363" y="37691"/>
                    <a:pt x="80191" y="37683"/>
                    <a:pt x="80015" y="37679"/>
                  </a:cubicBezTo>
                  <a:cubicBezTo>
                    <a:pt x="80631" y="36171"/>
                    <a:pt x="81051" y="34635"/>
                    <a:pt x="81103" y="33122"/>
                  </a:cubicBezTo>
                  <a:cubicBezTo>
                    <a:pt x="81243" y="32969"/>
                    <a:pt x="81383" y="32829"/>
                    <a:pt x="81519" y="32677"/>
                  </a:cubicBezTo>
                  <a:cubicBezTo>
                    <a:pt x="81984" y="32162"/>
                    <a:pt x="82100" y="31625"/>
                    <a:pt x="81995" y="31133"/>
                  </a:cubicBezTo>
                  <a:cubicBezTo>
                    <a:pt x="82113" y="30996"/>
                    <a:pt x="82150" y="30866"/>
                    <a:pt x="82050" y="30753"/>
                  </a:cubicBezTo>
                  <a:close/>
                  <a:moveTo>
                    <a:pt x="24039" y="37231"/>
                  </a:moveTo>
                  <a:lnTo>
                    <a:pt x="24039" y="37231"/>
                  </a:lnTo>
                  <a:cubicBezTo>
                    <a:pt x="21838" y="39604"/>
                    <a:pt x="19629" y="41972"/>
                    <a:pt x="17396" y="44321"/>
                  </a:cubicBezTo>
                  <a:cubicBezTo>
                    <a:pt x="17372" y="44333"/>
                    <a:pt x="17353" y="44341"/>
                    <a:pt x="17329" y="44353"/>
                  </a:cubicBezTo>
                  <a:lnTo>
                    <a:pt x="17329" y="44353"/>
                  </a:lnTo>
                  <a:cubicBezTo>
                    <a:pt x="18181" y="43385"/>
                    <a:pt x="19001" y="42448"/>
                    <a:pt x="19730" y="41552"/>
                  </a:cubicBezTo>
                  <a:cubicBezTo>
                    <a:pt x="20634" y="40444"/>
                    <a:pt x="21462" y="39287"/>
                    <a:pt x="22262" y="38116"/>
                  </a:cubicBezTo>
                  <a:cubicBezTo>
                    <a:pt x="22866" y="37823"/>
                    <a:pt x="23459" y="37527"/>
                    <a:pt x="24039" y="37231"/>
                  </a:cubicBezTo>
                  <a:close/>
                  <a:moveTo>
                    <a:pt x="47909" y="45757"/>
                  </a:moveTo>
                  <a:lnTo>
                    <a:pt x="47909" y="45757"/>
                  </a:lnTo>
                  <a:cubicBezTo>
                    <a:pt x="47757" y="46286"/>
                    <a:pt x="47613" y="46818"/>
                    <a:pt x="47486" y="47350"/>
                  </a:cubicBezTo>
                  <a:cubicBezTo>
                    <a:pt x="45705" y="49346"/>
                    <a:pt x="43813" y="51271"/>
                    <a:pt x="41816" y="53144"/>
                  </a:cubicBezTo>
                  <a:cubicBezTo>
                    <a:pt x="41844" y="52991"/>
                    <a:pt x="41868" y="52843"/>
                    <a:pt x="41896" y="52695"/>
                  </a:cubicBezTo>
                  <a:cubicBezTo>
                    <a:pt x="41988" y="52195"/>
                    <a:pt x="42108" y="51703"/>
                    <a:pt x="42228" y="51207"/>
                  </a:cubicBezTo>
                  <a:cubicBezTo>
                    <a:pt x="42801" y="50491"/>
                    <a:pt x="43377" y="49778"/>
                    <a:pt x="43961" y="49067"/>
                  </a:cubicBezTo>
                  <a:cubicBezTo>
                    <a:pt x="45292" y="47974"/>
                    <a:pt x="46609" y="46873"/>
                    <a:pt x="47909" y="45757"/>
                  </a:cubicBezTo>
                  <a:close/>
                  <a:moveTo>
                    <a:pt x="42628" y="36615"/>
                  </a:moveTo>
                  <a:lnTo>
                    <a:pt x="42628" y="36615"/>
                  </a:lnTo>
                  <a:cubicBezTo>
                    <a:pt x="42092" y="37539"/>
                    <a:pt x="41576" y="38483"/>
                    <a:pt x="41072" y="39440"/>
                  </a:cubicBezTo>
                  <a:cubicBezTo>
                    <a:pt x="38243" y="42389"/>
                    <a:pt x="35550" y="45409"/>
                    <a:pt x="33054" y="48386"/>
                  </a:cubicBezTo>
                  <a:cubicBezTo>
                    <a:pt x="32457" y="49094"/>
                    <a:pt x="31549" y="50295"/>
                    <a:pt x="30624" y="51719"/>
                  </a:cubicBezTo>
                  <a:cubicBezTo>
                    <a:pt x="29200" y="52808"/>
                    <a:pt x="27560" y="53999"/>
                    <a:pt x="25708" y="54564"/>
                  </a:cubicBezTo>
                  <a:cubicBezTo>
                    <a:pt x="25887" y="53667"/>
                    <a:pt x="26260" y="52788"/>
                    <a:pt x="26727" y="51927"/>
                  </a:cubicBezTo>
                  <a:cubicBezTo>
                    <a:pt x="30284" y="47514"/>
                    <a:pt x="34550" y="43436"/>
                    <a:pt x="38747" y="39324"/>
                  </a:cubicBezTo>
                  <a:cubicBezTo>
                    <a:pt x="40083" y="38479"/>
                    <a:pt x="41372" y="37571"/>
                    <a:pt x="42628" y="36615"/>
                  </a:cubicBezTo>
                  <a:close/>
                  <a:moveTo>
                    <a:pt x="64182" y="53560"/>
                  </a:moveTo>
                  <a:lnTo>
                    <a:pt x="64182" y="53560"/>
                  </a:lnTo>
                  <a:cubicBezTo>
                    <a:pt x="63086" y="55377"/>
                    <a:pt x="61750" y="57681"/>
                    <a:pt x="60065" y="59650"/>
                  </a:cubicBezTo>
                  <a:cubicBezTo>
                    <a:pt x="60278" y="58717"/>
                    <a:pt x="60553" y="57777"/>
                    <a:pt x="60885" y="56836"/>
                  </a:cubicBezTo>
                  <a:cubicBezTo>
                    <a:pt x="60954" y="56708"/>
                    <a:pt x="61026" y="56581"/>
                    <a:pt x="61098" y="56452"/>
                  </a:cubicBezTo>
                  <a:cubicBezTo>
                    <a:pt x="62141" y="55504"/>
                    <a:pt x="63170" y="54536"/>
                    <a:pt x="64182" y="53560"/>
                  </a:cubicBezTo>
                  <a:close/>
                  <a:moveTo>
                    <a:pt x="72865" y="51691"/>
                  </a:moveTo>
                  <a:cubicBezTo>
                    <a:pt x="71520" y="53840"/>
                    <a:pt x="70128" y="55876"/>
                    <a:pt x="68499" y="57901"/>
                  </a:cubicBezTo>
                  <a:cubicBezTo>
                    <a:pt x="67219" y="59497"/>
                    <a:pt x="65931" y="61085"/>
                    <a:pt x="64518" y="62598"/>
                  </a:cubicBezTo>
                  <a:cubicBezTo>
                    <a:pt x="65811" y="61118"/>
                    <a:pt x="66939" y="59521"/>
                    <a:pt x="67971" y="58012"/>
                  </a:cubicBezTo>
                  <a:cubicBezTo>
                    <a:pt x="69323" y="56044"/>
                    <a:pt x="70560" y="54020"/>
                    <a:pt x="71768" y="51983"/>
                  </a:cubicBezTo>
                  <a:cubicBezTo>
                    <a:pt x="72148" y="51903"/>
                    <a:pt x="72509" y="51803"/>
                    <a:pt x="72865" y="51691"/>
                  </a:cubicBezTo>
                  <a:close/>
                  <a:moveTo>
                    <a:pt x="40544" y="62790"/>
                  </a:moveTo>
                  <a:lnTo>
                    <a:pt x="40544" y="62790"/>
                  </a:lnTo>
                  <a:cubicBezTo>
                    <a:pt x="40515" y="63059"/>
                    <a:pt x="40544" y="63323"/>
                    <a:pt x="40616" y="63578"/>
                  </a:cubicBezTo>
                  <a:cubicBezTo>
                    <a:pt x="39656" y="63839"/>
                    <a:pt x="38687" y="64010"/>
                    <a:pt x="37715" y="64067"/>
                  </a:cubicBezTo>
                  <a:cubicBezTo>
                    <a:pt x="38675" y="63694"/>
                    <a:pt x="39619" y="63266"/>
                    <a:pt x="40544" y="62790"/>
                  </a:cubicBezTo>
                  <a:close/>
                  <a:moveTo>
                    <a:pt x="50186" y="0"/>
                  </a:moveTo>
                  <a:cubicBezTo>
                    <a:pt x="45685" y="0"/>
                    <a:pt x="40923" y="1348"/>
                    <a:pt x="36618" y="3181"/>
                  </a:cubicBezTo>
                  <a:cubicBezTo>
                    <a:pt x="36178" y="2361"/>
                    <a:pt x="35154" y="1729"/>
                    <a:pt x="34077" y="1729"/>
                  </a:cubicBezTo>
                  <a:cubicBezTo>
                    <a:pt x="33826" y="1729"/>
                    <a:pt x="33573" y="1764"/>
                    <a:pt x="33325" y="1836"/>
                  </a:cubicBezTo>
                  <a:cubicBezTo>
                    <a:pt x="27968" y="3409"/>
                    <a:pt x="24286" y="7651"/>
                    <a:pt x="21090" y="11575"/>
                  </a:cubicBezTo>
                  <a:cubicBezTo>
                    <a:pt x="19313" y="12495"/>
                    <a:pt x="17597" y="13472"/>
                    <a:pt x="15956" y="14456"/>
                  </a:cubicBezTo>
                  <a:cubicBezTo>
                    <a:pt x="10915" y="17477"/>
                    <a:pt x="5053" y="21594"/>
                    <a:pt x="3577" y="26860"/>
                  </a:cubicBezTo>
                  <a:cubicBezTo>
                    <a:pt x="3376" y="27580"/>
                    <a:pt x="3833" y="28441"/>
                    <a:pt x="4774" y="28609"/>
                  </a:cubicBezTo>
                  <a:cubicBezTo>
                    <a:pt x="4861" y="28624"/>
                    <a:pt x="4953" y="28628"/>
                    <a:pt x="5042" y="28640"/>
                  </a:cubicBezTo>
                  <a:cubicBezTo>
                    <a:pt x="3733" y="30133"/>
                    <a:pt x="2445" y="31629"/>
                    <a:pt x="1168" y="33126"/>
                  </a:cubicBezTo>
                  <a:cubicBezTo>
                    <a:pt x="0" y="34490"/>
                    <a:pt x="1320" y="36059"/>
                    <a:pt x="2937" y="36459"/>
                  </a:cubicBezTo>
                  <a:cubicBezTo>
                    <a:pt x="2625" y="37339"/>
                    <a:pt x="2429" y="38247"/>
                    <a:pt x="2373" y="39191"/>
                  </a:cubicBezTo>
                  <a:cubicBezTo>
                    <a:pt x="2329" y="39955"/>
                    <a:pt x="2933" y="40904"/>
                    <a:pt x="3789" y="41236"/>
                  </a:cubicBezTo>
                  <a:cubicBezTo>
                    <a:pt x="4061" y="41340"/>
                    <a:pt x="4342" y="41436"/>
                    <a:pt x="4621" y="41520"/>
                  </a:cubicBezTo>
                  <a:cubicBezTo>
                    <a:pt x="2949" y="44141"/>
                    <a:pt x="1600" y="46878"/>
                    <a:pt x="848" y="49826"/>
                  </a:cubicBezTo>
                  <a:cubicBezTo>
                    <a:pt x="484" y="51263"/>
                    <a:pt x="1876" y="52795"/>
                    <a:pt x="3544" y="52795"/>
                  </a:cubicBezTo>
                  <a:cubicBezTo>
                    <a:pt x="3813" y="52795"/>
                    <a:pt x="4089" y="52755"/>
                    <a:pt x="4366" y="52668"/>
                  </a:cubicBezTo>
                  <a:lnTo>
                    <a:pt x="4366" y="52668"/>
                  </a:lnTo>
                  <a:cubicBezTo>
                    <a:pt x="2809" y="55332"/>
                    <a:pt x="1720" y="58105"/>
                    <a:pt x="1568" y="60982"/>
                  </a:cubicBezTo>
                  <a:cubicBezTo>
                    <a:pt x="1496" y="62334"/>
                    <a:pt x="3016" y="63318"/>
                    <a:pt x="4497" y="63318"/>
                  </a:cubicBezTo>
                  <a:cubicBezTo>
                    <a:pt x="5182" y="63318"/>
                    <a:pt x="5858" y="63107"/>
                    <a:pt x="6370" y="62630"/>
                  </a:cubicBezTo>
                  <a:cubicBezTo>
                    <a:pt x="7862" y="61229"/>
                    <a:pt x="9330" y="59809"/>
                    <a:pt x="10791" y="58381"/>
                  </a:cubicBezTo>
                  <a:cubicBezTo>
                    <a:pt x="10867" y="59585"/>
                    <a:pt x="12395" y="60505"/>
                    <a:pt x="13856" y="60505"/>
                  </a:cubicBezTo>
                  <a:cubicBezTo>
                    <a:pt x="14344" y="60505"/>
                    <a:pt x="14824" y="60406"/>
                    <a:pt x="15241" y="60173"/>
                  </a:cubicBezTo>
                  <a:lnTo>
                    <a:pt x="15241" y="60173"/>
                  </a:lnTo>
                  <a:cubicBezTo>
                    <a:pt x="14912" y="60926"/>
                    <a:pt x="14604" y="61682"/>
                    <a:pt x="14332" y="62459"/>
                  </a:cubicBezTo>
                  <a:cubicBezTo>
                    <a:pt x="13856" y="63827"/>
                    <a:pt x="15272" y="65527"/>
                    <a:pt x="17001" y="65527"/>
                  </a:cubicBezTo>
                  <a:cubicBezTo>
                    <a:pt x="17281" y="65527"/>
                    <a:pt x="17573" y="65483"/>
                    <a:pt x="17861" y="65383"/>
                  </a:cubicBezTo>
                  <a:cubicBezTo>
                    <a:pt x="21290" y="64215"/>
                    <a:pt x="24371" y="62654"/>
                    <a:pt x="27228" y="60858"/>
                  </a:cubicBezTo>
                  <a:lnTo>
                    <a:pt x="27228" y="60858"/>
                  </a:lnTo>
                  <a:cubicBezTo>
                    <a:pt x="27076" y="61590"/>
                    <a:pt x="26960" y="62334"/>
                    <a:pt x="26919" y="63090"/>
                  </a:cubicBezTo>
                  <a:cubicBezTo>
                    <a:pt x="26847" y="64455"/>
                    <a:pt x="28296" y="65427"/>
                    <a:pt x="29820" y="65495"/>
                  </a:cubicBezTo>
                  <a:lnTo>
                    <a:pt x="29893" y="65495"/>
                  </a:lnTo>
                  <a:cubicBezTo>
                    <a:pt x="30513" y="66884"/>
                    <a:pt x="31729" y="68028"/>
                    <a:pt x="33778" y="68612"/>
                  </a:cubicBezTo>
                  <a:cubicBezTo>
                    <a:pt x="34958" y="68948"/>
                    <a:pt x="36158" y="69096"/>
                    <a:pt x="37355" y="69096"/>
                  </a:cubicBezTo>
                  <a:cubicBezTo>
                    <a:pt x="41888" y="69096"/>
                    <a:pt x="46441" y="66952"/>
                    <a:pt x="50262" y="64627"/>
                  </a:cubicBezTo>
                  <a:cubicBezTo>
                    <a:pt x="51059" y="64315"/>
                    <a:pt x="51822" y="63938"/>
                    <a:pt x="52543" y="63506"/>
                  </a:cubicBezTo>
                  <a:lnTo>
                    <a:pt x="52543" y="63506"/>
                  </a:lnTo>
                  <a:cubicBezTo>
                    <a:pt x="52419" y="64287"/>
                    <a:pt x="52339" y="65087"/>
                    <a:pt x="52311" y="65903"/>
                  </a:cubicBezTo>
                  <a:cubicBezTo>
                    <a:pt x="52271" y="67120"/>
                    <a:pt x="53479" y="68160"/>
                    <a:pt x="54871" y="68328"/>
                  </a:cubicBezTo>
                  <a:cubicBezTo>
                    <a:pt x="55900" y="69912"/>
                    <a:pt x="57833" y="71168"/>
                    <a:pt x="59977" y="71168"/>
                  </a:cubicBezTo>
                  <a:cubicBezTo>
                    <a:pt x="60169" y="71168"/>
                    <a:pt x="60365" y="71157"/>
                    <a:pt x="60561" y="71137"/>
                  </a:cubicBezTo>
                  <a:cubicBezTo>
                    <a:pt x="64062" y="70760"/>
                    <a:pt x="66615" y="68263"/>
                    <a:pt x="68712" y="66123"/>
                  </a:cubicBezTo>
                  <a:cubicBezTo>
                    <a:pt x="72237" y="62526"/>
                    <a:pt x="75282" y="58629"/>
                    <a:pt x="77870" y="54536"/>
                  </a:cubicBezTo>
                  <a:cubicBezTo>
                    <a:pt x="81003" y="49582"/>
                    <a:pt x="83964" y="44525"/>
                    <a:pt x="86285" y="39268"/>
                  </a:cubicBezTo>
                  <a:cubicBezTo>
                    <a:pt x="87789" y="35867"/>
                    <a:pt x="90190" y="30217"/>
                    <a:pt x="86388" y="27232"/>
                  </a:cubicBezTo>
                  <a:cubicBezTo>
                    <a:pt x="85184" y="26288"/>
                    <a:pt x="83904" y="25900"/>
                    <a:pt x="82615" y="25900"/>
                  </a:cubicBezTo>
                  <a:cubicBezTo>
                    <a:pt x="81579" y="25900"/>
                    <a:pt x="80539" y="26151"/>
                    <a:pt x="79539" y="26568"/>
                  </a:cubicBezTo>
                  <a:cubicBezTo>
                    <a:pt x="80971" y="24576"/>
                    <a:pt x="82451" y="22611"/>
                    <a:pt x="84048" y="20722"/>
                  </a:cubicBezTo>
                  <a:cubicBezTo>
                    <a:pt x="85533" y="18962"/>
                    <a:pt x="83504" y="17185"/>
                    <a:pt x="81419" y="17185"/>
                  </a:cubicBezTo>
                  <a:cubicBezTo>
                    <a:pt x="80743" y="17185"/>
                    <a:pt x="80063" y="17374"/>
                    <a:pt x="79495" y="17806"/>
                  </a:cubicBezTo>
                  <a:cubicBezTo>
                    <a:pt x="78102" y="18870"/>
                    <a:pt x="76818" y="19990"/>
                    <a:pt x="75602" y="21150"/>
                  </a:cubicBezTo>
                  <a:cubicBezTo>
                    <a:pt x="75057" y="20338"/>
                    <a:pt x="74061" y="19946"/>
                    <a:pt x="72948" y="19946"/>
                  </a:cubicBezTo>
                  <a:cubicBezTo>
                    <a:pt x="72732" y="19946"/>
                    <a:pt x="72512" y="19961"/>
                    <a:pt x="72292" y="19990"/>
                  </a:cubicBezTo>
                  <a:cubicBezTo>
                    <a:pt x="72213" y="20002"/>
                    <a:pt x="72132" y="20018"/>
                    <a:pt x="72052" y="20030"/>
                  </a:cubicBezTo>
                  <a:cubicBezTo>
                    <a:pt x="72252" y="19346"/>
                    <a:pt x="72364" y="18654"/>
                    <a:pt x="72348" y="17957"/>
                  </a:cubicBezTo>
                  <a:cubicBezTo>
                    <a:pt x="72292" y="15797"/>
                    <a:pt x="70576" y="14421"/>
                    <a:pt x="68416" y="13852"/>
                  </a:cubicBezTo>
                  <a:cubicBezTo>
                    <a:pt x="68023" y="13400"/>
                    <a:pt x="67447" y="13080"/>
                    <a:pt x="66735" y="13008"/>
                  </a:cubicBezTo>
                  <a:cubicBezTo>
                    <a:pt x="67147" y="11043"/>
                    <a:pt x="66675" y="9079"/>
                    <a:pt x="64738" y="7267"/>
                  </a:cubicBezTo>
                  <a:cubicBezTo>
                    <a:pt x="63678" y="6270"/>
                    <a:pt x="62385" y="5742"/>
                    <a:pt x="60974" y="5553"/>
                  </a:cubicBezTo>
                  <a:cubicBezTo>
                    <a:pt x="60561" y="3749"/>
                    <a:pt x="59312" y="2177"/>
                    <a:pt x="56773" y="1169"/>
                  </a:cubicBezTo>
                  <a:cubicBezTo>
                    <a:pt x="54708" y="353"/>
                    <a:pt x="52479" y="0"/>
                    <a:pt x="50186" y="0"/>
                  </a:cubicBezTo>
                  <a:close/>
                </a:path>
              </a:pathLst>
            </a:custGeom>
            <a:solidFill>
              <a:srgbClr val="FFFFFF">
                <a:alpha val="803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31" name="Google Shape;331;p16"/>
            <p:cNvSpPr/>
            <p:nvPr/>
          </p:nvSpPr>
          <p:spPr>
            <a:xfrm>
              <a:off x="2748611" y="1192720"/>
              <a:ext cx="3311049" cy="2747418"/>
            </a:xfrm>
            <a:custGeom>
              <a:avLst/>
              <a:gdLst/>
              <a:ahLst/>
              <a:cxnLst/>
              <a:rect l="l" t="t" r="r" b="b"/>
              <a:pathLst>
                <a:path w="110793" h="91933" extrusionOk="0">
                  <a:moveTo>
                    <a:pt x="50743" y="6275"/>
                  </a:moveTo>
                  <a:cubicBezTo>
                    <a:pt x="53200" y="6275"/>
                    <a:pt x="56857" y="7419"/>
                    <a:pt x="59430" y="8276"/>
                  </a:cubicBezTo>
                  <a:cubicBezTo>
                    <a:pt x="59393" y="8455"/>
                    <a:pt x="59374" y="8636"/>
                    <a:pt x="59374" y="8815"/>
                  </a:cubicBezTo>
                  <a:cubicBezTo>
                    <a:pt x="57073" y="8172"/>
                    <a:pt x="54732" y="7731"/>
                    <a:pt x="52420" y="7679"/>
                  </a:cubicBezTo>
                  <a:cubicBezTo>
                    <a:pt x="52191" y="7535"/>
                    <a:pt x="51975" y="7387"/>
                    <a:pt x="51744" y="7243"/>
                  </a:cubicBezTo>
                  <a:cubicBezTo>
                    <a:pt x="51131" y="6867"/>
                    <a:pt x="50503" y="6708"/>
                    <a:pt x="49899" y="6708"/>
                  </a:cubicBezTo>
                  <a:cubicBezTo>
                    <a:pt x="49727" y="6708"/>
                    <a:pt x="49555" y="6719"/>
                    <a:pt x="49387" y="6743"/>
                  </a:cubicBezTo>
                  <a:cubicBezTo>
                    <a:pt x="49259" y="6667"/>
                    <a:pt x="49139" y="6623"/>
                    <a:pt x="49022" y="6623"/>
                  </a:cubicBezTo>
                  <a:cubicBezTo>
                    <a:pt x="48943" y="6623"/>
                    <a:pt x="48867" y="6647"/>
                    <a:pt x="48795" y="6691"/>
                  </a:cubicBezTo>
                  <a:cubicBezTo>
                    <a:pt x="49263" y="6395"/>
                    <a:pt x="49940" y="6275"/>
                    <a:pt x="50743" y="6275"/>
                  </a:cubicBezTo>
                  <a:close/>
                  <a:moveTo>
                    <a:pt x="80740" y="16318"/>
                  </a:moveTo>
                  <a:lnTo>
                    <a:pt x="80740" y="16318"/>
                  </a:lnTo>
                  <a:cubicBezTo>
                    <a:pt x="84017" y="17727"/>
                    <a:pt x="87121" y="19182"/>
                    <a:pt x="90214" y="20887"/>
                  </a:cubicBezTo>
                  <a:cubicBezTo>
                    <a:pt x="92648" y="22231"/>
                    <a:pt x="95072" y="23584"/>
                    <a:pt x="97381" y="25064"/>
                  </a:cubicBezTo>
                  <a:cubicBezTo>
                    <a:pt x="95116" y="23708"/>
                    <a:pt x="92687" y="22528"/>
                    <a:pt x="90386" y="21443"/>
                  </a:cubicBezTo>
                  <a:cubicBezTo>
                    <a:pt x="87382" y="20027"/>
                    <a:pt x="84293" y="18730"/>
                    <a:pt x="81188" y="17466"/>
                  </a:cubicBezTo>
                  <a:cubicBezTo>
                    <a:pt x="81068" y="17066"/>
                    <a:pt x="80916" y="16686"/>
                    <a:pt x="80740" y="16318"/>
                  </a:cubicBezTo>
                  <a:close/>
                  <a:moveTo>
                    <a:pt x="83589" y="25417"/>
                  </a:moveTo>
                  <a:lnTo>
                    <a:pt x="83589" y="25417"/>
                  </a:lnTo>
                  <a:cubicBezTo>
                    <a:pt x="86362" y="26565"/>
                    <a:pt x="89878" y="27965"/>
                    <a:pt x="92883" y="29734"/>
                  </a:cubicBezTo>
                  <a:cubicBezTo>
                    <a:pt x="91459" y="29509"/>
                    <a:pt x="90022" y="29221"/>
                    <a:pt x="88591" y="28874"/>
                  </a:cubicBezTo>
                  <a:cubicBezTo>
                    <a:pt x="88399" y="28802"/>
                    <a:pt x="88202" y="28726"/>
                    <a:pt x="88006" y="28650"/>
                  </a:cubicBezTo>
                  <a:cubicBezTo>
                    <a:pt x="86554" y="27553"/>
                    <a:pt x="85081" y="26477"/>
                    <a:pt x="83589" y="25417"/>
                  </a:cubicBezTo>
                  <a:close/>
                  <a:moveTo>
                    <a:pt x="20022" y="28573"/>
                  </a:moveTo>
                  <a:cubicBezTo>
                    <a:pt x="21687" y="28573"/>
                    <a:pt x="23488" y="29394"/>
                    <a:pt x="25108" y="30374"/>
                  </a:cubicBezTo>
                  <a:cubicBezTo>
                    <a:pt x="25688" y="31262"/>
                    <a:pt x="26332" y="32135"/>
                    <a:pt x="27017" y="32979"/>
                  </a:cubicBezTo>
                  <a:cubicBezTo>
                    <a:pt x="26949" y="32942"/>
                    <a:pt x="26873" y="32899"/>
                    <a:pt x="26801" y="32859"/>
                  </a:cubicBezTo>
                  <a:cubicBezTo>
                    <a:pt x="24384" y="31514"/>
                    <a:pt x="21199" y="30130"/>
                    <a:pt x="17918" y="29322"/>
                  </a:cubicBezTo>
                  <a:cubicBezTo>
                    <a:pt x="18086" y="29073"/>
                    <a:pt x="18338" y="28885"/>
                    <a:pt x="18683" y="28774"/>
                  </a:cubicBezTo>
                  <a:cubicBezTo>
                    <a:pt x="19115" y="28634"/>
                    <a:pt x="19562" y="28573"/>
                    <a:pt x="20022" y="28573"/>
                  </a:cubicBezTo>
                  <a:close/>
                  <a:moveTo>
                    <a:pt x="20775" y="36552"/>
                  </a:moveTo>
                  <a:cubicBezTo>
                    <a:pt x="21299" y="36800"/>
                    <a:pt x="21799" y="37048"/>
                    <a:pt x="22263" y="37288"/>
                  </a:cubicBezTo>
                  <a:cubicBezTo>
                    <a:pt x="22183" y="37572"/>
                    <a:pt x="22119" y="37856"/>
                    <a:pt x="22063" y="38140"/>
                  </a:cubicBezTo>
                  <a:cubicBezTo>
                    <a:pt x="21603" y="37604"/>
                    <a:pt x="21175" y="37076"/>
                    <a:pt x="20775" y="36552"/>
                  </a:cubicBezTo>
                  <a:close/>
                  <a:moveTo>
                    <a:pt x="29277" y="41930"/>
                  </a:moveTo>
                  <a:lnTo>
                    <a:pt x="29277" y="41930"/>
                  </a:lnTo>
                  <a:cubicBezTo>
                    <a:pt x="30378" y="42705"/>
                    <a:pt x="31414" y="43542"/>
                    <a:pt x="32386" y="44430"/>
                  </a:cubicBezTo>
                  <a:cubicBezTo>
                    <a:pt x="31710" y="44526"/>
                    <a:pt x="31070" y="44766"/>
                    <a:pt x="30526" y="45106"/>
                  </a:cubicBezTo>
                  <a:cubicBezTo>
                    <a:pt x="29946" y="44066"/>
                    <a:pt x="29505" y="43001"/>
                    <a:pt x="29277" y="41930"/>
                  </a:cubicBezTo>
                  <a:close/>
                  <a:moveTo>
                    <a:pt x="11292" y="34587"/>
                  </a:moveTo>
                  <a:cubicBezTo>
                    <a:pt x="12905" y="38401"/>
                    <a:pt x="16042" y="42149"/>
                    <a:pt x="18174" y="44350"/>
                  </a:cubicBezTo>
                  <a:cubicBezTo>
                    <a:pt x="18270" y="44450"/>
                    <a:pt x="18374" y="44554"/>
                    <a:pt x="18474" y="44658"/>
                  </a:cubicBezTo>
                  <a:cubicBezTo>
                    <a:pt x="17710" y="44942"/>
                    <a:pt x="17078" y="45466"/>
                    <a:pt x="16733" y="46166"/>
                  </a:cubicBezTo>
                  <a:cubicBezTo>
                    <a:pt x="16077" y="45618"/>
                    <a:pt x="15337" y="45387"/>
                    <a:pt x="14621" y="45387"/>
                  </a:cubicBezTo>
                  <a:cubicBezTo>
                    <a:pt x="12788" y="45387"/>
                    <a:pt x="11112" y="46911"/>
                    <a:pt x="11361" y="48635"/>
                  </a:cubicBezTo>
                  <a:cubicBezTo>
                    <a:pt x="9872" y="45282"/>
                    <a:pt x="9040" y="41753"/>
                    <a:pt x="9195" y="38072"/>
                  </a:cubicBezTo>
                  <a:cubicBezTo>
                    <a:pt x="9280" y="36111"/>
                    <a:pt x="10088" y="35051"/>
                    <a:pt x="11292" y="34587"/>
                  </a:cubicBezTo>
                  <a:close/>
                  <a:moveTo>
                    <a:pt x="71694" y="42469"/>
                  </a:moveTo>
                  <a:lnTo>
                    <a:pt x="71694" y="42469"/>
                  </a:lnTo>
                  <a:cubicBezTo>
                    <a:pt x="72497" y="42633"/>
                    <a:pt x="73310" y="42781"/>
                    <a:pt x="74122" y="42918"/>
                  </a:cubicBezTo>
                  <a:cubicBezTo>
                    <a:pt x="77167" y="44783"/>
                    <a:pt x="80104" y="46766"/>
                    <a:pt x="82957" y="48859"/>
                  </a:cubicBezTo>
                  <a:cubicBezTo>
                    <a:pt x="82728" y="48831"/>
                    <a:pt x="82497" y="48807"/>
                    <a:pt x="82272" y="48775"/>
                  </a:cubicBezTo>
                  <a:cubicBezTo>
                    <a:pt x="81516" y="48679"/>
                    <a:pt x="80760" y="48555"/>
                    <a:pt x="80008" y="48427"/>
                  </a:cubicBezTo>
                  <a:cubicBezTo>
                    <a:pt x="78911" y="47831"/>
                    <a:pt x="77823" y="47223"/>
                    <a:pt x="76739" y="46611"/>
                  </a:cubicBezTo>
                  <a:cubicBezTo>
                    <a:pt x="75075" y="45219"/>
                    <a:pt x="73394" y="43834"/>
                    <a:pt x="71694" y="42469"/>
                  </a:cubicBezTo>
                  <a:close/>
                  <a:moveTo>
                    <a:pt x="98873" y="50120"/>
                  </a:moveTo>
                  <a:cubicBezTo>
                    <a:pt x="99269" y="51124"/>
                    <a:pt x="99529" y="52140"/>
                    <a:pt x="99617" y="53156"/>
                  </a:cubicBezTo>
                  <a:cubicBezTo>
                    <a:pt x="99053" y="52153"/>
                    <a:pt x="98397" y="51164"/>
                    <a:pt x="97673" y="50192"/>
                  </a:cubicBezTo>
                  <a:lnTo>
                    <a:pt x="97673" y="50192"/>
                  </a:lnTo>
                  <a:cubicBezTo>
                    <a:pt x="97780" y="50199"/>
                    <a:pt x="97889" y="50203"/>
                    <a:pt x="97996" y="50203"/>
                  </a:cubicBezTo>
                  <a:cubicBezTo>
                    <a:pt x="98297" y="50203"/>
                    <a:pt x="98589" y="50175"/>
                    <a:pt x="98873" y="50120"/>
                  </a:cubicBezTo>
                  <a:close/>
                  <a:moveTo>
                    <a:pt x="40269" y="55789"/>
                  </a:moveTo>
                  <a:cubicBezTo>
                    <a:pt x="41144" y="56349"/>
                    <a:pt x="42025" y="56906"/>
                    <a:pt x="42906" y="57466"/>
                  </a:cubicBezTo>
                  <a:cubicBezTo>
                    <a:pt x="43946" y="58962"/>
                    <a:pt x="44994" y="60439"/>
                    <a:pt x="46074" y="61859"/>
                  </a:cubicBezTo>
                  <a:cubicBezTo>
                    <a:pt x="44001" y="59867"/>
                    <a:pt x="41981" y="57830"/>
                    <a:pt x="39957" y="55797"/>
                  </a:cubicBezTo>
                  <a:cubicBezTo>
                    <a:pt x="40060" y="55797"/>
                    <a:pt x="40164" y="55793"/>
                    <a:pt x="40269" y="55789"/>
                  </a:cubicBezTo>
                  <a:close/>
                  <a:moveTo>
                    <a:pt x="57753" y="48007"/>
                  </a:moveTo>
                  <a:lnTo>
                    <a:pt x="57753" y="48007"/>
                  </a:lnTo>
                  <a:cubicBezTo>
                    <a:pt x="59162" y="48567"/>
                    <a:pt x="60602" y="49111"/>
                    <a:pt x="62054" y="49640"/>
                  </a:cubicBezTo>
                  <a:cubicBezTo>
                    <a:pt x="66556" y="52604"/>
                    <a:pt x="71165" y="55429"/>
                    <a:pt x="75699" y="58046"/>
                  </a:cubicBezTo>
                  <a:cubicBezTo>
                    <a:pt x="76783" y="58670"/>
                    <a:pt x="78611" y="59623"/>
                    <a:pt x="80784" y="60587"/>
                  </a:cubicBezTo>
                  <a:cubicBezTo>
                    <a:pt x="82449" y="62083"/>
                    <a:pt x="84265" y="63804"/>
                    <a:pt x="85125" y="65744"/>
                  </a:cubicBezTo>
                  <a:cubicBezTo>
                    <a:pt x="83757" y="65556"/>
                    <a:pt x="82416" y="65168"/>
                    <a:pt x="81100" y="64672"/>
                  </a:cubicBezTo>
                  <a:cubicBezTo>
                    <a:pt x="74370" y="60947"/>
                    <a:pt x="68156" y="56474"/>
                    <a:pt x="61879" y="52076"/>
                  </a:cubicBezTo>
                  <a:cubicBezTo>
                    <a:pt x="60594" y="50676"/>
                    <a:pt x="59206" y="49324"/>
                    <a:pt x="57753" y="48007"/>
                  </a:cubicBezTo>
                  <a:close/>
                  <a:moveTo>
                    <a:pt x="58690" y="67497"/>
                  </a:moveTo>
                  <a:cubicBezTo>
                    <a:pt x="62311" y="69802"/>
                    <a:pt x="65919" y="72114"/>
                    <a:pt x="69505" y="74455"/>
                  </a:cubicBezTo>
                  <a:cubicBezTo>
                    <a:pt x="69521" y="74479"/>
                    <a:pt x="69533" y="74503"/>
                    <a:pt x="69548" y="74527"/>
                  </a:cubicBezTo>
                  <a:cubicBezTo>
                    <a:pt x="68076" y="73630"/>
                    <a:pt x="66648" y="72775"/>
                    <a:pt x="65284" y="72010"/>
                  </a:cubicBezTo>
                  <a:cubicBezTo>
                    <a:pt x="63587" y="71062"/>
                    <a:pt x="61827" y="70193"/>
                    <a:pt x="60038" y="69353"/>
                  </a:cubicBezTo>
                  <a:cubicBezTo>
                    <a:pt x="59594" y="68721"/>
                    <a:pt x="59142" y="68101"/>
                    <a:pt x="58690" y="67497"/>
                  </a:cubicBezTo>
                  <a:close/>
                  <a:moveTo>
                    <a:pt x="30729" y="77800"/>
                  </a:moveTo>
                  <a:cubicBezTo>
                    <a:pt x="34134" y="80208"/>
                    <a:pt x="37656" y="82513"/>
                    <a:pt x="41240" y="84742"/>
                  </a:cubicBezTo>
                  <a:cubicBezTo>
                    <a:pt x="37235" y="83349"/>
                    <a:pt x="33743" y="80681"/>
                    <a:pt x="30729" y="77800"/>
                  </a:cubicBezTo>
                  <a:close/>
                  <a:moveTo>
                    <a:pt x="50300" y="1"/>
                  </a:moveTo>
                  <a:cubicBezTo>
                    <a:pt x="47687" y="1"/>
                    <a:pt x="45246" y="557"/>
                    <a:pt x="43441" y="2138"/>
                  </a:cubicBezTo>
                  <a:cubicBezTo>
                    <a:pt x="40832" y="4418"/>
                    <a:pt x="41004" y="6967"/>
                    <a:pt x="42425" y="9319"/>
                  </a:cubicBezTo>
                  <a:cubicBezTo>
                    <a:pt x="39384" y="7820"/>
                    <a:pt x="36391" y="6263"/>
                    <a:pt x="33506" y="4590"/>
                  </a:cubicBezTo>
                  <a:cubicBezTo>
                    <a:pt x="32866" y="4218"/>
                    <a:pt x="32222" y="4058"/>
                    <a:pt x="31614" y="4058"/>
                  </a:cubicBezTo>
                  <a:cubicBezTo>
                    <a:pt x="28862" y="4058"/>
                    <a:pt x="26849" y="7367"/>
                    <a:pt x="29065" y="9364"/>
                  </a:cubicBezTo>
                  <a:cubicBezTo>
                    <a:pt x="30686" y="10824"/>
                    <a:pt x="32394" y="12172"/>
                    <a:pt x="34162" y="13445"/>
                  </a:cubicBezTo>
                  <a:cubicBezTo>
                    <a:pt x="32682" y="14130"/>
                    <a:pt x="32122" y="15482"/>
                    <a:pt x="32394" y="16918"/>
                  </a:cubicBezTo>
                  <a:cubicBezTo>
                    <a:pt x="32410" y="17002"/>
                    <a:pt x="32439" y="17082"/>
                    <a:pt x="32454" y="17166"/>
                  </a:cubicBezTo>
                  <a:cubicBezTo>
                    <a:pt x="31482" y="16970"/>
                    <a:pt x="30498" y="16854"/>
                    <a:pt x="29510" y="16854"/>
                  </a:cubicBezTo>
                  <a:cubicBezTo>
                    <a:pt x="29438" y="16854"/>
                    <a:pt x="29366" y="16854"/>
                    <a:pt x="29294" y="16858"/>
                  </a:cubicBezTo>
                  <a:cubicBezTo>
                    <a:pt x="25996" y="16914"/>
                    <a:pt x="23900" y="18715"/>
                    <a:pt x="23032" y="20975"/>
                  </a:cubicBezTo>
                  <a:cubicBezTo>
                    <a:pt x="22347" y="21391"/>
                    <a:pt x="21855" y="21995"/>
                    <a:pt x="21747" y="22736"/>
                  </a:cubicBezTo>
                  <a:cubicBezTo>
                    <a:pt x="21095" y="22643"/>
                    <a:pt x="20443" y="22595"/>
                    <a:pt x="19795" y="22591"/>
                  </a:cubicBezTo>
                  <a:cubicBezTo>
                    <a:pt x="17458" y="22591"/>
                    <a:pt x="15154" y="23244"/>
                    <a:pt x="12988" y="24833"/>
                  </a:cubicBezTo>
                  <a:cubicBezTo>
                    <a:pt x="11472" y="25945"/>
                    <a:pt x="10668" y="27297"/>
                    <a:pt x="10380" y="28781"/>
                  </a:cubicBezTo>
                  <a:cubicBezTo>
                    <a:pt x="7627" y="29210"/>
                    <a:pt x="5226" y="30518"/>
                    <a:pt x="3690" y="33182"/>
                  </a:cubicBezTo>
                  <a:cubicBezTo>
                    <a:pt x="0" y="39588"/>
                    <a:pt x="2541" y="47491"/>
                    <a:pt x="6759" y="54305"/>
                  </a:cubicBezTo>
                  <a:cubicBezTo>
                    <a:pt x="5222" y="54873"/>
                    <a:pt x="4118" y="56369"/>
                    <a:pt x="4711" y="57758"/>
                  </a:cubicBezTo>
                  <a:cubicBezTo>
                    <a:pt x="7111" y="63375"/>
                    <a:pt x="13573" y="67237"/>
                    <a:pt x="19562" y="70585"/>
                  </a:cubicBezTo>
                  <a:cubicBezTo>
                    <a:pt x="20967" y="72446"/>
                    <a:pt x="22456" y="74247"/>
                    <a:pt x="23952" y="75963"/>
                  </a:cubicBezTo>
                  <a:cubicBezTo>
                    <a:pt x="28561" y="81249"/>
                    <a:pt x="34843" y="87395"/>
                    <a:pt x="42877" y="88943"/>
                  </a:cubicBezTo>
                  <a:cubicBezTo>
                    <a:pt x="43045" y="88975"/>
                    <a:pt x="43221" y="88991"/>
                    <a:pt x="43397" y="88991"/>
                  </a:cubicBezTo>
                  <a:cubicBezTo>
                    <a:pt x="44354" y="88991"/>
                    <a:pt x="45322" y="88518"/>
                    <a:pt x="45538" y="87687"/>
                  </a:cubicBezTo>
                  <a:cubicBezTo>
                    <a:pt x="45562" y="87595"/>
                    <a:pt x="45570" y="87499"/>
                    <a:pt x="45589" y="87406"/>
                  </a:cubicBezTo>
                  <a:cubicBezTo>
                    <a:pt x="47862" y="88775"/>
                    <a:pt x="50143" y="90127"/>
                    <a:pt x="52428" y="91464"/>
                  </a:cubicBezTo>
                  <a:cubicBezTo>
                    <a:pt x="52980" y="91792"/>
                    <a:pt x="53556" y="91932"/>
                    <a:pt x="54117" y="91932"/>
                  </a:cubicBezTo>
                  <a:cubicBezTo>
                    <a:pt x="55657" y="91932"/>
                    <a:pt x="57065" y="90856"/>
                    <a:pt x="57513" y="89611"/>
                  </a:cubicBezTo>
                  <a:cubicBezTo>
                    <a:pt x="58854" y="89940"/>
                    <a:pt x="60242" y="90147"/>
                    <a:pt x="61679" y="90204"/>
                  </a:cubicBezTo>
                  <a:cubicBezTo>
                    <a:pt x="61718" y="90204"/>
                    <a:pt x="61759" y="90208"/>
                    <a:pt x="61799" y="90208"/>
                  </a:cubicBezTo>
                  <a:cubicBezTo>
                    <a:pt x="62939" y="90208"/>
                    <a:pt x="64307" y="89587"/>
                    <a:pt x="64795" y="88723"/>
                  </a:cubicBezTo>
                  <a:cubicBezTo>
                    <a:pt x="64959" y="88435"/>
                    <a:pt x="65099" y="88143"/>
                    <a:pt x="65232" y="87846"/>
                  </a:cubicBezTo>
                  <a:cubicBezTo>
                    <a:pt x="69225" y="89599"/>
                    <a:pt x="73402" y="91015"/>
                    <a:pt x="77895" y="91800"/>
                  </a:cubicBezTo>
                  <a:cubicBezTo>
                    <a:pt x="78135" y="91844"/>
                    <a:pt x="78375" y="91864"/>
                    <a:pt x="78615" y="91864"/>
                  </a:cubicBezTo>
                  <a:cubicBezTo>
                    <a:pt x="80928" y="91864"/>
                    <a:pt x="83093" y="90007"/>
                    <a:pt x="82233" y="88115"/>
                  </a:cubicBezTo>
                  <a:lnTo>
                    <a:pt x="82233" y="88115"/>
                  </a:lnTo>
                  <a:cubicBezTo>
                    <a:pt x="86297" y="89748"/>
                    <a:pt x="90527" y="90887"/>
                    <a:pt x="94912" y="91048"/>
                  </a:cubicBezTo>
                  <a:cubicBezTo>
                    <a:pt x="94960" y="91048"/>
                    <a:pt x="95008" y="91052"/>
                    <a:pt x="95056" y="91052"/>
                  </a:cubicBezTo>
                  <a:cubicBezTo>
                    <a:pt x="97985" y="91052"/>
                    <a:pt x="99697" y="87678"/>
                    <a:pt x="97425" y="86014"/>
                  </a:cubicBezTo>
                  <a:cubicBezTo>
                    <a:pt x="95289" y="84450"/>
                    <a:pt x="93123" y="82909"/>
                    <a:pt x="90947" y="81381"/>
                  </a:cubicBezTo>
                  <a:cubicBezTo>
                    <a:pt x="93392" y="81273"/>
                    <a:pt x="95080" y="78456"/>
                    <a:pt x="93684" y="76716"/>
                  </a:cubicBezTo>
                  <a:lnTo>
                    <a:pt x="93684" y="76716"/>
                  </a:lnTo>
                  <a:cubicBezTo>
                    <a:pt x="94824" y="77059"/>
                    <a:pt x="95980" y="77379"/>
                    <a:pt x="97165" y="77667"/>
                  </a:cubicBezTo>
                  <a:cubicBezTo>
                    <a:pt x="97444" y="77732"/>
                    <a:pt x="97732" y="77763"/>
                    <a:pt x="98020" y="77763"/>
                  </a:cubicBezTo>
                  <a:cubicBezTo>
                    <a:pt x="100249" y="77763"/>
                    <a:pt x="102582" y="75896"/>
                    <a:pt x="101626" y="73966"/>
                  </a:cubicBezTo>
                  <a:cubicBezTo>
                    <a:pt x="99845" y="70374"/>
                    <a:pt x="97464" y="67148"/>
                    <a:pt x="94720" y="64151"/>
                  </a:cubicBezTo>
                  <a:lnTo>
                    <a:pt x="94720" y="64151"/>
                  </a:lnTo>
                  <a:cubicBezTo>
                    <a:pt x="95841" y="64312"/>
                    <a:pt x="96973" y="64432"/>
                    <a:pt x="98129" y="64476"/>
                  </a:cubicBezTo>
                  <a:lnTo>
                    <a:pt x="98277" y="64476"/>
                  </a:lnTo>
                  <a:cubicBezTo>
                    <a:pt x="100277" y="64476"/>
                    <a:pt x="101694" y="62995"/>
                    <a:pt x="101794" y="61435"/>
                  </a:cubicBezTo>
                  <a:cubicBezTo>
                    <a:pt x="101798" y="61407"/>
                    <a:pt x="101794" y="61383"/>
                    <a:pt x="101798" y="61359"/>
                  </a:cubicBezTo>
                  <a:cubicBezTo>
                    <a:pt x="103911" y="60707"/>
                    <a:pt x="105659" y="59434"/>
                    <a:pt x="106548" y="57285"/>
                  </a:cubicBezTo>
                  <a:cubicBezTo>
                    <a:pt x="109000" y="51364"/>
                    <a:pt x="104955" y="45071"/>
                    <a:pt x="100469" y="40009"/>
                  </a:cubicBezTo>
                  <a:cubicBezTo>
                    <a:pt x="99994" y="39173"/>
                    <a:pt x="99422" y="38373"/>
                    <a:pt x="98761" y="37612"/>
                  </a:cubicBezTo>
                  <a:lnTo>
                    <a:pt x="98761" y="37612"/>
                  </a:lnTo>
                  <a:cubicBezTo>
                    <a:pt x="99954" y="37744"/>
                    <a:pt x="101174" y="37828"/>
                    <a:pt x="102419" y="37856"/>
                  </a:cubicBezTo>
                  <a:cubicBezTo>
                    <a:pt x="102450" y="37856"/>
                    <a:pt x="102478" y="37860"/>
                    <a:pt x="102510" y="37860"/>
                  </a:cubicBezTo>
                  <a:cubicBezTo>
                    <a:pt x="104327" y="37860"/>
                    <a:pt x="105863" y="36608"/>
                    <a:pt x="106119" y="35175"/>
                  </a:cubicBezTo>
                  <a:cubicBezTo>
                    <a:pt x="108752" y="33999"/>
                    <a:pt x="110792" y="31699"/>
                    <a:pt x="110400" y="29210"/>
                  </a:cubicBezTo>
                  <a:cubicBezTo>
                    <a:pt x="109824" y="25540"/>
                    <a:pt x="106020" y="22864"/>
                    <a:pt x="102755" y="20667"/>
                  </a:cubicBezTo>
                  <a:cubicBezTo>
                    <a:pt x="97269" y="16970"/>
                    <a:pt x="91327" y="13781"/>
                    <a:pt x="85081" y="11068"/>
                  </a:cubicBezTo>
                  <a:cubicBezTo>
                    <a:pt x="77523" y="7783"/>
                    <a:pt x="69817" y="4678"/>
                    <a:pt x="61794" y="2246"/>
                  </a:cubicBezTo>
                  <a:cubicBezTo>
                    <a:pt x="58666" y="1293"/>
                    <a:pt x="54280" y="1"/>
                    <a:pt x="50300" y="1"/>
                  </a:cubicBezTo>
                  <a:close/>
                </a:path>
              </a:pathLst>
            </a:custGeom>
            <a:solidFill>
              <a:srgbClr val="FFFFFF">
                <a:alpha val="803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332" name="Google Shape;332;p16"/>
          <p:cNvGrpSpPr/>
          <p:nvPr/>
        </p:nvGrpSpPr>
        <p:grpSpPr>
          <a:xfrm flipH="1">
            <a:off x="2581903" y="2591050"/>
            <a:ext cx="2963933" cy="1673367"/>
            <a:chOff x="2256903" y="816487"/>
            <a:chExt cx="4630180" cy="3653639"/>
          </a:xfrm>
        </p:grpSpPr>
        <p:sp>
          <p:nvSpPr>
            <p:cNvPr id="333" name="Google Shape;333;p16"/>
            <p:cNvSpPr/>
            <p:nvPr/>
          </p:nvSpPr>
          <p:spPr>
            <a:xfrm>
              <a:off x="2256903" y="816487"/>
              <a:ext cx="4630180" cy="3653639"/>
            </a:xfrm>
            <a:custGeom>
              <a:avLst/>
              <a:gdLst/>
              <a:ahLst/>
              <a:cxnLst/>
              <a:rect l="l" t="t" r="r" b="b"/>
              <a:pathLst>
                <a:path w="90191" h="71169" extrusionOk="0">
                  <a:moveTo>
                    <a:pt x="51262" y="4765"/>
                  </a:moveTo>
                  <a:cubicBezTo>
                    <a:pt x="51543" y="4765"/>
                    <a:pt x="51822" y="4770"/>
                    <a:pt x="52107" y="4781"/>
                  </a:cubicBezTo>
                  <a:cubicBezTo>
                    <a:pt x="53975" y="4833"/>
                    <a:pt x="54987" y="5361"/>
                    <a:pt x="55432" y="6154"/>
                  </a:cubicBezTo>
                  <a:cubicBezTo>
                    <a:pt x="51794" y="7210"/>
                    <a:pt x="48217" y="9267"/>
                    <a:pt x="46121" y="10663"/>
                  </a:cubicBezTo>
                  <a:cubicBezTo>
                    <a:pt x="46025" y="10731"/>
                    <a:pt x="45925" y="10799"/>
                    <a:pt x="45825" y="10863"/>
                  </a:cubicBezTo>
                  <a:cubicBezTo>
                    <a:pt x="45553" y="10363"/>
                    <a:pt x="45052" y="9947"/>
                    <a:pt x="44389" y="9719"/>
                  </a:cubicBezTo>
                  <a:cubicBezTo>
                    <a:pt x="46153" y="8262"/>
                    <a:pt x="44493" y="6181"/>
                    <a:pt x="42360" y="6181"/>
                  </a:cubicBezTo>
                  <a:cubicBezTo>
                    <a:pt x="42252" y="6181"/>
                    <a:pt x="42140" y="6190"/>
                    <a:pt x="42032" y="6198"/>
                  </a:cubicBezTo>
                  <a:cubicBezTo>
                    <a:pt x="44973" y="5302"/>
                    <a:pt x="48058" y="4765"/>
                    <a:pt x="51262" y="4765"/>
                  </a:cubicBezTo>
                  <a:close/>
                  <a:moveTo>
                    <a:pt x="53559" y="12371"/>
                  </a:moveTo>
                  <a:lnTo>
                    <a:pt x="53559" y="12371"/>
                  </a:lnTo>
                  <a:cubicBezTo>
                    <a:pt x="53323" y="12716"/>
                    <a:pt x="53087" y="13044"/>
                    <a:pt x="52859" y="13348"/>
                  </a:cubicBezTo>
                  <a:cubicBezTo>
                    <a:pt x="52583" y="13296"/>
                    <a:pt x="52315" y="13252"/>
                    <a:pt x="52038" y="13216"/>
                  </a:cubicBezTo>
                  <a:cubicBezTo>
                    <a:pt x="52551" y="12916"/>
                    <a:pt x="53059" y="12632"/>
                    <a:pt x="53559" y="12371"/>
                  </a:cubicBezTo>
                  <a:close/>
                  <a:moveTo>
                    <a:pt x="60457" y="10499"/>
                  </a:moveTo>
                  <a:cubicBezTo>
                    <a:pt x="60693" y="10607"/>
                    <a:pt x="60869" y="10772"/>
                    <a:pt x="60978" y="10999"/>
                  </a:cubicBezTo>
                  <a:cubicBezTo>
                    <a:pt x="61593" y="12308"/>
                    <a:pt x="60645" y="13856"/>
                    <a:pt x="59453" y="15213"/>
                  </a:cubicBezTo>
                  <a:cubicBezTo>
                    <a:pt x="58601" y="15592"/>
                    <a:pt x="57772" y="16017"/>
                    <a:pt x="56965" y="16465"/>
                  </a:cubicBezTo>
                  <a:cubicBezTo>
                    <a:pt x="57004" y="16417"/>
                    <a:pt x="57044" y="16369"/>
                    <a:pt x="57080" y="16325"/>
                  </a:cubicBezTo>
                  <a:cubicBezTo>
                    <a:pt x="58365" y="14737"/>
                    <a:pt x="59685" y="12648"/>
                    <a:pt x="60457" y="10499"/>
                  </a:cubicBezTo>
                  <a:close/>
                  <a:moveTo>
                    <a:pt x="48430" y="17945"/>
                  </a:moveTo>
                  <a:lnTo>
                    <a:pt x="48430" y="17945"/>
                  </a:lnTo>
                  <a:cubicBezTo>
                    <a:pt x="47685" y="18670"/>
                    <a:pt x="46889" y="19346"/>
                    <a:pt x="46041" y="19985"/>
                  </a:cubicBezTo>
                  <a:cubicBezTo>
                    <a:pt x="45949" y="19542"/>
                    <a:pt x="45721" y="19121"/>
                    <a:pt x="45397" y="18766"/>
                  </a:cubicBezTo>
                  <a:cubicBezTo>
                    <a:pt x="46389" y="18382"/>
                    <a:pt x="47405" y="18098"/>
                    <a:pt x="48430" y="17945"/>
                  </a:cubicBezTo>
                  <a:close/>
                  <a:moveTo>
                    <a:pt x="14204" y="18897"/>
                  </a:moveTo>
                  <a:lnTo>
                    <a:pt x="14204" y="18897"/>
                  </a:lnTo>
                  <a:cubicBezTo>
                    <a:pt x="11908" y="21130"/>
                    <a:pt x="9710" y="23439"/>
                    <a:pt x="7582" y="25787"/>
                  </a:cubicBezTo>
                  <a:cubicBezTo>
                    <a:pt x="8911" y="23163"/>
                    <a:pt x="11455" y="20874"/>
                    <a:pt x="14204" y="18897"/>
                  </a:cubicBezTo>
                  <a:close/>
                  <a:moveTo>
                    <a:pt x="35198" y="24947"/>
                  </a:moveTo>
                  <a:cubicBezTo>
                    <a:pt x="35198" y="25015"/>
                    <a:pt x="35202" y="25084"/>
                    <a:pt x="35206" y="25152"/>
                  </a:cubicBezTo>
                  <a:cubicBezTo>
                    <a:pt x="34670" y="25728"/>
                    <a:pt x="34138" y="26304"/>
                    <a:pt x="33606" y="26880"/>
                  </a:cubicBezTo>
                  <a:cubicBezTo>
                    <a:pt x="32177" y="27564"/>
                    <a:pt x="30768" y="28253"/>
                    <a:pt x="29412" y="28960"/>
                  </a:cubicBezTo>
                  <a:cubicBezTo>
                    <a:pt x="31313" y="27600"/>
                    <a:pt x="33257" y="26275"/>
                    <a:pt x="35198" y="24947"/>
                  </a:cubicBezTo>
                  <a:close/>
                  <a:moveTo>
                    <a:pt x="82050" y="30753"/>
                  </a:moveTo>
                  <a:cubicBezTo>
                    <a:pt x="83182" y="32002"/>
                    <a:pt x="81618" y="35483"/>
                    <a:pt x="80535" y="37715"/>
                  </a:cubicBezTo>
                  <a:cubicBezTo>
                    <a:pt x="80363" y="37691"/>
                    <a:pt x="80191" y="37683"/>
                    <a:pt x="80015" y="37679"/>
                  </a:cubicBezTo>
                  <a:cubicBezTo>
                    <a:pt x="80631" y="36171"/>
                    <a:pt x="81051" y="34635"/>
                    <a:pt x="81103" y="33122"/>
                  </a:cubicBezTo>
                  <a:cubicBezTo>
                    <a:pt x="81243" y="32969"/>
                    <a:pt x="81383" y="32829"/>
                    <a:pt x="81519" y="32677"/>
                  </a:cubicBezTo>
                  <a:cubicBezTo>
                    <a:pt x="81984" y="32162"/>
                    <a:pt x="82100" y="31625"/>
                    <a:pt x="81995" y="31133"/>
                  </a:cubicBezTo>
                  <a:cubicBezTo>
                    <a:pt x="82113" y="30996"/>
                    <a:pt x="82150" y="30866"/>
                    <a:pt x="82050" y="30753"/>
                  </a:cubicBezTo>
                  <a:close/>
                  <a:moveTo>
                    <a:pt x="24039" y="37231"/>
                  </a:moveTo>
                  <a:lnTo>
                    <a:pt x="24039" y="37231"/>
                  </a:lnTo>
                  <a:cubicBezTo>
                    <a:pt x="21838" y="39604"/>
                    <a:pt x="19629" y="41972"/>
                    <a:pt x="17396" y="44321"/>
                  </a:cubicBezTo>
                  <a:cubicBezTo>
                    <a:pt x="17372" y="44333"/>
                    <a:pt x="17353" y="44341"/>
                    <a:pt x="17329" y="44353"/>
                  </a:cubicBezTo>
                  <a:lnTo>
                    <a:pt x="17329" y="44353"/>
                  </a:lnTo>
                  <a:cubicBezTo>
                    <a:pt x="18181" y="43385"/>
                    <a:pt x="19001" y="42448"/>
                    <a:pt x="19730" y="41552"/>
                  </a:cubicBezTo>
                  <a:cubicBezTo>
                    <a:pt x="20634" y="40444"/>
                    <a:pt x="21462" y="39287"/>
                    <a:pt x="22262" y="38116"/>
                  </a:cubicBezTo>
                  <a:cubicBezTo>
                    <a:pt x="22866" y="37823"/>
                    <a:pt x="23459" y="37527"/>
                    <a:pt x="24039" y="37231"/>
                  </a:cubicBezTo>
                  <a:close/>
                  <a:moveTo>
                    <a:pt x="47909" y="45757"/>
                  </a:moveTo>
                  <a:lnTo>
                    <a:pt x="47909" y="45757"/>
                  </a:lnTo>
                  <a:cubicBezTo>
                    <a:pt x="47757" y="46286"/>
                    <a:pt x="47613" y="46818"/>
                    <a:pt x="47486" y="47350"/>
                  </a:cubicBezTo>
                  <a:cubicBezTo>
                    <a:pt x="45705" y="49346"/>
                    <a:pt x="43813" y="51271"/>
                    <a:pt x="41816" y="53144"/>
                  </a:cubicBezTo>
                  <a:cubicBezTo>
                    <a:pt x="41844" y="52991"/>
                    <a:pt x="41868" y="52843"/>
                    <a:pt x="41896" y="52695"/>
                  </a:cubicBezTo>
                  <a:cubicBezTo>
                    <a:pt x="41988" y="52195"/>
                    <a:pt x="42108" y="51703"/>
                    <a:pt x="42228" y="51207"/>
                  </a:cubicBezTo>
                  <a:cubicBezTo>
                    <a:pt x="42801" y="50491"/>
                    <a:pt x="43377" y="49778"/>
                    <a:pt x="43961" y="49067"/>
                  </a:cubicBezTo>
                  <a:cubicBezTo>
                    <a:pt x="45292" y="47974"/>
                    <a:pt x="46609" y="46873"/>
                    <a:pt x="47909" y="45757"/>
                  </a:cubicBezTo>
                  <a:close/>
                  <a:moveTo>
                    <a:pt x="42628" y="36615"/>
                  </a:moveTo>
                  <a:lnTo>
                    <a:pt x="42628" y="36615"/>
                  </a:lnTo>
                  <a:cubicBezTo>
                    <a:pt x="42092" y="37539"/>
                    <a:pt x="41576" y="38483"/>
                    <a:pt x="41072" y="39440"/>
                  </a:cubicBezTo>
                  <a:cubicBezTo>
                    <a:pt x="38243" y="42389"/>
                    <a:pt x="35550" y="45409"/>
                    <a:pt x="33054" y="48386"/>
                  </a:cubicBezTo>
                  <a:cubicBezTo>
                    <a:pt x="32457" y="49094"/>
                    <a:pt x="31549" y="50295"/>
                    <a:pt x="30624" y="51719"/>
                  </a:cubicBezTo>
                  <a:cubicBezTo>
                    <a:pt x="29200" y="52808"/>
                    <a:pt x="27560" y="53999"/>
                    <a:pt x="25708" y="54564"/>
                  </a:cubicBezTo>
                  <a:cubicBezTo>
                    <a:pt x="25887" y="53667"/>
                    <a:pt x="26260" y="52788"/>
                    <a:pt x="26727" y="51927"/>
                  </a:cubicBezTo>
                  <a:cubicBezTo>
                    <a:pt x="30284" y="47514"/>
                    <a:pt x="34550" y="43436"/>
                    <a:pt x="38747" y="39324"/>
                  </a:cubicBezTo>
                  <a:cubicBezTo>
                    <a:pt x="40083" y="38479"/>
                    <a:pt x="41372" y="37571"/>
                    <a:pt x="42628" y="36615"/>
                  </a:cubicBezTo>
                  <a:close/>
                  <a:moveTo>
                    <a:pt x="64182" y="53560"/>
                  </a:moveTo>
                  <a:lnTo>
                    <a:pt x="64182" y="53560"/>
                  </a:lnTo>
                  <a:cubicBezTo>
                    <a:pt x="63086" y="55377"/>
                    <a:pt x="61750" y="57681"/>
                    <a:pt x="60065" y="59650"/>
                  </a:cubicBezTo>
                  <a:cubicBezTo>
                    <a:pt x="60278" y="58717"/>
                    <a:pt x="60553" y="57777"/>
                    <a:pt x="60885" y="56836"/>
                  </a:cubicBezTo>
                  <a:cubicBezTo>
                    <a:pt x="60954" y="56708"/>
                    <a:pt x="61026" y="56581"/>
                    <a:pt x="61098" y="56452"/>
                  </a:cubicBezTo>
                  <a:cubicBezTo>
                    <a:pt x="62141" y="55504"/>
                    <a:pt x="63170" y="54536"/>
                    <a:pt x="64182" y="53560"/>
                  </a:cubicBezTo>
                  <a:close/>
                  <a:moveTo>
                    <a:pt x="72865" y="51691"/>
                  </a:moveTo>
                  <a:cubicBezTo>
                    <a:pt x="71520" y="53840"/>
                    <a:pt x="70128" y="55876"/>
                    <a:pt x="68499" y="57901"/>
                  </a:cubicBezTo>
                  <a:cubicBezTo>
                    <a:pt x="67219" y="59497"/>
                    <a:pt x="65931" y="61085"/>
                    <a:pt x="64518" y="62598"/>
                  </a:cubicBezTo>
                  <a:cubicBezTo>
                    <a:pt x="65811" y="61118"/>
                    <a:pt x="66939" y="59521"/>
                    <a:pt x="67971" y="58012"/>
                  </a:cubicBezTo>
                  <a:cubicBezTo>
                    <a:pt x="69323" y="56044"/>
                    <a:pt x="70560" y="54020"/>
                    <a:pt x="71768" y="51983"/>
                  </a:cubicBezTo>
                  <a:cubicBezTo>
                    <a:pt x="72148" y="51903"/>
                    <a:pt x="72509" y="51803"/>
                    <a:pt x="72865" y="51691"/>
                  </a:cubicBezTo>
                  <a:close/>
                  <a:moveTo>
                    <a:pt x="40544" y="62790"/>
                  </a:moveTo>
                  <a:lnTo>
                    <a:pt x="40544" y="62790"/>
                  </a:lnTo>
                  <a:cubicBezTo>
                    <a:pt x="40515" y="63059"/>
                    <a:pt x="40544" y="63323"/>
                    <a:pt x="40616" y="63578"/>
                  </a:cubicBezTo>
                  <a:cubicBezTo>
                    <a:pt x="39656" y="63839"/>
                    <a:pt x="38687" y="64010"/>
                    <a:pt x="37715" y="64067"/>
                  </a:cubicBezTo>
                  <a:cubicBezTo>
                    <a:pt x="38675" y="63694"/>
                    <a:pt x="39619" y="63266"/>
                    <a:pt x="40544" y="62790"/>
                  </a:cubicBezTo>
                  <a:close/>
                  <a:moveTo>
                    <a:pt x="50186" y="0"/>
                  </a:moveTo>
                  <a:cubicBezTo>
                    <a:pt x="45685" y="0"/>
                    <a:pt x="40923" y="1348"/>
                    <a:pt x="36618" y="3181"/>
                  </a:cubicBezTo>
                  <a:cubicBezTo>
                    <a:pt x="36178" y="2361"/>
                    <a:pt x="35154" y="1729"/>
                    <a:pt x="34077" y="1729"/>
                  </a:cubicBezTo>
                  <a:cubicBezTo>
                    <a:pt x="33826" y="1729"/>
                    <a:pt x="33573" y="1764"/>
                    <a:pt x="33325" y="1836"/>
                  </a:cubicBezTo>
                  <a:cubicBezTo>
                    <a:pt x="27968" y="3409"/>
                    <a:pt x="24286" y="7651"/>
                    <a:pt x="21090" y="11575"/>
                  </a:cubicBezTo>
                  <a:cubicBezTo>
                    <a:pt x="19313" y="12495"/>
                    <a:pt x="17597" y="13472"/>
                    <a:pt x="15956" y="14456"/>
                  </a:cubicBezTo>
                  <a:cubicBezTo>
                    <a:pt x="10915" y="17477"/>
                    <a:pt x="5053" y="21594"/>
                    <a:pt x="3577" y="26860"/>
                  </a:cubicBezTo>
                  <a:cubicBezTo>
                    <a:pt x="3376" y="27580"/>
                    <a:pt x="3833" y="28441"/>
                    <a:pt x="4774" y="28609"/>
                  </a:cubicBezTo>
                  <a:cubicBezTo>
                    <a:pt x="4861" y="28624"/>
                    <a:pt x="4953" y="28628"/>
                    <a:pt x="5042" y="28640"/>
                  </a:cubicBezTo>
                  <a:cubicBezTo>
                    <a:pt x="3733" y="30133"/>
                    <a:pt x="2445" y="31629"/>
                    <a:pt x="1168" y="33126"/>
                  </a:cubicBezTo>
                  <a:cubicBezTo>
                    <a:pt x="0" y="34490"/>
                    <a:pt x="1320" y="36059"/>
                    <a:pt x="2937" y="36459"/>
                  </a:cubicBezTo>
                  <a:cubicBezTo>
                    <a:pt x="2625" y="37339"/>
                    <a:pt x="2429" y="38247"/>
                    <a:pt x="2373" y="39191"/>
                  </a:cubicBezTo>
                  <a:cubicBezTo>
                    <a:pt x="2329" y="39955"/>
                    <a:pt x="2933" y="40904"/>
                    <a:pt x="3789" y="41236"/>
                  </a:cubicBezTo>
                  <a:cubicBezTo>
                    <a:pt x="4061" y="41340"/>
                    <a:pt x="4342" y="41436"/>
                    <a:pt x="4621" y="41520"/>
                  </a:cubicBezTo>
                  <a:cubicBezTo>
                    <a:pt x="2949" y="44141"/>
                    <a:pt x="1600" y="46878"/>
                    <a:pt x="848" y="49826"/>
                  </a:cubicBezTo>
                  <a:cubicBezTo>
                    <a:pt x="484" y="51263"/>
                    <a:pt x="1876" y="52795"/>
                    <a:pt x="3544" y="52795"/>
                  </a:cubicBezTo>
                  <a:cubicBezTo>
                    <a:pt x="3813" y="52795"/>
                    <a:pt x="4089" y="52755"/>
                    <a:pt x="4366" y="52668"/>
                  </a:cubicBezTo>
                  <a:lnTo>
                    <a:pt x="4366" y="52668"/>
                  </a:lnTo>
                  <a:cubicBezTo>
                    <a:pt x="2809" y="55332"/>
                    <a:pt x="1720" y="58105"/>
                    <a:pt x="1568" y="60982"/>
                  </a:cubicBezTo>
                  <a:cubicBezTo>
                    <a:pt x="1496" y="62334"/>
                    <a:pt x="3016" y="63318"/>
                    <a:pt x="4497" y="63318"/>
                  </a:cubicBezTo>
                  <a:cubicBezTo>
                    <a:pt x="5182" y="63318"/>
                    <a:pt x="5858" y="63107"/>
                    <a:pt x="6370" y="62630"/>
                  </a:cubicBezTo>
                  <a:cubicBezTo>
                    <a:pt x="7862" y="61229"/>
                    <a:pt x="9330" y="59809"/>
                    <a:pt x="10791" y="58381"/>
                  </a:cubicBezTo>
                  <a:cubicBezTo>
                    <a:pt x="10867" y="59585"/>
                    <a:pt x="12395" y="60505"/>
                    <a:pt x="13856" y="60505"/>
                  </a:cubicBezTo>
                  <a:cubicBezTo>
                    <a:pt x="14344" y="60505"/>
                    <a:pt x="14824" y="60406"/>
                    <a:pt x="15241" y="60173"/>
                  </a:cubicBezTo>
                  <a:lnTo>
                    <a:pt x="15241" y="60173"/>
                  </a:lnTo>
                  <a:cubicBezTo>
                    <a:pt x="14912" y="60926"/>
                    <a:pt x="14604" y="61682"/>
                    <a:pt x="14332" y="62459"/>
                  </a:cubicBezTo>
                  <a:cubicBezTo>
                    <a:pt x="13856" y="63827"/>
                    <a:pt x="15272" y="65527"/>
                    <a:pt x="17001" y="65527"/>
                  </a:cubicBezTo>
                  <a:cubicBezTo>
                    <a:pt x="17281" y="65527"/>
                    <a:pt x="17573" y="65483"/>
                    <a:pt x="17861" y="65383"/>
                  </a:cubicBezTo>
                  <a:cubicBezTo>
                    <a:pt x="21290" y="64215"/>
                    <a:pt x="24371" y="62654"/>
                    <a:pt x="27228" y="60858"/>
                  </a:cubicBezTo>
                  <a:lnTo>
                    <a:pt x="27228" y="60858"/>
                  </a:lnTo>
                  <a:cubicBezTo>
                    <a:pt x="27076" y="61590"/>
                    <a:pt x="26960" y="62334"/>
                    <a:pt x="26919" y="63090"/>
                  </a:cubicBezTo>
                  <a:cubicBezTo>
                    <a:pt x="26847" y="64455"/>
                    <a:pt x="28296" y="65427"/>
                    <a:pt x="29820" y="65495"/>
                  </a:cubicBezTo>
                  <a:lnTo>
                    <a:pt x="29893" y="65495"/>
                  </a:lnTo>
                  <a:cubicBezTo>
                    <a:pt x="30513" y="66884"/>
                    <a:pt x="31729" y="68028"/>
                    <a:pt x="33778" y="68612"/>
                  </a:cubicBezTo>
                  <a:cubicBezTo>
                    <a:pt x="34958" y="68948"/>
                    <a:pt x="36158" y="69096"/>
                    <a:pt x="37355" y="69096"/>
                  </a:cubicBezTo>
                  <a:cubicBezTo>
                    <a:pt x="41888" y="69096"/>
                    <a:pt x="46441" y="66952"/>
                    <a:pt x="50262" y="64627"/>
                  </a:cubicBezTo>
                  <a:cubicBezTo>
                    <a:pt x="51059" y="64315"/>
                    <a:pt x="51822" y="63938"/>
                    <a:pt x="52543" y="63506"/>
                  </a:cubicBezTo>
                  <a:lnTo>
                    <a:pt x="52543" y="63506"/>
                  </a:lnTo>
                  <a:cubicBezTo>
                    <a:pt x="52419" y="64287"/>
                    <a:pt x="52339" y="65087"/>
                    <a:pt x="52311" y="65903"/>
                  </a:cubicBezTo>
                  <a:cubicBezTo>
                    <a:pt x="52271" y="67120"/>
                    <a:pt x="53479" y="68160"/>
                    <a:pt x="54871" y="68328"/>
                  </a:cubicBezTo>
                  <a:cubicBezTo>
                    <a:pt x="55900" y="69912"/>
                    <a:pt x="57833" y="71168"/>
                    <a:pt x="59977" y="71168"/>
                  </a:cubicBezTo>
                  <a:cubicBezTo>
                    <a:pt x="60169" y="71168"/>
                    <a:pt x="60365" y="71157"/>
                    <a:pt x="60561" y="71137"/>
                  </a:cubicBezTo>
                  <a:cubicBezTo>
                    <a:pt x="64062" y="70760"/>
                    <a:pt x="66615" y="68263"/>
                    <a:pt x="68712" y="66123"/>
                  </a:cubicBezTo>
                  <a:cubicBezTo>
                    <a:pt x="72237" y="62526"/>
                    <a:pt x="75282" y="58629"/>
                    <a:pt x="77870" y="54536"/>
                  </a:cubicBezTo>
                  <a:cubicBezTo>
                    <a:pt x="81003" y="49582"/>
                    <a:pt x="83964" y="44525"/>
                    <a:pt x="86285" y="39268"/>
                  </a:cubicBezTo>
                  <a:cubicBezTo>
                    <a:pt x="87789" y="35867"/>
                    <a:pt x="90190" y="30217"/>
                    <a:pt x="86388" y="27232"/>
                  </a:cubicBezTo>
                  <a:cubicBezTo>
                    <a:pt x="85184" y="26288"/>
                    <a:pt x="83904" y="25900"/>
                    <a:pt x="82615" y="25900"/>
                  </a:cubicBezTo>
                  <a:cubicBezTo>
                    <a:pt x="81579" y="25900"/>
                    <a:pt x="80539" y="26151"/>
                    <a:pt x="79539" y="26568"/>
                  </a:cubicBezTo>
                  <a:cubicBezTo>
                    <a:pt x="80971" y="24576"/>
                    <a:pt x="82451" y="22611"/>
                    <a:pt x="84048" y="20722"/>
                  </a:cubicBezTo>
                  <a:cubicBezTo>
                    <a:pt x="85533" y="18962"/>
                    <a:pt x="83504" y="17185"/>
                    <a:pt x="81419" y="17185"/>
                  </a:cubicBezTo>
                  <a:cubicBezTo>
                    <a:pt x="80743" y="17185"/>
                    <a:pt x="80063" y="17374"/>
                    <a:pt x="79495" y="17806"/>
                  </a:cubicBezTo>
                  <a:cubicBezTo>
                    <a:pt x="78102" y="18870"/>
                    <a:pt x="76818" y="19990"/>
                    <a:pt x="75602" y="21150"/>
                  </a:cubicBezTo>
                  <a:cubicBezTo>
                    <a:pt x="75057" y="20338"/>
                    <a:pt x="74061" y="19946"/>
                    <a:pt x="72948" y="19946"/>
                  </a:cubicBezTo>
                  <a:cubicBezTo>
                    <a:pt x="72732" y="19946"/>
                    <a:pt x="72512" y="19961"/>
                    <a:pt x="72292" y="19990"/>
                  </a:cubicBezTo>
                  <a:cubicBezTo>
                    <a:pt x="72213" y="20002"/>
                    <a:pt x="72132" y="20018"/>
                    <a:pt x="72052" y="20030"/>
                  </a:cubicBezTo>
                  <a:cubicBezTo>
                    <a:pt x="72252" y="19346"/>
                    <a:pt x="72364" y="18654"/>
                    <a:pt x="72348" y="17957"/>
                  </a:cubicBezTo>
                  <a:cubicBezTo>
                    <a:pt x="72292" y="15797"/>
                    <a:pt x="70576" y="14421"/>
                    <a:pt x="68416" y="13852"/>
                  </a:cubicBezTo>
                  <a:cubicBezTo>
                    <a:pt x="68023" y="13400"/>
                    <a:pt x="67447" y="13080"/>
                    <a:pt x="66735" y="13008"/>
                  </a:cubicBezTo>
                  <a:cubicBezTo>
                    <a:pt x="67147" y="11043"/>
                    <a:pt x="66675" y="9079"/>
                    <a:pt x="64738" y="7267"/>
                  </a:cubicBezTo>
                  <a:cubicBezTo>
                    <a:pt x="63678" y="6270"/>
                    <a:pt x="62385" y="5742"/>
                    <a:pt x="60974" y="5553"/>
                  </a:cubicBezTo>
                  <a:cubicBezTo>
                    <a:pt x="60561" y="3749"/>
                    <a:pt x="59312" y="2177"/>
                    <a:pt x="56773" y="1169"/>
                  </a:cubicBezTo>
                  <a:cubicBezTo>
                    <a:pt x="54708" y="353"/>
                    <a:pt x="52479" y="0"/>
                    <a:pt x="50186" y="0"/>
                  </a:cubicBezTo>
                  <a:close/>
                </a:path>
              </a:pathLst>
            </a:custGeom>
            <a:solidFill>
              <a:srgbClr val="FFFFFF">
                <a:alpha val="803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34" name="Google Shape;334;p16"/>
            <p:cNvSpPr/>
            <p:nvPr/>
          </p:nvSpPr>
          <p:spPr>
            <a:xfrm>
              <a:off x="2748611" y="1192720"/>
              <a:ext cx="3311049" cy="2747418"/>
            </a:xfrm>
            <a:custGeom>
              <a:avLst/>
              <a:gdLst/>
              <a:ahLst/>
              <a:cxnLst/>
              <a:rect l="l" t="t" r="r" b="b"/>
              <a:pathLst>
                <a:path w="110793" h="91933" extrusionOk="0">
                  <a:moveTo>
                    <a:pt x="50743" y="6275"/>
                  </a:moveTo>
                  <a:cubicBezTo>
                    <a:pt x="53200" y="6275"/>
                    <a:pt x="56857" y="7419"/>
                    <a:pt x="59430" y="8276"/>
                  </a:cubicBezTo>
                  <a:cubicBezTo>
                    <a:pt x="59393" y="8455"/>
                    <a:pt x="59374" y="8636"/>
                    <a:pt x="59374" y="8815"/>
                  </a:cubicBezTo>
                  <a:cubicBezTo>
                    <a:pt x="57073" y="8172"/>
                    <a:pt x="54732" y="7731"/>
                    <a:pt x="52420" y="7679"/>
                  </a:cubicBezTo>
                  <a:cubicBezTo>
                    <a:pt x="52191" y="7535"/>
                    <a:pt x="51975" y="7387"/>
                    <a:pt x="51744" y="7243"/>
                  </a:cubicBezTo>
                  <a:cubicBezTo>
                    <a:pt x="51131" y="6867"/>
                    <a:pt x="50503" y="6708"/>
                    <a:pt x="49899" y="6708"/>
                  </a:cubicBezTo>
                  <a:cubicBezTo>
                    <a:pt x="49727" y="6708"/>
                    <a:pt x="49555" y="6719"/>
                    <a:pt x="49387" y="6743"/>
                  </a:cubicBezTo>
                  <a:cubicBezTo>
                    <a:pt x="49259" y="6667"/>
                    <a:pt x="49139" y="6623"/>
                    <a:pt x="49022" y="6623"/>
                  </a:cubicBezTo>
                  <a:cubicBezTo>
                    <a:pt x="48943" y="6623"/>
                    <a:pt x="48867" y="6647"/>
                    <a:pt x="48795" y="6691"/>
                  </a:cubicBezTo>
                  <a:cubicBezTo>
                    <a:pt x="49263" y="6395"/>
                    <a:pt x="49940" y="6275"/>
                    <a:pt x="50743" y="6275"/>
                  </a:cubicBezTo>
                  <a:close/>
                  <a:moveTo>
                    <a:pt x="80740" y="16318"/>
                  </a:moveTo>
                  <a:lnTo>
                    <a:pt x="80740" y="16318"/>
                  </a:lnTo>
                  <a:cubicBezTo>
                    <a:pt x="84017" y="17727"/>
                    <a:pt x="87121" y="19182"/>
                    <a:pt x="90214" y="20887"/>
                  </a:cubicBezTo>
                  <a:cubicBezTo>
                    <a:pt x="92648" y="22231"/>
                    <a:pt x="95072" y="23584"/>
                    <a:pt x="97381" y="25064"/>
                  </a:cubicBezTo>
                  <a:cubicBezTo>
                    <a:pt x="95116" y="23708"/>
                    <a:pt x="92687" y="22528"/>
                    <a:pt x="90386" y="21443"/>
                  </a:cubicBezTo>
                  <a:cubicBezTo>
                    <a:pt x="87382" y="20027"/>
                    <a:pt x="84293" y="18730"/>
                    <a:pt x="81188" y="17466"/>
                  </a:cubicBezTo>
                  <a:cubicBezTo>
                    <a:pt x="81068" y="17066"/>
                    <a:pt x="80916" y="16686"/>
                    <a:pt x="80740" y="16318"/>
                  </a:cubicBezTo>
                  <a:close/>
                  <a:moveTo>
                    <a:pt x="83589" y="25417"/>
                  </a:moveTo>
                  <a:lnTo>
                    <a:pt x="83589" y="25417"/>
                  </a:lnTo>
                  <a:cubicBezTo>
                    <a:pt x="86362" y="26565"/>
                    <a:pt x="89878" y="27965"/>
                    <a:pt x="92883" y="29734"/>
                  </a:cubicBezTo>
                  <a:cubicBezTo>
                    <a:pt x="91459" y="29509"/>
                    <a:pt x="90022" y="29221"/>
                    <a:pt x="88591" y="28874"/>
                  </a:cubicBezTo>
                  <a:cubicBezTo>
                    <a:pt x="88399" y="28802"/>
                    <a:pt x="88202" y="28726"/>
                    <a:pt x="88006" y="28650"/>
                  </a:cubicBezTo>
                  <a:cubicBezTo>
                    <a:pt x="86554" y="27553"/>
                    <a:pt x="85081" y="26477"/>
                    <a:pt x="83589" y="25417"/>
                  </a:cubicBezTo>
                  <a:close/>
                  <a:moveTo>
                    <a:pt x="20022" y="28573"/>
                  </a:moveTo>
                  <a:cubicBezTo>
                    <a:pt x="21687" y="28573"/>
                    <a:pt x="23488" y="29394"/>
                    <a:pt x="25108" y="30374"/>
                  </a:cubicBezTo>
                  <a:cubicBezTo>
                    <a:pt x="25688" y="31262"/>
                    <a:pt x="26332" y="32135"/>
                    <a:pt x="27017" y="32979"/>
                  </a:cubicBezTo>
                  <a:cubicBezTo>
                    <a:pt x="26949" y="32942"/>
                    <a:pt x="26873" y="32899"/>
                    <a:pt x="26801" y="32859"/>
                  </a:cubicBezTo>
                  <a:cubicBezTo>
                    <a:pt x="24384" y="31514"/>
                    <a:pt x="21199" y="30130"/>
                    <a:pt x="17918" y="29322"/>
                  </a:cubicBezTo>
                  <a:cubicBezTo>
                    <a:pt x="18086" y="29073"/>
                    <a:pt x="18338" y="28885"/>
                    <a:pt x="18683" y="28774"/>
                  </a:cubicBezTo>
                  <a:cubicBezTo>
                    <a:pt x="19115" y="28634"/>
                    <a:pt x="19562" y="28573"/>
                    <a:pt x="20022" y="28573"/>
                  </a:cubicBezTo>
                  <a:close/>
                  <a:moveTo>
                    <a:pt x="20775" y="36552"/>
                  </a:moveTo>
                  <a:cubicBezTo>
                    <a:pt x="21299" y="36800"/>
                    <a:pt x="21799" y="37048"/>
                    <a:pt x="22263" y="37288"/>
                  </a:cubicBezTo>
                  <a:cubicBezTo>
                    <a:pt x="22183" y="37572"/>
                    <a:pt x="22119" y="37856"/>
                    <a:pt x="22063" y="38140"/>
                  </a:cubicBezTo>
                  <a:cubicBezTo>
                    <a:pt x="21603" y="37604"/>
                    <a:pt x="21175" y="37076"/>
                    <a:pt x="20775" y="36552"/>
                  </a:cubicBezTo>
                  <a:close/>
                  <a:moveTo>
                    <a:pt x="29277" y="41930"/>
                  </a:moveTo>
                  <a:lnTo>
                    <a:pt x="29277" y="41930"/>
                  </a:lnTo>
                  <a:cubicBezTo>
                    <a:pt x="30378" y="42705"/>
                    <a:pt x="31414" y="43542"/>
                    <a:pt x="32386" y="44430"/>
                  </a:cubicBezTo>
                  <a:cubicBezTo>
                    <a:pt x="31710" y="44526"/>
                    <a:pt x="31070" y="44766"/>
                    <a:pt x="30526" y="45106"/>
                  </a:cubicBezTo>
                  <a:cubicBezTo>
                    <a:pt x="29946" y="44066"/>
                    <a:pt x="29505" y="43001"/>
                    <a:pt x="29277" y="41930"/>
                  </a:cubicBezTo>
                  <a:close/>
                  <a:moveTo>
                    <a:pt x="11292" y="34587"/>
                  </a:moveTo>
                  <a:cubicBezTo>
                    <a:pt x="12905" y="38401"/>
                    <a:pt x="16042" y="42149"/>
                    <a:pt x="18174" y="44350"/>
                  </a:cubicBezTo>
                  <a:cubicBezTo>
                    <a:pt x="18270" y="44450"/>
                    <a:pt x="18374" y="44554"/>
                    <a:pt x="18474" y="44658"/>
                  </a:cubicBezTo>
                  <a:cubicBezTo>
                    <a:pt x="17710" y="44942"/>
                    <a:pt x="17078" y="45466"/>
                    <a:pt x="16733" y="46166"/>
                  </a:cubicBezTo>
                  <a:cubicBezTo>
                    <a:pt x="16077" y="45618"/>
                    <a:pt x="15337" y="45387"/>
                    <a:pt x="14621" y="45387"/>
                  </a:cubicBezTo>
                  <a:cubicBezTo>
                    <a:pt x="12788" y="45387"/>
                    <a:pt x="11112" y="46911"/>
                    <a:pt x="11361" y="48635"/>
                  </a:cubicBezTo>
                  <a:cubicBezTo>
                    <a:pt x="9872" y="45282"/>
                    <a:pt x="9040" y="41753"/>
                    <a:pt x="9195" y="38072"/>
                  </a:cubicBezTo>
                  <a:cubicBezTo>
                    <a:pt x="9280" y="36111"/>
                    <a:pt x="10088" y="35051"/>
                    <a:pt x="11292" y="34587"/>
                  </a:cubicBezTo>
                  <a:close/>
                  <a:moveTo>
                    <a:pt x="71694" y="42469"/>
                  </a:moveTo>
                  <a:lnTo>
                    <a:pt x="71694" y="42469"/>
                  </a:lnTo>
                  <a:cubicBezTo>
                    <a:pt x="72497" y="42633"/>
                    <a:pt x="73310" y="42781"/>
                    <a:pt x="74122" y="42918"/>
                  </a:cubicBezTo>
                  <a:cubicBezTo>
                    <a:pt x="77167" y="44783"/>
                    <a:pt x="80104" y="46766"/>
                    <a:pt x="82957" y="48859"/>
                  </a:cubicBezTo>
                  <a:cubicBezTo>
                    <a:pt x="82728" y="48831"/>
                    <a:pt x="82497" y="48807"/>
                    <a:pt x="82272" y="48775"/>
                  </a:cubicBezTo>
                  <a:cubicBezTo>
                    <a:pt x="81516" y="48679"/>
                    <a:pt x="80760" y="48555"/>
                    <a:pt x="80008" y="48427"/>
                  </a:cubicBezTo>
                  <a:cubicBezTo>
                    <a:pt x="78911" y="47831"/>
                    <a:pt x="77823" y="47223"/>
                    <a:pt x="76739" y="46611"/>
                  </a:cubicBezTo>
                  <a:cubicBezTo>
                    <a:pt x="75075" y="45219"/>
                    <a:pt x="73394" y="43834"/>
                    <a:pt x="71694" y="42469"/>
                  </a:cubicBezTo>
                  <a:close/>
                  <a:moveTo>
                    <a:pt x="98873" y="50120"/>
                  </a:moveTo>
                  <a:cubicBezTo>
                    <a:pt x="99269" y="51124"/>
                    <a:pt x="99529" y="52140"/>
                    <a:pt x="99617" y="53156"/>
                  </a:cubicBezTo>
                  <a:cubicBezTo>
                    <a:pt x="99053" y="52153"/>
                    <a:pt x="98397" y="51164"/>
                    <a:pt x="97673" y="50192"/>
                  </a:cubicBezTo>
                  <a:lnTo>
                    <a:pt x="97673" y="50192"/>
                  </a:lnTo>
                  <a:cubicBezTo>
                    <a:pt x="97780" y="50199"/>
                    <a:pt x="97889" y="50203"/>
                    <a:pt x="97996" y="50203"/>
                  </a:cubicBezTo>
                  <a:cubicBezTo>
                    <a:pt x="98297" y="50203"/>
                    <a:pt x="98589" y="50175"/>
                    <a:pt x="98873" y="50120"/>
                  </a:cubicBezTo>
                  <a:close/>
                  <a:moveTo>
                    <a:pt x="40269" y="55789"/>
                  </a:moveTo>
                  <a:cubicBezTo>
                    <a:pt x="41144" y="56349"/>
                    <a:pt x="42025" y="56906"/>
                    <a:pt x="42906" y="57466"/>
                  </a:cubicBezTo>
                  <a:cubicBezTo>
                    <a:pt x="43946" y="58962"/>
                    <a:pt x="44994" y="60439"/>
                    <a:pt x="46074" y="61859"/>
                  </a:cubicBezTo>
                  <a:cubicBezTo>
                    <a:pt x="44001" y="59867"/>
                    <a:pt x="41981" y="57830"/>
                    <a:pt x="39957" y="55797"/>
                  </a:cubicBezTo>
                  <a:cubicBezTo>
                    <a:pt x="40060" y="55797"/>
                    <a:pt x="40164" y="55793"/>
                    <a:pt x="40269" y="55789"/>
                  </a:cubicBezTo>
                  <a:close/>
                  <a:moveTo>
                    <a:pt x="57753" y="48007"/>
                  </a:moveTo>
                  <a:lnTo>
                    <a:pt x="57753" y="48007"/>
                  </a:lnTo>
                  <a:cubicBezTo>
                    <a:pt x="59162" y="48567"/>
                    <a:pt x="60602" y="49111"/>
                    <a:pt x="62054" y="49640"/>
                  </a:cubicBezTo>
                  <a:cubicBezTo>
                    <a:pt x="66556" y="52604"/>
                    <a:pt x="71165" y="55429"/>
                    <a:pt x="75699" y="58046"/>
                  </a:cubicBezTo>
                  <a:cubicBezTo>
                    <a:pt x="76783" y="58670"/>
                    <a:pt x="78611" y="59623"/>
                    <a:pt x="80784" y="60587"/>
                  </a:cubicBezTo>
                  <a:cubicBezTo>
                    <a:pt x="82449" y="62083"/>
                    <a:pt x="84265" y="63804"/>
                    <a:pt x="85125" y="65744"/>
                  </a:cubicBezTo>
                  <a:cubicBezTo>
                    <a:pt x="83757" y="65556"/>
                    <a:pt x="82416" y="65168"/>
                    <a:pt x="81100" y="64672"/>
                  </a:cubicBezTo>
                  <a:cubicBezTo>
                    <a:pt x="74370" y="60947"/>
                    <a:pt x="68156" y="56474"/>
                    <a:pt x="61879" y="52076"/>
                  </a:cubicBezTo>
                  <a:cubicBezTo>
                    <a:pt x="60594" y="50676"/>
                    <a:pt x="59206" y="49324"/>
                    <a:pt x="57753" y="48007"/>
                  </a:cubicBezTo>
                  <a:close/>
                  <a:moveTo>
                    <a:pt x="58690" y="67497"/>
                  </a:moveTo>
                  <a:cubicBezTo>
                    <a:pt x="62311" y="69802"/>
                    <a:pt x="65919" y="72114"/>
                    <a:pt x="69505" y="74455"/>
                  </a:cubicBezTo>
                  <a:cubicBezTo>
                    <a:pt x="69521" y="74479"/>
                    <a:pt x="69533" y="74503"/>
                    <a:pt x="69548" y="74527"/>
                  </a:cubicBezTo>
                  <a:cubicBezTo>
                    <a:pt x="68076" y="73630"/>
                    <a:pt x="66648" y="72775"/>
                    <a:pt x="65284" y="72010"/>
                  </a:cubicBezTo>
                  <a:cubicBezTo>
                    <a:pt x="63587" y="71062"/>
                    <a:pt x="61827" y="70193"/>
                    <a:pt x="60038" y="69353"/>
                  </a:cubicBezTo>
                  <a:cubicBezTo>
                    <a:pt x="59594" y="68721"/>
                    <a:pt x="59142" y="68101"/>
                    <a:pt x="58690" y="67497"/>
                  </a:cubicBezTo>
                  <a:close/>
                  <a:moveTo>
                    <a:pt x="30729" y="77800"/>
                  </a:moveTo>
                  <a:cubicBezTo>
                    <a:pt x="34134" y="80208"/>
                    <a:pt x="37656" y="82513"/>
                    <a:pt x="41240" y="84742"/>
                  </a:cubicBezTo>
                  <a:cubicBezTo>
                    <a:pt x="37235" y="83349"/>
                    <a:pt x="33743" y="80681"/>
                    <a:pt x="30729" y="77800"/>
                  </a:cubicBezTo>
                  <a:close/>
                  <a:moveTo>
                    <a:pt x="50300" y="1"/>
                  </a:moveTo>
                  <a:cubicBezTo>
                    <a:pt x="47687" y="1"/>
                    <a:pt x="45246" y="557"/>
                    <a:pt x="43441" y="2138"/>
                  </a:cubicBezTo>
                  <a:cubicBezTo>
                    <a:pt x="40832" y="4418"/>
                    <a:pt x="41004" y="6967"/>
                    <a:pt x="42425" y="9319"/>
                  </a:cubicBezTo>
                  <a:cubicBezTo>
                    <a:pt x="39384" y="7820"/>
                    <a:pt x="36391" y="6263"/>
                    <a:pt x="33506" y="4590"/>
                  </a:cubicBezTo>
                  <a:cubicBezTo>
                    <a:pt x="32866" y="4218"/>
                    <a:pt x="32222" y="4058"/>
                    <a:pt x="31614" y="4058"/>
                  </a:cubicBezTo>
                  <a:cubicBezTo>
                    <a:pt x="28862" y="4058"/>
                    <a:pt x="26849" y="7367"/>
                    <a:pt x="29065" y="9364"/>
                  </a:cubicBezTo>
                  <a:cubicBezTo>
                    <a:pt x="30686" y="10824"/>
                    <a:pt x="32394" y="12172"/>
                    <a:pt x="34162" y="13445"/>
                  </a:cubicBezTo>
                  <a:cubicBezTo>
                    <a:pt x="32682" y="14130"/>
                    <a:pt x="32122" y="15482"/>
                    <a:pt x="32394" y="16918"/>
                  </a:cubicBezTo>
                  <a:cubicBezTo>
                    <a:pt x="32410" y="17002"/>
                    <a:pt x="32439" y="17082"/>
                    <a:pt x="32454" y="17166"/>
                  </a:cubicBezTo>
                  <a:cubicBezTo>
                    <a:pt x="31482" y="16970"/>
                    <a:pt x="30498" y="16854"/>
                    <a:pt x="29510" y="16854"/>
                  </a:cubicBezTo>
                  <a:cubicBezTo>
                    <a:pt x="29438" y="16854"/>
                    <a:pt x="29366" y="16854"/>
                    <a:pt x="29294" y="16858"/>
                  </a:cubicBezTo>
                  <a:cubicBezTo>
                    <a:pt x="25996" y="16914"/>
                    <a:pt x="23900" y="18715"/>
                    <a:pt x="23032" y="20975"/>
                  </a:cubicBezTo>
                  <a:cubicBezTo>
                    <a:pt x="22347" y="21391"/>
                    <a:pt x="21855" y="21995"/>
                    <a:pt x="21747" y="22736"/>
                  </a:cubicBezTo>
                  <a:cubicBezTo>
                    <a:pt x="21095" y="22643"/>
                    <a:pt x="20443" y="22595"/>
                    <a:pt x="19795" y="22591"/>
                  </a:cubicBezTo>
                  <a:cubicBezTo>
                    <a:pt x="17458" y="22591"/>
                    <a:pt x="15154" y="23244"/>
                    <a:pt x="12988" y="24833"/>
                  </a:cubicBezTo>
                  <a:cubicBezTo>
                    <a:pt x="11472" y="25945"/>
                    <a:pt x="10668" y="27297"/>
                    <a:pt x="10380" y="28781"/>
                  </a:cubicBezTo>
                  <a:cubicBezTo>
                    <a:pt x="7627" y="29210"/>
                    <a:pt x="5226" y="30518"/>
                    <a:pt x="3690" y="33182"/>
                  </a:cubicBezTo>
                  <a:cubicBezTo>
                    <a:pt x="0" y="39588"/>
                    <a:pt x="2541" y="47491"/>
                    <a:pt x="6759" y="54305"/>
                  </a:cubicBezTo>
                  <a:cubicBezTo>
                    <a:pt x="5222" y="54873"/>
                    <a:pt x="4118" y="56369"/>
                    <a:pt x="4711" y="57758"/>
                  </a:cubicBezTo>
                  <a:cubicBezTo>
                    <a:pt x="7111" y="63375"/>
                    <a:pt x="13573" y="67237"/>
                    <a:pt x="19562" y="70585"/>
                  </a:cubicBezTo>
                  <a:cubicBezTo>
                    <a:pt x="20967" y="72446"/>
                    <a:pt x="22456" y="74247"/>
                    <a:pt x="23952" y="75963"/>
                  </a:cubicBezTo>
                  <a:cubicBezTo>
                    <a:pt x="28561" y="81249"/>
                    <a:pt x="34843" y="87395"/>
                    <a:pt x="42877" y="88943"/>
                  </a:cubicBezTo>
                  <a:cubicBezTo>
                    <a:pt x="43045" y="88975"/>
                    <a:pt x="43221" y="88991"/>
                    <a:pt x="43397" y="88991"/>
                  </a:cubicBezTo>
                  <a:cubicBezTo>
                    <a:pt x="44354" y="88991"/>
                    <a:pt x="45322" y="88518"/>
                    <a:pt x="45538" y="87687"/>
                  </a:cubicBezTo>
                  <a:cubicBezTo>
                    <a:pt x="45562" y="87595"/>
                    <a:pt x="45570" y="87499"/>
                    <a:pt x="45589" y="87406"/>
                  </a:cubicBezTo>
                  <a:cubicBezTo>
                    <a:pt x="47862" y="88775"/>
                    <a:pt x="50143" y="90127"/>
                    <a:pt x="52428" y="91464"/>
                  </a:cubicBezTo>
                  <a:cubicBezTo>
                    <a:pt x="52980" y="91792"/>
                    <a:pt x="53556" y="91932"/>
                    <a:pt x="54117" y="91932"/>
                  </a:cubicBezTo>
                  <a:cubicBezTo>
                    <a:pt x="55657" y="91932"/>
                    <a:pt x="57065" y="90856"/>
                    <a:pt x="57513" y="89611"/>
                  </a:cubicBezTo>
                  <a:cubicBezTo>
                    <a:pt x="58854" y="89940"/>
                    <a:pt x="60242" y="90147"/>
                    <a:pt x="61679" y="90204"/>
                  </a:cubicBezTo>
                  <a:cubicBezTo>
                    <a:pt x="61718" y="90204"/>
                    <a:pt x="61759" y="90208"/>
                    <a:pt x="61799" y="90208"/>
                  </a:cubicBezTo>
                  <a:cubicBezTo>
                    <a:pt x="62939" y="90208"/>
                    <a:pt x="64307" y="89587"/>
                    <a:pt x="64795" y="88723"/>
                  </a:cubicBezTo>
                  <a:cubicBezTo>
                    <a:pt x="64959" y="88435"/>
                    <a:pt x="65099" y="88143"/>
                    <a:pt x="65232" y="87846"/>
                  </a:cubicBezTo>
                  <a:cubicBezTo>
                    <a:pt x="69225" y="89599"/>
                    <a:pt x="73402" y="91015"/>
                    <a:pt x="77895" y="91800"/>
                  </a:cubicBezTo>
                  <a:cubicBezTo>
                    <a:pt x="78135" y="91844"/>
                    <a:pt x="78375" y="91864"/>
                    <a:pt x="78615" y="91864"/>
                  </a:cubicBezTo>
                  <a:cubicBezTo>
                    <a:pt x="80928" y="91864"/>
                    <a:pt x="83093" y="90007"/>
                    <a:pt x="82233" y="88115"/>
                  </a:cubicBezTo>
                  <a:lnTo>
                    <a:pt x="82233" y="88115"/>
                  </a:lnTo>
                  <a:cubicBezTo>
                    <a:pt x="86297" y="89748"/>
                    <a:pt x="90527" y="90887"/>
                    <a:pt x="94912" y="91048"/>
                  </a:cubicBezTo>
                  <a:cubicBezTo>
                    <a:pt x="94960" y="91048"/>
                    <a:pt x="95008" y="91052"/>
                    <a:pt x="95056" y="91052"/>
                  </a:cubicBezTo>
                  <a:cubicBezTo>
                    <a:pt x="97985" y="91052"/>
                    <a:pt x="99697" y="87678"/>
                    <a:pt x="97425" y="86014"/>
                  </a:cubicBezTo>
                  <a:cubicBezTo>
                    <a:pt x="95289" y="84450"/>
                    <a:pt x="93123" y="82909"/>
                    <a:pt x="90947" y="81381"/>
                  </a:cubicBezTo>
                  <a:cubicBezTo>
                    <a:pt x="93392" y="81273"/>
                    <a:pt x="95080" y="78456"/>
                    <a:pt x="93684" y="76716"/>
                  </a:cubicBezTo>
                  <a:lnTo>
                    <a:pt x="93684" y="76716"/>
                  </a:lnTo>
                  <a:cubicBezTo>
                    <a:pt x="94824" y="77059"/>
                    <a:pt x="95980" y="77379"/>
                    <a:pt x="97165" y="77667"/>
                  </a:cubicBezTo>
                  <a:cubicBezTo>
                    <a:pt x="97444" y="77732"/>
                    <a:pt x="97732" y="77763"/>
                    <a:pt x="98020" y="77763"/>
                  </a:cubicBezTo>
                  <a:cubicBezTo>
                    <a:pt x="100249" y="77763"/>
                    <a:pt x="102582" y="75896"/>
                    <a:pt x="101626" y="73966"/>
                  </a:cubicBezTo>
                  <a:cubicBezTo>
                    <a:pt x="99845" y="70374"/>
                    <a:pt x="97464" y="67148"/>
                    <a:pt x="94720" y="64151"/>
                  </a:cubicBezTo>
                  <a:lnTo>
                    <a:pt x="94720" y="64151"/>
                  </a:lnTo>
                  <a:cubicBezTo>
                    <a:pt x="95841" y="64312"/>
                    <a:pt x="96973" y="64432"/>
                    <a:pt x="98129" y="64476"/>
                  </a:cubicBezTo>
                  <a:lnTo>
                    <a:pt x="98277" y="64476"/>
                  </a:lnTo>
                  <a:cubicBezTo>
                    <a:pt x="100277" y="64476"/>
                    <a:pt x="101694" y="62995"/>
                    <a:pt x="101794" y="61435"/>
                  </a:cubicBezTo>
                  <a:cubicBezTo>
                    <a:pt x="101798" y="61407"/>
                    <a:pt x="101794" y="61383"/>
                    <a:pt x="101798" y="61359"/>
                  </a:cubicBezTo>
                  <a:cubicBezTo>
                    <a:pt x="103911" y="60707"/>
                    <a:pt x="105659" y="59434"/>
                    <a:pt x="106548" y="57285"/>
                  </a:cubicBezTo>
                  <a:cubicBezTo>
                    <a:pt x="109000" y="51364"/>
                    <a:pt x="104955" y="45071"/>
                    <a:pt x="100469" y="40009"/>
                  </a:cubicBezTo>
                  <a:cubicBezTo>
                    <a:pt x="99994" y="39173"/>
                    <a:pt x="99422" y="38373"/>
                    <a:pt x="98761" y="37612"/>
                  </a:cubicBezTo>
                  <a:lnTo>
                    <a:pt x="98761" y="37612"/>
                  </a:lnTo>
                  <a:cubicBezTo>
                    <a:pt x="99954" y="37744"/>
                    <a:pt x="101174" y="37828"/>
                    <a:pt x="102419" y="37856"/>
                  </a:cubicBezTo>
                  <a:cubicBezTo>
                    <a:pt x="102450" y="37856"/>
                    <a:pt x="102478" y="37860"/>
                    <a:pt x="102510" y="37860"/>
                  </a:cubicBezTo>
                  <a:cubicBezTo>
                    <a:pt x="104327" y="37860"/>
                    <a:pt x="105863" y="36608"/>
                    <a:pt x="106119" y="35175"/>
                  </a:cubicBezTo>
                  <a:cubicBezTo>
                    <a:pt x="108752" y="33999"/>
                    <a:pt x="110792" y="31699"/>
                    <a:pt x="110400" y="29210"/>
                  </a:cubicBezTo>
                  <a:cubicBezTo>
                    <a:pt x="109824" y="25540"/>
                    <a:pt x="106020" y="22864"/>
                    <a:pt x="102755" y="20667"/>
                  </a:cubicBezTo>
                  <a:cubicBezTo>
                    <a:pt x="97269" y="16970"/>
                    <a:pt x="91327" y="13781"/>
                    <a:pt x="85081" y="11068"/>
                  </a:cubicBezTo>
                  <a:cubicBezTo>
                    <a:pt x="77523" y="7783"/>
                    <a:pt x="69817" y="4678"/>
                    <a:pt x="61794" y="2246"/>
                  </a:cubicBezTo>
                  <a:cubicBezTo>
                    <a:pt x="58666" y="1293"/>
                    <a:pt x="54280" y="1"/>
                    <a:pt x="50300" y="1"/>
                  </a:cubicBezTo>
                  <a:close/>
                </a:path>
              </a:pathLst>
            </a:custGeom>
            <a:solidFill>
              <a:srgbClr val="FFFFFF">
                <a:alpha val="803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335" name="Google Shape;335;p16"/>
          <p:cNvGrpSpPr/>
          <p:nvPr/>
        </p:nvGrpSpPr>
        <p:grpSpPr>
          <a:xfrm>
            <a:off x="2582036" y="4378717"/>
            <a:ext cx="2963933" cy="1673367"/>
            <a:chOff x="2256903" y="816487"/>
            <a:chExt cx="4630180" cy="3653639"/>
          </a:xfrm>
        </p:grpSpPr>
        <p:sp>
          <p:nvSpPr>
            <p:cNvPr id="336" name="Google Shape;336;p16"/>
            <p:cNvSpPr/>
            <p:nvPr/>
          </p:nvSpPr>
          <p:spPr>
            <a:xfrm>
              <a:off x="2256903" y="816487"/>
              <a:ext cx="4630180" cy="3653639"/>
            </a:xfrm>
            <a:custGeom>
              <a:avLst/>
              <a:gdLst/>
              <a:ahLst/>
              <a:cxnLst/>
              <a:rect l="l" t="t" r="r" b="b"/>
              <a:pathLst>
                <a:path w="90191" h="71169" extrusionOk="0">
                  <a:moveTo>
                    <a:pt x="51262" y="4765"/>
                  </a:moveTo>
                  <a:cubicBezTo>
                    <a:pt x="51543" y="4765"/>
                    <a:pt x="51822" y="4770"/>
                    <a:pt x="52107" y="4781"/>
                  </a:cubicBezTo>
                  <a:cubicBezTo>
                    <a:pt x="53975" y="4833"/>
                    <a:pt x="54987" y="5361"/>
                    <a:pt x="55432" y="6154"/>
                  </a:cubicBezTo>
                  <a:cubicBezTo>
                    <a:pt x="51794" y="7210"/>
                    <a:pt x="48217" y="9267"/>
                    <a:pt x="46121" y="10663"/>
                  </a:cubicBezTo>
                  <a:cubicBezTo>
                    <a:pt x="46025" y="10731"/>
                    <a:pt x="45925" y="10799"/>
                    <a:pt x="45825" y="10863"/>
                  </a:cubicBezTo>
                  <a:cubicBezTo>
                    <a:pt x="45553" y="10363"/>
                    <a:pt x="45052" y="9947"/>
                    <a:pt x="44389" y="9719"/>
                  </a:cubicBezTo>
                  <a:cubicBezTo>
                    <a:pt x="46153" y="8262"/>
                    <a:pt x="44493" y="6181"/>
                    <a:pt x="42360" y="6181"/>
                  </a:cubicBezTo>
                  <a:cubicBezTo>
                    <a:pt x="42252" y="6181"/>
                    <a:pt x="42140" y="6190"/>
                    <a:pt x="42032" y="6198"/>
                  </a:cubicBezTo>
                  <a:cubicBezTo>
                    <a:pt x="44973" y="5302"/>
                    <a:pt x="48058" y="4765"/>
                    <a:pt x="51262" y="4765"/>
                  </a:cubicBezTo>
                  <a:close/>
                  <a:moveTo>
                    <a:pt x="53559" y="12371"/>
                  </a:moveTo>
                  <a:lnTo>
                    <a:pt x="53559" y="12371"/>
                  </a:lnTo>
                  <a:cubicBezTo>
                    <a:pt x="53323" y="12716"/>
                    <a:pt x="53087" y="13044"/>
                    <a:pt x="52859" y="13348"/>
                  </a:cubicBezTo>
                  <a:cubicBezTo>
                    <a:pt x="52583" y="13296"/>
                    <a:pt x="52315" y="13252"/>
                    <a:pt x="52038" y="13216"/>
                  </a:cubicBezTo>
                  <a:cubicBezTo>
                    <a:pt x="52551" y="12916"/>
                    <a:pt x="53059" y="12632"/>
                    <a:pt x="53559" y="12371"/>
                  </a:cubicBezTo>
                  <a:close/>
                  <a:moveTo>
                    <a:pt x="60457" y="10499"/>
                  </a:moveTo>
                  <a:cubicBezTo>
                    <a:pt x="60693" y="10607"/>
                    <a:pt x="60869" y="10772"/>
                    <a:pt x="60978" y="10999"/>
                  </a:cubicBezTo>
                  <a:cubicBezTo>
                    <a:pt x="61593" y="12308"/>
                    <a:pt x="60645" y="13856"/>
                    <a:pt x="59453" y="15213"/>
                  </a:cubicBezTo>
                  <a:cubicBezTo>
                    <a:pt x="58601" y="15592"/>
                    <a:pt x="57772" y="16017"/>
                    <a:pt x="56965" y="16465"/>
                  </a:cubicBezTo>
                  <a:cubicBezTo>
                    <a:pt x="57004" y="16417"/>
                    <a:pt x="57044" y="16369"/>
                    <a:pt x="57080" y="16325"/>
                  </a:cubicBezTo>
                  <a:cubicBezTo>
                    <a:pt x="58365" y="14737"/>
                    <a:pt x="59685" y="12648"/>
                    <a:pt x="60457" y="10499"/>
                  </a:cubicBezTo>
                  <a:close/>
                  <a:moveTo>
                    <a:pt x="48430" y="17945"/>
                  </a:moveTo>
                  <a:lnTo>
                    <a:pt x="48430" y="17945"/>
                  </a:lnTo>
                  <a:cubicBezTo>
                    <a:pt x="47685" y="18670"/>
                    <a:pt x="46889" y="19346"/>
                    <a:pt x="46041" y="19985"/>
                  </a:cubicBezTo>
                  <a:cubicBezTo>
                    <a:pt x="45949" y="19542"/>
                    <a:pt x="45721" y="19121"/>
                    <a:pt x="45397" y="18766"/>
                  </a:cubicBezTo>
                  <a:cubicBezTo>
                    <a:pt x="46389" y="18382"/>
                    <a:pt x="47405" y="18098"/>
                    <a:pt x="48430" y="17945"/>
                  </a:cubicBezTo>
                  <a:close/>
                  <a:moveTo>
                    <a:pt x="14204" y="18897"/>
                  </a:moveTo>
                  <a:lnTo>
                    <a:pt x="14204" y="18897"/>
                  </a:lnTo>
                  <a:cubicBezTo>
                    <a:pt x="11908" y="21130"/>
                    <a:pt x="9710" y="23439"/>
                    <a:pt x="7582" y="25787"/>
                  </a:cubicBezTo>
                  <a:cubicBezTo>
                    <a:pt x="8911" y="23163"/>
                    <a:pt x="11455" y="20874"/>
                    <a:pt x="14204" y="18897"/>
                  </a:cubicBezTo>
                  <a:close/>
                  <a:moveTo>
                    <a:pt x="35198" y="24947"/>
                  </a:moveTo>
                  <a:cubicBezTo>
                    <a:pt x="35198" y="25015"/>
                    <a:pt x="35202" y="25084"/>
                    <a:pt x="35206" y="25152"/>
                  </a:cubicBezTo>
                  <a:cubicBezTo>
                    <a:pt x="34670" y="25728"/>
                    <a:pt x="34138" y="26304"/>
                    <a:pt x="33606" y="26880"/>
                  </a:cubicBezTo>
                  <a:cubicBezTo>
                    <a:pt x="32177" y="27564"/>
                    <a:pt x="30768" y="28253"/>
                    <a:pt x="29412" y="28960"/>
                  </a:cubicBezTo>
                  <a:cubicBezTo>
                    <a:pt x="31313" y="27600"/>
                    <a:pt x="33257" y="26275"/>
                    <a:pt x="35198" y="24947"/>
                  </a:cubicBezTo>
                  <a:close/>
                  <a:moveTo>
                    <a:pt x="82050" y="30753"/>
                  </a:moveTo>
                  <a:cubicBezTo>
                    <a:pt x="83182" y="32002"/>
                    <a:pt x="81618" y="35483"/>
                    <a:pt x="80535" y="37715"/>
                  </a:cubicBezTo>
                  <a:cubicBezTo>
                    <a:pt x="80363" y="37691"/>
                    <a:pt x="80191" y="37683"/>
                    <a:pt x="80015" y="37679"/>
                  </a:cubicBezTo>
                  <a:cubicBezTo>
                    <a:pt x="80631" y="36171"/>
                    <a:pt x="81051" y="34635"/>
                    <a:pt x="81103" y="33122"/>
                  </a:cubicBezTo>
                  <a:cubicBezTo>
                    <a:pt x="81243" y="32969"/>
                    <a:pt x="81383" y="32829"/>
                    <a:pt x="81519" y="32677"/>
                  </a:cubicBezTo>
                  <a:cubicBezTo>
                    <a:pt x="81984" y="32162"/>
                    <a:pt x="82100" y="31625"/>
                    <a:pt x="81995" y="31133"/>
                  </a:cubicBezTo>
                  <a:cubicBezTo>
                    <a:pt x="82113" y="30996"/>
                    <a:pt x="82150" y="30866"/>
                    <a:pt x="82050" y="30753"/>
                  </a:cubicBezTo>
                  <a:close/>
                  <a:moveTo>
                    <a:pt x="24039" y="37231"/>
                  </a:moveTo>
                  <a:lnTo>
                    <a:pt x="24039" y="37231"/>
                  </a:lnTo>
                  <a:cubicBezTo>
                    <a:pt x="21838" y="39604"/>
                    <a:pt x="19629" y="41972"/>
                    <a:pt x="17396" y="44321"/>
                  </a:cubicBezTo>
                  <a:cubicBezTo>
                    <a:pt x="17372" y="44333"/>
                    <a:pt x="17353" y="44341"/>
                    <a:pt x="17329" y="44353"/>
                  </a:cubicBezTo>
                  <a:lnTo>
                    <a:pt x="17329" y="44353"/>
                  </a:lnTo>
                  <a:cubicBezTo>
                    <a:pt x="18181" y="43385"/>
                    <a:pt x="19001" y="42448"/>
                    <a:pt x="19730" y="41552"/>
                  </a:cubicBezTo>
                  <a:cubicBezTo>
                    <a:pt x="20634" y="40444"/>
                    <a:pt x="21462" y="39287"/>
                    <a:pt x="22262" y="38116"/>
                  </a:cubicBezTo>
                  <a:cubicBezTo>
                    <a:pt x="22866" y="37823"/>
                    <a:pt x="23459" y="37527"/>
                    <a:pt x="24039" y="37231"/>
                  </a:cubicBezTo>
                  <a:close/>
                  <a:moveTo>
                    <a:pt x="47909" y="45757"/>
                  </a:moveTo>
                  <a:lnTo>
                    <a:pt x="47909" y="45757"/>
                  </a:lnTo>
                  <a:cubicBezTo>
                    <a:pt x="47757" y="46286"/>
                    <a:pt x="47613" y="46818"/>
                    <a:pt x="47486" y="47350"/>
                  </a:cubicBezTo>
                  <a:cubicBezTo>
                    <a:pt x="45705" y="49346"/>
                    <a:pt x="43813" y="51271"/>
                    <a:pt x="41816" y="53144"/>
                  </a:cubicBezTo>
                  <a:cubicBezTo>
                    <a:pt x="41844" y="52991"/>
                    <a:pt x="41868" y="52843"/>
                    <a:pt x="41896" y="52695"/>
                  </a:cubicBezTo>
                  <a:cubicBezTo>
                    <a:pt x="41988" y="52195"/>
                    <a:pt x="42108" y="51703"/>
                    <a:pt x="42228" y="51207"/>
                  </a:cubicBezTo>
                  <a:cubicBezTo>
                    <a:pt x="42801" y="50491"/>
                    <a:pt x="43377" y="49778"/>
                    <a:pt x="43961" y="49067"/>
                  </a:cubicBezTo>
                  <a:cubicBezTo>
                    <a:pt x="45292" y="47974"/>
                    <a:pt x="46609" y="46873"/>
                    <a:pt x="47909" y="45757"/>
                  </a:cubicBezTo>
                  <a:close/>
                  <a:moveTo>
                    <a:pt x="42628" y="36615"/>
                  </a:moveTo>
                  <a:lnTo>
                    <a:pt x="42628" y="36615"/>
                  </a:lnTo>
                  <a:cubicBezTo>
                    <a:pt x="42092" y="37539"/>
                    <a:pt x="41576" y="38483"/>
                    <a:pt x="41072" y="39440"/>
                  </a:cubicBezTo>
                  <a:cubicBezTo>
                    <a:pt x="38243" y="42389"/>
                    <a:pt x="35550" y="45409"/>
                    <a:pt x="33054" y="48386"/>
                  </a:cubicBezTo>
                  <a:cubicBezTo>
                    <a:pt x="32457" y="49094"/>
                    <a:pt x="31549" y="50295"/>
                    <a:pt x="30624" y="51719"/>
                  </a:cubicBezTo>
                  <a:cubicBezTo>
                    <a:pt x="29200" y="52808"/>
                    <a:pt x="27560" y="53999"/>
                    <a:pt x="25708" y="54564"/>
                  </a:cubicBezTo>
                  <a:cubicBezTo>
                    <a:pt x="25887" y="53667"/>
                    <a:pt x="26260" y="52788"/>
                    <a:pt x="26727" y="51927"/>
                  </a:cubicBezTo>
                  <a:cubicBezTo>
                    <a:pt x="30284" y="47514"/>
                    <a:pt x="34550" y="43436"/>
                    <a:pt x="38747" y="39324"/>
                  </a:cubicBezTo>
                  <a:cubicBezTo>
                    <a:pt x="40083" y="38479"/>
                    <a:pt x="41372" y="37571"/>
                    <a:pt x="42628" y="36615"/>
                  </a:cubicBezTo>
                  <a:close/>
                  <a:moveTo>
                    <a:pt x="64182" y="53560"/>
                  </a:moveTo>
                  <a:lnTo>
                    <a:pt x="64182" y="53560"/>
                  </a:lnTo>
                  <a:cubicBezTo>
                    <a:pt x="63086" y="55377"/>
                    <a:pt x="61750" y="57681"/>
                    <a:pt x="60065" y="59650"/>
                  </a:cubicBezTo>
                  <a:cubicBezTo>
                    <a:pt x="60278" y="58717"/>
                    <a:pt x="60553" y="57777"/>
                    <a:pt x="60885" y="56836"/>
                  </a:cubicBezTo>
                  <a:cubicBezTo>
                    <a:pt x="60954" y="56708"/>
                    <a:pt x="61026" y="56581"/>
                    <a:pt x="61098" y="56452"/>
                  </a:cubicBezTo>
                  <a:cubicBezTo>
                    <a:pt x="62141" y="55504"/>
                    <a:pt x="63170" y="54536"/>
                    <a:pt x="64182" y="53560"/>
                  </a:cubicBezTo>
                  <a:close/>
                  <a:moveTo>
                    <a:pt x="72865" y="51691"/>
                  </a:moveTo>
                  <a:cubicBezTo>
                    <a:pt x="71520" y="53840"/>
                    <a:pt x="70128" y="55876"/>
                    <a:pt x="68499" y="57901"/>
                  </a:cubicBezTo>
                  <a:cubicBezTo>
                    <a:pt x="67219" y="59497"/>
                    <a:pt x="65931" y="61085"/>
                    <a:pt x="64518" y="62598"/>
                  </a:cubicBezTo>
                  <a:cubicBezTo>
                    <a:pt x="65811" y="61118"/>
                    <a:pt x="66939" y="59521"/>
                    <a:pt x="67971" y="58012"/>
                  </a:cubicBezTo>
                  <a:cubicBezTo>
                    <a:pt x="69323" y="56044"/>
                    <a:pt x="70560" y="54020"/>
                    <a:pt x="71768" y="51983"/>
                  </a:cubicBezTo>
                  <a:cubicBezTo>
                    <a:pt x="72148" y="51903"/>
                    <a:pt x="72509" y="51803"/>
                    <a:pt x="72865" y="51691"/>
                  </a:cubicBezTo>
                  <a:close/>
                  <a:moveTo>
                    <a:pt x="40544" y="62790"/>
                  </a:moveTo>
                  <a:lnTo>
                    <a:pt x="40544" y="62790"/>
                  </a:lnTo>
                  <a:cubicBezTo>
                    <a:pt x="40515" y="63059"/>
                    <a:pt x="40544" y="63323"/>
                    <a:pt x="40616" y="63578"/>
                  </a:cubicBezTo>
                  <a:cubicBezTo>
                    <a:pt x="39656" y="63839"/>
                    <a:pt x="38687" y="64010"/>
                    <a:pt x="37715" y="64067"/>
                  </a:cubicBezTo>
                  <a:cubicBezTo>
                    <a:pt x="38675" y="63694"/>
                    <a:pt x="39619" y="63266"/>
                    <a:pt x="40544" y="62790"/>
                  </a:cubicBezTo>
                  <a:close/>
                  <a:moveTo>
                    <a:pt x="50186" y="0"/>
                  </a:moveTo>
                  <a:cubicBezTo>
                    <a:pt x="45685" y="0"/>
                    <a:pt x="40923" y="1348"/>
                    <a:pt x="36618" y="3181"/>
                  </a:cubicBezTo>
                  <a:cubicBezTo>
                    <a:pt x="36178" y="2361"/>
                    <a:pt x="35154" y="1729"/>
                    <a:pt x="34077" y="1729"/>
                  </a:cubicBezTo>
                  <a:cubicBezTo>
                    <a:pt x="33826" y="1729"/>
                    <a:pt x="33573" y="1764"/>
                    <a:pt x="33325" y="1836"/>
                  </a:cubicBezTo>
                  <a:cubicBezTo>
                    <a:pt x="27968" y="3409"/>
                    <a:pt x="24286" y="7651"/>
                    <a:pt x="21090" y="11575"/>
                  </a:cubicBezTo>
                  <a:cubicBezTo>
                    <a:pt x="19313" y="12495"/>
                    <a:pt x="17597" y="13472"/>
                    <a:pt x="15956" y="14456"/>
                  </a:cubicBezTo>
                  <a:cubicBezTo>
                    <a:pt x="10915" y="17477"/>
                    <a:pt x="5053" y="21594"/>
                    <a:pt x="3577" y="26860"/>
                  </a:cubicBezTo>
                  <a:cubicBezTo>
                    <a:pt x="3376" y="27580"/>
                    <a:pt x="3833" y="28441"/>
                    <a:pt x="4774" y="28609"/>
                  </a:cubicBezTo>
                  <a:cubicBezTo>
                    <a:pt x="4861" y="28624"/>
                    <a:pt x="4953" y="28628"/>
                    <a:pt x="5042" y="28640"/>
                  </a:cubicBezTo>
                  <a:cubicBezTo>
                    <a:pt x="3733" y="30133"/>
                    <a:pt x="2445" y="31629"/>
                    <a:pt x="1168" y="33126"/>
                  </a:cubicBezTo>
                  <a:cubicBezTo>
                    <a:pt x="0" y="34490"/>
                    <a:pt x="1320" y="36059"/>
                    <a:pt x="2937" y="36459"/>
                  </a:cubicBezTo>
                  <a:cubicBezTo>
                    <a:pt x="2625" y="37339"/>
                    <a:pt x="2429" y="38247"/>
                    <a:pt x="2373" y="39191"/>
                  </a:cubicBezTo>
                  <a:cubicBezTo>
                    <a:pt x="2329" y="39955"/>
                    <a:pt x="2933" y="40904"/>
                    <a:pt x="3789" y="41236"/>
                  </a:cubicBezTo>
                  <a:cubicBezTo>
                    <a:pt x="4061" y="41340"/>
                    <a:pt x="4342" y="41436"/>
                    <a:pt x="4621" y="41520"/>
                  </a:cubicBezTo>
                  <a:cubicBezTo>
                    <a:pt x="2949" y="44141"/>
                    <a:pt x="1600" y="46878"/>
                    <a:pt x="848" y="49826"/>
                  </a:cubicBezTo>
                  <a:cubicBezTo>
                    <a:pt x="484" y="51263"/>
                    <a:pt x="1876" y="52795"/>
                    <a:pt x="3544" y="52795"/>
                  </a:cubicBezTo>
                  <a:cubicBezTo>
                    <a:pt x="3813" y="52795"/>
                    <a:pt x="4089" y="52755"/>
                    <a:pt x="4366" y="52668"/>
                  </a:cubicBezTo>
                  <a:lnTo>
                    <a:pt x="4366" y="52668"/>
                  </a:lnTo>
                  <a:cubicBezTo>
                    <a:pt x="2809" y="55332"/>
                    <a:pt x="1720" y="58105"/>
                    <a:pt x="1568" y="60982"/>
                  </a:cubicBezTo>
                  <a:cubicBezTo>
                    <a:pt x="1496" y="62334"/>
                    <a:pt x="3016" y="63318"/>
                    <a:pt x="4497" y="63318"/>
                  </a:cubicBezTo>
                  <a:cubicBezTo>
                    <a:pt x="5182" y="63318"/>
                    <a:pt x="5858" y="63107"/>
                    <a:pt x="6370" y="62630"/>
                  </a:cubicBezTo>
                  <a:cubicBezTo>
                    <a:pt x="7862" y="61229"/>
                    <a:pt x="9330" y="59809"/>
                    <a:pt x="10791" y="58381"/>
                  </a:cubicBezTo>
                  <a:cubicBezTo>
                    <a:pt x="10867" y="59585"/>
                    <a:pt x="12395" y="60505"/>
                    <a:pt x="13856" y="60505"/>
                  </a:cubicBezTo>
                  <a:cubicBezTo>
                    <a:pt x="14344" y="60505"/>
                    <a:pt x="14824" y="60406"/>
                    <a:pt x="15241" y="60173"/>
                  </a:cubicBezTo>
                  <a:lnTo>
                    <a:pt x="15241" y="60173"/>
                  </a:lnTo>
                  <a:cubicBezTo>
                    <a:pt x="14912" y="60926"/>
                    <a:pt x="14604" y="61682"/>
                    <a:pt x="14332" y="62459"/>
                  </a:cubicBezTo>
                  <a:cubicBezTo>
                    <a:pt x="13856" y="63827"/>
                    <a:pt x="15272" y="65527"/>
                    <a:pt x="17001" y="65527"/>
                  </a:cubicBezTo>
                  <a:cubicBezTo>
                    <a:pt x="17281" y="65527"/>
                    <a:pt x="17573" y="65483"/>
                    <a:pt x="17861" y="65383"/>
                  </a:cubicBezTo>
                  <a:cubicBezTo>
                    <a:pt x="21290" y="64215"/>
                    <a:pt x="24371" y="62654"/>
                    <a:pt x="27228" y="60858"/>
                  </a:cubicBezTo>
                  <a:lnTo>
                    <a:pt x="27228" y="60858"/>
                  </a:lnTo>
                  <a:cubicBezTo>
                    <a:pt x="27076" y="61590"/>
                    <a:pt x="26960" y="62334"/>
                    <a:pt x="26919" y="63090"/>
                  </a:cubicBezTo>
                  <a:cubicBezTo>
                    <a:pt x="26847" y="64455"/>
                    <a:pt x="28296" y="65427"/>
                    <a:pt x="29820" y="65495"/>
                  </a:cubicBezTo>
                  <a:lnTo>
                    <a:pt x="29893" y="65495"/>
                  </a:lnTo>
                  <a:cubicBezTo>
                    <a:pt x="30513" y="66884"/>
                    <a:pt x="31729" y="68028"/>
                    <a:pt x="33778" y="68612"/>
                  </a:cubicBezTo>
                  <a:cubicBezTo>
                    <a:pt x="34958" y="68948"/>
                    <a:pt x="36158" y="69096"/>
                    <a:pt x="37355" y="69096"/>
                  </a:cubicBezTo>
                  <a:cubicBezTo>
                    <a:pt x="41888" y="69096"/>
                    <a:pt x="46441" y="66952"/>
                    <a:pt x="50262" y="64627"/>
                  </a:cubicBezTo>
                  <a:cubicBezTo>
                    <a:pt x="51059" y="64315"/>
                    <a:pt x="51822" y="63938"/>
                    <a:pt x="52543" y="63506"/>
                  </a:cubicBezTo>
                  <a:lnTo>
                    <a:pt x="52543" y="63506"/>
                  </a:lnTo>
                  <a:cubicBezTo>
                    <a:pt x="52419" y="64287"/>
                    <a:pt x="52339" y="65087"/>
                    <a:pt x="52311" y="65903"/>
                  </a:cubicBezTo>
                  <a:cubicBezTo>
                    <a:pt x="52271" y="67120"/>
                    <a:pt x="53479" y="68160"/>
                    <a:pt x="54871" y="68328"/>
                  </a:cubicBezTo>
                  <a:cubicBezTo>
                    <a:pt x="55900" y="69912"/>
                    <a:pt x="57833" y="71168"/>
                    <a:pt x="59977" y="71168"/>
                  </a:cubicBezTo>
                  <a:cubicBezTo>
                    <a:pt x="60169" y="71168"/>
                    <a:pt x="60365" y="71157"/>
                    <a:pt x="60561" y="71137"/>
                  </a:cubicBezTo>
                  <a:cubicBezTo>
                    <a:pt x="64062" y="70760"/>
                    <a:pt x="66615" y="68263"/>
                    <a:pt x="68712" y="66123"/>
                  </a:cubicBezTo>
                  <a:cubicBezTo>
                    <a:pt x="72237" y="62526"/>
                    <a:pt x="75282" y="58629"/>
                    <a:pt x="77870" y="54536"/>
                  </a:cubicBezTo>
                  <a:cubicBezTo>
                    <a:pt x="81003" y="49582"/>
                    <a:pt x="83964" y="44525"/>
                    <a:pt x="86285" y="39268"/>
                  </a:cubicBezTo>
                  <a:cubicBezTo>
                    <a:pt x="87789" y="35867"/>
                    <a:pt x="90190" y="30217"/>
                    <a:pt x="86388" y="27232"/>
                  </a:cubicBezTo>
                  <a:cubicBezTo>
                    <a:pt x="85184" y="26288"/>
                    <a:pt x="83904" y="25900"/>
                    <a:pt x="82615" y="25900"/>
                  </a:cubicBezTo>
                  <a:cubicBezTo>
                    <a:pt x="81579" y="25900"/>
                    <a:pt x="80539" y="26151"/>
                    <a:pt x="79539" y="26568"/>
                  </a:cubicBezTo>
                  <a:cubicBezTo>
                    <a:pt x="80971" y="24576"/>
                    <a:pt x="82451" y="22611"/>
                    <a:pt x="84048" y="20722"/>
                  </a:cubicBezTo>
                  <a:cubicBezTo>
                    <a:pt x="85533" y="18962"/>
                    <a:pt x="83504" y="17185"/>
                    <a:pt x="81419" y="17185"/>
                  </a:cubicBezTo>
                  <a:cubicBezTo>
                    <a:pt x="80743" y="17185"/>
                    <a:pt x="80063" y="17374"/>
                    <a:pt x="79495" y="17806"/>
                  </a:cubicBezTo>
                  <a:cubicBezTo>
                    <a:pt x="78102" y="18870"/>
                    <a:pt x="76818" y="19990"/>
                    <a:pt x="75602" y="21150"/>
                  </a:cubicBezTo>
                  <a:cubicBezTo>
                    <a:pt x="75057" y="20338"/>
                    <a:pt x="74061" y="19946"/>
                    <a:pt x="72948" y="19946"/>
                  </a:cubicBezTo>
                  <a:cubicBezTo>
                    <a:pt x="72732" y="19946"/>
                    <a:pt x="72512" y="19961"/>
                    <a:pt x="72292" y="19990"/>
                  </a:cubicBezTo>
                  <a:cubicBezTo>
                    <a:pt x="72213" y="20002"/>
                    <a:pt x="72132" y="20018"/>
                    <a:pt x="72052" y="20030"/>
                  </a:cubicBezTo>
                  <a:cubicBezTo>
                    <a:pt x="72252" y="19346"/>
                    <a:pt x="72364" y="18654"/>
                    <a:pt x="72348" y="17957"/>
                  </a:cubicBezTo>
                  <a:cubicBezTo>
                    <a:pt x="72292" y="15797"/>
                    <a:pt x="70576" y="14421"/>
                    <a:pt x="68416" y="13852"/>
                  </a:cubicBezTo>
                  <a:cubicBezTo>
                    <a:pt x="68023" y="13400"/>
                    <a:pt x="67447" y="13080"/>
                    <a:pt x="66735" y="13008"/>
                  </a:cubicBezTo>
                  <a:cubicBezTo>
                    <a:pt x="67147" y="11043"/>
                    <a:pt x="66675" y="9079"/>
                    <a:pt x="64738" y="7267"/>
                  </a:cubicBezTo>
                  <a:cubicBezTo>
                    <a:pt x="63678" y="6270"/>
                    <a:pt x="62385" y="5742"/>
                    <a:pt x="60974" y="5553"/>
                  </a:cubicBezTo>
                  <a:cubicBezTo>
                    <a:pt x="60561" y="3749"/>
                    <a:pt x="59312" y="2177"/>
                    <a:pt x="56773" y="1169"/>
                  </a:cubicBezTo>
                  <a:cubicBezTo>
                    <a:pt x="54708" y="353"/>
                    <a:pt x="52479" y="0"/>
                    <a:pt x="50186" y="0"/>
                  </a:cubicBezTo>
                  <a:close/>
                </a:path>
              </a:pathLst>
            </a:custGeom>
            <a:solidFill>
              <a:srgbClr val="FFFFFF">
                <a:alpha val="803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37" name="Google Shape;337;p16"/>
            <p:cNvSpPr/>
            <p:nvPr/>
          </p:nvSpPr>
          <p:spPr>
            <a:xfrm>
              <a:off x="2748611" y="1192720"/>
              <a:ext cx="3311049" cy="2747418"/>
            </a:xfrm>
            <a:custGeom>
              <a:avLst/>
              <a:gdLst/>
              <a:ahLst/>
              <a:cxnLst/>
              <a:rect l="l" t="t" r="r" b="b"/>
              <a:pathLst>
                <a:path w="110793" h="91933" extrusionOk="0">
                  <a:moveTo>
                    <a:pt x="50743" y="6275"/>
                  </a:moveTo>
                  <a:cubicBezTo>
                    <a:pt x="53200" y="6275"/>
                    <a:pt x="56857" y="7419"/>
                    <a:pt x="59430" y="8276"/>
                  </a:cubicBezTo>
                  <a:cubicBezTo>
                    <a:pt x="59393" y="8455"/>
                    <a:pt x="59374" y="8636"/>
                    <a:pt x="59374" y="8815"/>
                  </a:cubicBezTo>
                  <a:cubicBezTo>
                    <a:pt x="57073" y="8172"/>
                    <a:pt x="54732" y="7731"/>
                    <a:pt x="52420" y="7679"/>
                  </a:cubicBezTo>
                  <a:cubicBezTo>
                    <a:pt x="52191" y="7535"/>
                    <a:pt x="51975" y="7387"/>
                    <a:pt x="51744" y="7243"/>
                  </a:cubicBezTo>
                  <a:cubicBezTo>
                    <a:pt x="51131" y="6867"/>
                    <a:pt x="50503" y="6708"/>
                    <a:pt x="49899" y="6708"/>
                  </a:cubicBezTo>
                  <a:cubicBezTo>
                    <a:pt x="49727" y="6708"/>
                    <a:pt x="49555" y="6719"/>
                    <a:pt x="49387" y="6743"/>
                  </a:cubicBezTo>
                  <a:cubicBezTo>
                    <a:pt x="49259" y="6667"/>
                    <a:pt x="49139" y="6623"/>
                    <a:pt x="49022" y="6623"/>
                  </a:cubicBezTo>
                  <a:cubicBezTo>
                    <a:pt x="48943" y="6623"/>
                    <a:pt x="48867" y="6647"/>
                    <a:pt x="48795" y="6691"/>
                  </a:cubicBezTo>
                  <a:cubicBezTo>
                    <a:pt x="49263" y="6395"/>
                    <a:pt x="49940" y="6275"/>
                    <a:pt x="50743" y="6275"/>
                  </a:cubicBezTo>
                  <a:close/>
                  <a:moveTo>
                    <a:pt x="80740" y="16318"/>
                  </a:moveTo>
                  <a:lnTo>
                    <a:pt x="80740" y="16318"/>
                  </a:lnTo>
                  <a:cubicBezTo>
                    <a:pt x="84017" y="17727"/>
                    <a:pt x="87121" y="19182"/>
                    <a:pt x="90214" y="20887"/>
                  </a:cubicBezTo>
                  <a:cubicBezTo>
                    <a:pt x="92648" y="22231"/>
                    <a:pt x="95072" y="23584"/>
                    <a:pt x="97381" y="25064"/>
                  </a:cubicBezTo>
                  <a:cubicBezTo>
                    <a:pt x="95116" y="23708"/>
                    <a:pt x="92687" y="22528"/>
                    <a:pt x="90386" y="21443"/>
                  </a:cubicBezTo>
                  <a:cubicBezTo>
                    <a:pt x="87382" y="20027"/>
                    <a:pt x="84293" y="18730"/>
                    <a:pt x="81188" y="17466"/>
                  </a:cubicBezTo>
                  <a:cubicBezTo>
                    <a:pt x="81068" y="17066"/>
                    <a:pt x="80916" y="16686"/>
                    <a:pt x="80740" y="16318"/>
                  </a:cubicBezTo>
                  <a:close/>
                  <a:moveTo>
                    <a:pt x="83589" y="25417"/>
                  </a:moveTo>
                  <a:lnTo>
                    <a:pt x="83589" y="25417"/>
                  </a:lnTo>
                  <a:cubicBezTo>
                    <a:pt x="86362" y="26565"/>
                    <a:pt x="89878" y="27965"/>
                    <a:pt x="92883" y="29734"/>
                  </a:cubicBezTo>
                  <a:cubicBezTo>
                    <a:pt x="91459" y="29509"/>
                    <a:pt x="90022" y="29221"/>
                    <a:pt x="88591" y="28874"/>
                  </a:cubicBezTo>
                  <a:cubicBezTo>
                    <a:pt x="88399" y="28802"/>
                    <a:pt x="88202" y="28726"/>
                    <a:pt x="88006" y="28650"/>
                  </a:cubicBezTo>
                  <a:cubicBezTo>
                    <a:pt x="86554" y="27553"/>
                    <a:pt x="85081" y="26477"/>
                    <a:pt x="83589" y="25417"/>
                  </a:cubicBezTo>
                  <a:close/>
                  <a:moveTo>
                    <a:pt x="20022" y="28573"/>
                  </a:moveTo>
                  <a:cubicBezTo>
                    <a:pt x="21687" y="28573"/>
                    <a:pt x="23488" y="29394"/>
                    <a:pt x="25108" y="30374"/>
                  </a:cubicBezTo>
                  <a:cubicBezTo>
                    <a:pt x="25688" y="31262"/>
                    <a:pt x="26332" y="32135"/>
                    <a:pt x="27017" y="32979"/>
                  </a:cubicBezTo>
                  <a:cubicBezTo>
                    <a:pt x="26949" y="32942"/>
                    <a:pt x="26873" y="32899"/>
                    <a:pt x="26801" y="32859"/>
                  </a:cubicBezTo>
                  <a:cubicBezTo>
                    <a:pt x="24384" y="31514"/>
                    <a:pt x="21199" y="30130"/>
                    <a:pt x="17918" y="29322"/>
                  </a:cubicBezTo>
                  <a:cubicBezTo>
                    <a:pt x="18086" y="29073"/>
                    <a:pt x="18338" y="28885"/>
                    <a:pt x="18683" y="28774"/>
                  </a:cubicBezTo>
                  <a:cubicBezTo>
                    <a:pt x="19115" y="28634"/>
                    <a:pt x="19562" y="28573"/>
                    <a:pt x="20022" y="28573"/>
                  </a:cubicBezTo>
                  <a:close/>
                  <a:moveTo>
                    <a:pt x="20775" y="36552"/>
                  </a:moveTo>
                  <a:cubicBezTo>
                    <a:pt x="21299" y="36800"/>
                    <a:pt x="21799" y="37048"/>
                    <a:pt x="22263" y="37288"/>
                  </a:cubicBezTo>
                  <a:cubicBezTo>
                    <a:pt x="22183" y="37572"/>
                    <a:pt x="22119" y="37856"/>
                    <a:pt x="22063" y="38140"/>
                  </a:cubicBezTo>
                  <a:cubicBezTo>
                    <a:pt x="21603" y="37604"/>
                    <a:pt x="21175" y="37076"/>
                    <a:pt x="20775" y="36552"/>
                  </a:cubicBezTo>
                  <a:close/>
                  <a:moveTo>
                    <a:pt x="29277" y="41930"/>
                  </a:moveTo>
                  <a:lnTo>
                    <a:pt x="29277" y="41930"/>
                  </a:lnTo>
                  <a:cubicBezTo>
                    <a:pt x="30378" y="42705"/>
                    <a:pt x="31414" y="43542"/>
                    <a:pt x="32386" y="44430"/>
                  </a:cubicBezTo>
                  <a:cubicBezTo>
                    <a:pt x="31710" y="44526"/>
                    <a:pt x="31070" y="44766"/>
                    <a:pt x="30526" y="45106"/>
                  </a:cubicBezTo>
                  <a:cubicBezTo>
                    <a:pt x="29946" y="44066"/>
                    <a:pt x="29505" y="43001"/>
                    <a:pt x="29277" y="41930"/>
                  </a:cubicBezTo>
                  <a:close/>
                  <a:moveTo>
                    <a:pt x="11292" y="34587"/>
                  </a:moveTo>
                  <a:cubicBezTo>
                    <a:pt x="12905" y="38401"/>
                    <a:pt x="16042" y="42149"/>
                    <a:pt x="18174" y="44350"/>
                  </a:cubicBezTo>
                  <a:cubicBezTo>
                    <a:pt x="18270" y="44450"/>
                    <a:pt x="18374" y="44554"/>
                    <a:pt x="18474" y="44658"/>
                  </a:cubicBezTo>
                  <a:cubicBezTo>
                    <a:pt x="17710" y="44942"/>
                    <a:pt x="17078" y="45466"/>
                    <a:pt x="16733" y="46166"/>
                  </a:cubicBezTo>
                  <a:cubicBezTo>
                    <a:pt x="16077" y="45618"/>
                    <a:pt x="15337" y="45387"/>
                    <a:pt x="14621" y="45387"/>
                  </a:cubicBezTo>
                  <a:cubicBezTo>
                    <a:pt x="12788" y="45387"/>
                    <a:pt x="11112" y="46911"/>
                    <a:pt x="11361" y="48635"/>
                  </a:cubicBezTo>
                  <a:cubicBezTo>
                    <a:pt x="9872" y="45282"/>
                    <a:pt x="9040" y="41753"/>
                    <a:pt x="9195" y="38072"/>
                  </a:cubicBezTo>
                  <a:cubicBezTo>
                    <a:pt x="9280" y="36111"/>
                    <a:pt x="10088" y="35051"/>
                    <a:pt x="11292" y="34587"/>
                  </a:cubicBezTo>
                  <a:close/>
                  <a:moveTo>
                    <a:pt x="71694" y="42469"/>
                  </a:moveTo>
                  <a:lnTo>
                    <a:pt x="71694" y="42469"/>
                  </a:lnTo>
                  <a:cubicBezTo>
                    <a:pt x="72497" y="42633"/>
                    <a:pt x="73310" y="42781"/>
                    <a:pt x="74122" y="42918"/>
                  </a:cubicBezTo>
                  <a:cubicBezTo>
                    <a:pt x="77167" y="44783"/>
                    <a:pt x="80104" y="46766"/>
                    <a:pt x="82957" y="48859"/>
                  </a:cubicBezTo>
                  <a:cubicBezTo>
                    <a:pt x="82728" y="48831"/>
                    <a:pt x="82497" y="48807"/>
                    <a:pt x="82272" y="48775"/>
                  </a:cubicBezTo>
                  <a:cubicBezTo>
                    <a:pt x="81516" y="48679"/>
                    <a:pt x="80760" y="48555"/>
                    <a:pt x="80008" y="48427"/>
                  </a:cubicBezTo>
                  <a:cubicBezTo>
                    <a:pt x="78911" y="47831"/>
                    <a:pt x="77823" y="47223"/>
                    <a:pt x="76739" y="46611"/>
                  </a:cubicBezTo>
                  <a:cubicBezTo>
                    <a:pt x="75075" y="45219"/>
                    <a:pt x="73394" y="43834"/>
                    <a:pt x="71694" y="42469"/>
                  </a:cubicBezTo>
                  <a:close/>
                  <a:moveTo>
                    <a:pt x="98873" y="50120"/>
                  </a:moveTo>
                  <a:cubicBezTo>
                    <a:pt x="99269" y="51124"/>
                    <a:pt x="99529" y="52140"/>
                    <a:pt x="99617" y="53156"/>
                  </a:cubicBezTo>
                  <a:cubicBezTo>
                    <a:pt x="99053" y="52153"/>
                    <a:pt x="98397" y="51164"/>
                    <a:pt x="97673" y="50192"/>
                  </a:cubicBezTo>
                  <a:lnTo>
                    <a:pt x="97673" y="50192"/>
                  </a:lnTo>
                  <a:cubicBezTo>
                    <a:pt x="97780" y="50199"/>
                    <a:pt x="97889" y="50203"/>
                    <a:pt x="97996" y="50203"/>
                  </a:cubicBezTo>
                  <a:cubicBezTo>
                    <a:pt x="98297" y="50203"/>
                    <a:pt x="98589" y="50175"/>
                    <a:pt x="98873" y="50120"/>
                  </a:cubicBezTo>
                  <a:close/>
                  <a:moveTo>
                    <a:pt x="40269" y="55789"/>
                  </a:moveTo>
                  <a:cubicBezTo>
                    <a:pt x="41144" y="56349"/>
                    <a:pt x="42025" y="56906"/>
                    <a:pt x="42906" y="57466"/>
                  </a:cubicBezTo>
                  <a:cubicBezTo>
                    <a:pt x="43946" y="58962"/>
                    <a:pt x="44994" y="60439"/>
                    <a:pt x="46074" y="61859"/>
                  </a:cubicBezTo>
                  <a:cubicBezTo>
                    <a:pt x="44001" y="59867"/>
                    <a:pt x="41981" y="57830"/>
                    <a:pt x="39957" y="55797"/>
                  </a:cubicBezTo>
                  <a:cubicBezTo>
                    <a:pt x="40060" y="55797"/>
                    <a:pt x="40164" y="55793"/>
                    <a:pt x="40269" y="55789"/>
                  </a:cubicBezTo>
                  <a:close/>
                  <a:moveTo>
                    <a:pt x="57753" y="48007"/>
                  </a:moveTo>
                  <a:lnTo>
                    <a:pt x="57753" y="48007"/>
                  </a:lnTo>
                  <a:cubicBezTo>
                    <a:pt x="59162" y="48567"/>
                    <a:pt x="60602" y="49111"/>
                    <a:pt x="62054" y="49640"/>
                  </a:cubicBezTo>
                  <a:cubicBezTo>
                    <a:pt x="66556" y="52604"/>
                    <a:pt x="71165" y="55429"/>
                    <a:pt x="75699" y="58046"/>
                  </a:cubicBezTo>
                  <a:cubicBezTo>
                    <a:pt x="76783" y="58670"/>
                    <a:pt x="78611" y="59623"/>
                    <a:pt x="80784" y="60587"/>
                  </a:cubicBezTo>
                  <a:cubicBezTo>
                    <a:pt x="82449" y="62083"/>
                    <a:pt x="84265" y="63804"/>
                    <a:pt x="85125" y="65744"/>
                  </a:cubicBezTo>
                  <a:cubicBezTo>
                    <a:pt x="83757" y="65556"/>
                    <a:pt x="82416" y="65168"/>
                    <a:pt x="81100" y="64672"/>
                  </a:cubicBezTo>
                  <a:cubicBezTo>
                    <a:pt x="74370" y="60947"/>
                    <a:pt x="68156" y="56474"/>
                    <a:pt x="61879" y="52076"/>
                  </a:cubicBezTo>
                  <a:cubicBezTo>
                    <a:pt x="60594" y="50676"/>
                    <a:pt x="59206" y="49324"/>
                    <a:pt x="57753" y="48007"/>
                  </a:cubicBezTo>
                  <a:close/>
                  <a:moveTo>
                    <a:pt x="58690" y="67497"/>
                  </a:moveTo>
                  <a:cubicBezTo>
                    <a:pt x="62311" y="69802"/>
                    <a:pt x="65919" y="72114"/>
                    <a:pt x="69505" y="74455"/>
                  </a:cubicBezTo>
                  <a:cubicBezTo>
                    <a:pt x="69521" y="74479"/>
                    <a:pt x="69533" y="74503"/>
                    <a:pt x="69548" y="74527"/>
                  </a:cubicBezTo>
                  <a:cubicBezTo>
                    <a:pt x="68076" y="73630"/>
                    <a:pt x="66648" y="72775"/>
                    <a:pt x="65284" y="72010"/>
                  </a:cubicBezTo>
                  <a:cubicBezTo>
                    <a:pt x="63587" y="71062"/>
                    <a:pt x="61827" y="70193"/>
                    <a:pt x="60038" y="69353"/>
                  </a:cubicBezTo>
                  <a:cubicBezTo>
                    <a:pt x="59594" y="68721"/>
                    <a:pt x="59142" y="68101"/>
                    <a:pt x="58690" y="67497"/>
                  </a:cubicBezTo>
                  <a:close/>
                  <a:moveTo>
                    <a:pt x="30729" y="77800"/>
                  </a:moveTo>
                  <a:cubicBezTo>
                    <a:pt x="34134" y="80208"/>
                    <a:pt x="37656" y="82513"/>
                    <a:pt x="41240" y="84742"/>
                  </a:cubicBezTo>
                  <a:cubicBezTo>
                    <a:pt x="37235" y="83349"/>
                    <a:pt x="33743" y="80681"/>
                    <a:pt x="30729" y="77800"/>
                  </a:cubicBezTo>
                  <a:close/>
                  <a:moveTo>
                    <a:pt x="50300" y="1"/>
                  </a:moveTo>
                  <a:cubicBezTo>
                    <a:pt x="47687" y="1"/>
                    <a:pt x="45246" y="557"/>
                    <a:pt x="43441" y="2138"/>
                  </a:cubicBezTo>
                  <a:cubicBezTo>
                    <a:pt x="40832" y="4418"/>
                    <a:pt x="41004" y="6967"/>
                    <a:pt x="42425" y="9319"/>
                  </a:cubicBezTo>
                  <a:cubicBezTo>
                    <a:pt x="39384" y="7820"/>
                    <a:pt x="36391" y="6263"/>
                    <a:pt x="33506" y="4590"/>
                  </a:cubicBezTo>
                  <a:cubicBezTo>
                    <a:pt x="32866" y="4218"/>
                    <a:pt x="32222" y="4058"/>
                    <a:pt x="31614" y="4058"/>
                  </a:cubicBezTo>
                  <a:cubicBezTo>
                    <a:pt x="28862" y="4058"/>
                    <a:pt x="26849" y="7367"/>
                    <a:pt x="29065" y="9364"/>
                  </a:cubicBezTo>
                  <a:cubicBezTo>
                    <a:pt x="30686" y="10824"/>
                    <a:pt x="32394" y="12172"/>
                    <a:pt x="34162" y="13445"/>
                  </a:cubicBezTo>
                  <a:cubicBezTo>
                    <a:pt x="32682" y="14130"/>
                    <a:pt x="32122" y="15482"/>
                    <a:pt x="32394" y="16918"/>
                  </a:cubicBezTo>
                  <a:cubicBezTo>
                    <a:pt x="32410" y="17002"/>
                    <a:pt x="32439" y="17082"/>
                    <a:pt x="32454" y="17166"/>
                  </a:cubicBezTo>
                  <a:cubicBezTo>
                    <a:pt x="31482" y="16970"/>
                    <a:pt x="30498" y="16854"/>
                    <a:pt x="29510" y="16854"/>
                  </a:cubicBezTo>
                  <a:cubicBezTo>
                    <a:pt x="29438" y="16854"/>
                    <a:pt x="29366" y="16854"/>
                    <a:pt x="29294" y="16858"/>
                  </a:cubicBezTo>
                  <a:cubicBezTo>
                    <a:pt x="25996" y="16914"/>
                    <a:pt x="23900" y="18715"/>
                    <a:pt x="23032" y="20975"/>
                  </a:cubicBezTo>
                  <a:cubicBezTo>
                    <a:pt x="22347" y="21391"/>
                    <a:pt x="21855" y="21995"/>
                    <a:pt x="21747" y="22736"/>
                  </a:cubicBezTo>
                  <a:cubicBezTo>
                    <a:pt x="21095" y="22643"/>
                    <a:pt x="20443" y="22595"/>
                    <a:pt x="19795" y="22591"/>
                  </a:cubicBezTo>
                  <a:cubicBezTo>
                    <a:pt x="17458" y="22591"/>
                    <a:pt x="15154" y="23244"/>
                    <a:pt x="12988" y="24833"/>
                  </a:cubicBezTo>
                  <a:cubicBezTo>
                    <a:pt x="11472" y="25945"/>
                    <a:pt x="10668" y="27297"/>
                    <a:pt x="10380" y="28781"/>
                  </a:cubicBezTo>
                  <a:cubicBezTo>
                    <a:pt x="7627" y="29210"/>
                    <a:pt x="5226" y="30518"/>
                    <a:pt x="3690" y="33182"/>
                  </a:cubicBezTo>
                  <a:cubicBezTo>
                    <a:pt x="0" y="39588"/>
                    <a:pt x="2541" y="47491"/>
                    <a:pt x="6759" y="54305"/>
                  </a:cubicBezTo>
                  <a:cubicBezTo>
                    <a:pt x="5222" y="54873"/>
                    <a:pt x="4118" y="56369"/>
                    <a:pt x="4711" y="57758"/>
                  </a:cubicBezTo>
                  <a:cubicBezTo>
                    <a:pt x="7111" y="63375"/>
                    <a:pt x="13573" y="67237"/>
                    <a:pt x="19562" y="70585"/>
                  </a:cubicBezTo>
                  <a:cubicBezTo>
                    <a:pt x="20967" y="72446"/>
                    <a:pt x="22456" y="74247"/>
                    <a:pt x="23952" y="75963"/>
                  </a:cubicBezTo>
                  <a:cubicBezTo>
                    <a:pt x="28561" y="81249"/>
                    <a:pt x="34843" y="87395"/>
                    <a:pt x="42877" y="88943"/>
                  </a:cubicBezTo>
                  <a:cubicBezTo>
                    <a:pt x="43045" y="88975"/>
                    <a:pt x="43221" y="88991"/>
                    <a:pt x="43397" y="88991"/>
                  </a:cubicBezTo>
                  <a:cubicBezTo>
                    <a:pt x="44354" y="88991"/>
                    <a:pt x="45322" y="88518"/>
                    <a:pt x="45538" y="87687"/>
                  </a:cubicBezTo>
                  <a:cubicBezTo>
                    <a:pt x="45562" y="87595"/>
                    <a:pt x="45570" y="87499"/>
                    <a:pt x="45589" y="87406"/>
                  </a:cubicBezTo>
                  <a:cubicBezTo>
                    <a:pt x="47862" y="88775"/>
                    <a:pt x="50143" y="90127"/>
                    <a:pt x="52428" y="91464"/>
                  </a:cubicBezTo>
                  <a:cubicBezTo>
                    <a:pt x="52980" y="91792"/>
                    <a:pt x="53556" y="91932"/>
                    <a:pt x="54117" y="91932"/>
                  </a:cubicBezTo>
                  <a:cubicBezTo>
                    <a:pt x="55657" y="91932"/>
                    <a:pt x="57065" y="90856"/>
                    <a:pt x="57513" y="89611"/>
                  </a:cubicBezTo>
                  <a:cubicBezTo>
                    <a:pt x="58854" y="89940"/>
                    <a:pt x="60242" y="90147"/>
                    <a:pt x="61679" y="90204"/>
                  </a:cubicBezTo>
                  <a:cubicBezTo>
                    <a:pt x="61718" y="90204"/>
                    <a:pt x="61759" y="90208"/>
                    <a:pt x="61799" y="90208"/>
                  </a:cubicBezTo>
                  <a:cubicBezTo>
                    <a:pt x="62939" y="90208"/>
                    <a:pt x="64307" y="89587"/>
                    <a:pt x="64795" y="88723"/>
                  </a:cubicBezTo>
                  <a:cubicBezTo>
                    <a:pt x="64959" y="88435"/>
                    <a:pt x="65099" y="88143"/>
                    <a:pt x="65232" y="87846"/>
                  </a:cubicBezTo>
                  <a:cubicBezTo>
                    <a:pt x="69225" y="89599"/>
                    <a:pt x="73402" y="91015"/>
                    <a:pt x="77895" y="91800"/>
                  </a:cubicBezTo>
                  <a:cubicBezTo>
                    <a:pt x="78135" y="91844"/>
                    <a:pt x="78375" y="91864"/>
                    <a:pt x="78615" y="91864"/>
                  </a:cubicBezTo>
                  <a:cubicBezTo>
                    <a:pt x="80928" y="91864"/>
                    <a:pt x="83093" y="90007"/>
                    <a:pt x="82233" y="88115"/>
                  </a:cubicBezTo>
                  <a:lnTo>
                    <a:pt x="82233" y="88115"/>
                  </a:lnTo>
                  <a:cubicBezTo>
                    <a:pt x="86297" y="89748"/>
                    <a:pt x="90527" y="90887"/>
                    <a:pt x="94912" y="91048"/>
                  </a:cubicBezTo>
                  <a:cubicBezTo>
                    <a:pt x="94960" y="91048"/>
                    <a:pt x="95008" y="91052"/>
                    <a:pt x="95056" y="91052"/>
                  </a:cubicBezTo>
                  <a:cubicBezTo>
                    <a:pt x="97985" y="91052"/>
                    <a:pt x="99697" y="87678"/>
                    <a:pt x="97425" y="86014"/>
                  </a:cubicBezTo>
                  <a:cubicBezTo>
                    <a:pt x="95289" y="84450"/>
                    <a:pt x="93123" y="82909"/>
                    <a:pt x="90947" y="81381"/>
                  </a:cubicBezTo>
                  <a:cubicBezTo>
                    <a:pt x="93392" y="81273"/>
                    <a:pt x="95080" y="78456"/>
                    <a:pt x="93684" y="76716"/>
                  </a:cubicBezTo>
                  <a:lnTo>
                    <a:pt x="93684" y="76716"/>
                  </a:lnTo>
                  <a:cubicBezTo>
                    <a:pt x="94824" y="77059"/>
                    <a:pt x="95980" y="77379"/>
                    <a:pt x="97165" y="77667"/>
                  </a:cubicBezTo>
                  <a:cubicBezTo>
                    <a:pt x="97444" y="77732"/>
                    <a:pt x="97732" y="77763"/>
                    <a:pt x="98020" y="77763"/>
                  </a:cubicBezTo>
                  <a:cubicBezTo>
                    <a:pt x="100249" y="77763"/>
                    <a:pt x="102582" y="75896"/>
                    <a:pt x="101626" y="73966"/>
                  </a:cubicBezTo>
                  <a:cubicBezTo>
                    <a:pt x="99845" y="70374"/>
                    <a:pt x="97464" y="67148"/>
                    <a:pt x="94720" y="64151"/>
                  </a:cubicBezTo>
                  <a:lnTo>
                    <a:pt x="94720" y="64151"/>
                  </a:lnTo>
                  <a:cubicBezTo>
                    <a:pt x="95841" y="64312"/>
                    <a:pt x="96973" y="64432"/>
                    <a:pt x="98129" y="64476"/>
                  </a:cubicBezTo>
                  <a:lnTo>
                    <a:pt x="98277" y="64476"/>
                  </a:lnTo>
                  <a:cubicBezTo>
                    <a:pt x="100277" y="64476"/>
                    <a:pt x="101694" y="62995"/>
                    <a:pt x="101794" y="61435"/>
                  </a:cubicBezTo>
                  <a:cubicBezTo>
                    <a:pt x="101798" y="61407"/>
                    <a:pt x="101794" y="61383"/>
                    <a:pt x="101798" y="61359"/>
                  </a:cubicBezTo>
                  <a:cubicBezTo>
                    <a:pt x="103911" y="60707"/>
                    <a:pt x="105659" y="59434"/>
                    <a:pt x="106548" y="57285"/>
                  </a:cubicBezTo>
                  <a:cubicBezTo>
                    <a:pt x="109000" y="51364"/>
                    <a:pt x="104955" y="45071"/>
                    <a:pt x="100469" y="40009"/>
                  </a:cubicBezTo>
                  <a:cubicBezTo>
                    <a:pt x="99994" y="39173"/>
                    <a:pt x="99422" y="38373"/>
                    <a:pt x="98761" y="37612"/>
                  </a:cubicBezTo>
                  <a:lnTo>
                    <a:pt x="98761" y="37612"/>
                  </a:lnTo>
                  <a:cubicBezTo>
                    <a:pt x="99954" y="37744"/>
                    <a:pt x="101174" y="37828"/>
                    <a:pt x="102419" y="37856"/>
                  </a:cubicBezTo>
                  <a:cubicBezTo>
                    <a:pt x="102450" y="37856"/>
                    <a:pt x="102478" y="37860"/>
                    <a:pt x="102510" y="37860"/>
                  </a:cubicBezTo>
                  <a:cubicBezTo>
                    <a:pt x="104327" y="37860"/>
                    <a:pt x="105863" y="36608"/>
                    <a:pt x="106119" y="35175"/>
                  </a:cubicBezTo>
                  <a:cubicBezTo>
                    <a:pt x="108752" y="33999"/>
                    <a:pt x="110792" y="31699"/>
                    <a:pt x="110400" y="29210"/>
                  </a:cubicBezTo>
                  <a:cubicBezTo>
                    <a:pt x="109824" y="25540"/>
                    <a:pt x="106020" y="22864"/>
                    <a:pt x="102755" y="20667"/>
                  </a:cubicBezTo>
                  <a:cubicBezTo>
                    <a:pt x="97269" y="16970"/>
                    <a:pt x="91327" y="13781"/>
                    <a:pt x="85081" y="11068"/>
                  </a:cubicBezTo>
                  <a:cubicBezTo>
                    <a:pt x="77523" y="7783"/>
                    <a:pt x="69817" y="4678"/>
                    <a:pt x="61794" y="2246"/>
                  </a:cubicBezTo>
                  <a:cubicBezTo>
                    <a:pt x="58666" y="1293"/>
                    <a:pt x="54280" y="1"/>
                    <a:pt x="50300" y="1"/>
                  </a:cubicBezTo>
                  <a:close/>
                </a:path>
              </a:pathLst>
            </a:custGeom>
            <a:solidFill>
              <a:srgbClr val="FFFFFF">
                <a:alpha val="803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338" name="Google Shape;338;p16"/>
          <p:cNvSpPr/>
          <p:nvPr/>
        </p:nvSpPr>
        <p:spPr>
          <a:xfrm>
            <a:off x="1407132" y="245997"/>
            <a:ext cx="252187" cy="222361"/>
          </a:xfrm>
          <a:custGeom>
            <a:avLst/>
            <a:gdLst/>
            <a:ahLst/>
            <a:cxnLst/>
            <a:rect l="l" t="t" r="r" b="b"/>
            <a:pathLst>
              <a:path w="12136" h="10699" extrusionOk="0">
                <a:moveTo>
                  <a:pt x="6069" y="1"/>
                </a:moveTo>
                <a:cubicBezTo>
                  <a:pt x="3975" y="1"/>
                  <a:pt x="1990" y="1241"/>
                  <a:pt x="1135" y="3296"/>
                </a:cubicBezTo>
                <a:cubicBezTo>
                  <a:pt x="1" y="6041"/>
                  <a:pt x="1294" y="9165"/>
                  <a:pt x="4019" y="10299"/>
                </a:cubicBezTo>
                <a:cubicBezTo>
                  <a:pt x="4682" y="10570"/>
                  <a:pt x="5371" y="10698"/>
                  <a:pt x="6048" y="10698"/>
                </a:cubicBezTo>
                <a:cubicBezTo>
                  <a:pt x="8154" y="10698"/>
                  <a:pt x="10159" y="9456"/>
                  <a:pt x="11001" y="7394"/>
                </a:cubicBezTo>
                <a:cubicBezTo>
                  <a:pt x="12135" y="4669"/>
                  <a:pt x="10842" y="1546"/>
                  <a:pt x="8117" y="412"/>
                </a:cubicBezTo>
                <a:cubicBezTo>
                  <a:pt x="7447" y="133"/>
                  <a:pt x="6752" y="1"/>
                  <a:pt x="6069" y="1"/>
                </a:cubicBez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103759955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098075986"/>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F4A25-4F87-4701-8DC6-85855EC1D9F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MY"/>
          </a:p>
        </p:txBody>
      </p:sp>
      <p:sp>
        <p:nvSpPr>
          <p:cNvPr id="3" name="Picture Placeholder 2">
            <a:extLst>
              <a:ext uri="{FF2B5EF4-FFF2-40B4-BE49-F238E27FC236}">
                <a16:creationId xmlns:a16="http://schemas.microsoft.com/office/drawing/2014/main" id="{B92CEFFC-6064-4DA0-9B8C-C85F7707F18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MY"/>
          </a:p>
        </p:txBody>
      </p:sp>
      <p:sp>
        <p:nvSpPr>
          <p:cNvPr id="4" name="Text Placeholder 3">
            <a:extLst>
              <a:ext uri="{FF2B5EF4-FFF2-40B4-BE49-F238E27FC236}">
                <a16:creationId xmlns:a16="http://schemas.microsoft.com/office/drawing/2014/main" id="{8DC60028-ECAC-483B-A40E-12965294708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BF0CF42-DA5D-4733-B9DB-C250AD970DD9}"/>
              </a:ext>
            </a:extLst>
          </p:cNvPr>
          <p:cNvSpPr>
            <a:spLocks noGrp="1"/>
          </p:cNvSpPr>
          <p:nvPr>
            <p:ph type="dt" sz="half" idx="10"/>
          </p:nvPr>
        </p:nvSpPr>
        <p:spPr/>
        <p:txBody>
          <a:bodyPr/>
          <a:lstStyle/>
          <a:p>
            <a:fld id="{E152F814-A5A9-4915-BA2C-D498CBB3B7CE}" type="datetimeFigureOut">
              <a:rPr lang="en-MY" smtClean="0"/>
              <a:t>13/1/2023</a:t>
            </a:fld>
            <a:endParaRPr lang="en-MY"/>
          </a:p>
        </p:txBody>
      </p:sp>
      <p:sp>
        <p:nvSpPr>
          <p:cNvPr id="6" name="Footer Placeholder 5">
            <a:extLst>
              <a:ext uri="{FF2B5EF4-FFF2-40B4-BE49-F238E27FC236}">
                <a16:creationId xmlns:a16="http://schemas.microsoft.com/office/drawing/2014/main" id="{88E38F72-6E6B-4583-8E79-293A0DE76037}"/>
              </a:ext>
            </a:extLst>
          </p:cNvPr>
          <p:cNvSpPr>
            <a:spLocks noGrp="1"/>
          </p:cNvSpPr>
          <p:nvPr>
            <p:ph type="ftr" sz="quarter" idx="11"/>
          </p:nvPr>
        </p:nvSpPr>
        <p:spPr/>
        <p:txBody>
          <a:bodyPr/>
          <a:lstStyle/>
          <a:p>
            <a:endParaRPr lang="en-MY"/>
          </a:p>
        </p:txBody>
      </p:sp>
      <p:sp>
        <p:nvSpPr>
          <p:cNvPr id="7" name="Slide Number Placeholder 6">
            <a:extLst>
              <a:ext uri="{FF2B5EF4-FFF2-40B4-BE49-F238E27FC236}">
                <a16:creationId xmlns:a16="http://schemas.microsoft.com/office/drawing/2014/main" id="{F5517816-E45E-4FE2-9DB3-4459D309601B}"/>
              </a:ext>
            </a:extLst>
          </p:cNvPr>
          <p:cNvSpPr>
            <a:spLocks noGrp="1"/>
          </p:cNvSpPr>
          <p:nvPr>
            <p:ph type="sldNum" sz="quarter" idx="12"/>
          </p:nvPr>
        </p:nvSpPr>
        <p:spPr/>
        <p:txBody>
          <a:bodyPr/>
          <a:lstStyle/>
          <a:p>
            <a:fld id="{3854563D-E486-48D4-A129-56097E180FBF}" type="slidenum">
              <a:rPr lang="en-MY" smtClean="0"/>
              <a:t>‹#›</a:t>
            </a:fld>
            <a:endParaRPr lang="en-MY"/>
          </a:p>
        </p:txBody>
      </p:sp>
    </p:spTree>
    <p:extLst>
      <p:ext uri="{BB962C8B-B14F-4D97-AF65-F5344CB8AC3E}">
        <p14:creationId xmlns:p14="http://schemas.microsoft.com/office/powerpoint/2010/main" val="255219404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6714540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82961188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18342012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13/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16367809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1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55917697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36164397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8438054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8884524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10.xml"/><Relationship Id="rId3" Type="http://schemas.openxmlformats.org/officeDocument/2006/relationships/slideLayout" Target="../slideLayouts/slideLayout310.xml"/><Relationship Id="rId7" Type="http://schemas.openxmlformats.org/officeDocument/2006/relationships/slideLayout" Target="../slideLayouts/slideLayout710.xml"/><Relationship Id="rId12" Type="http://schemas.openxmlformats.org/officeDocument/2006/relationships/theme" Target="../theme/theme10.xml"/><Relationship Id="rId2" Type="http://schemas.openxmlformats.org/officeDocument/2006/relationships/slideLayout" Target="../slideLayouts/slideLayout210.xml"/><Relationship Id="rId1" Type="http://schemas.openxmlformats.org/officeDocument/2006/relationships/slideLayout" Target="../slideLayouts/slideLayout110.xml"/><Relationship Id="rId6" Type="http://schemas.openxmlformats.org/officeDocument/2006/relationships/slideLayout" Target="../slideLayouts/slideLayout610.xml"/><Relationship Id="rId11" Type="http://schemas.openxmlformats.org/officeDocument/2006/relationships/slideLayout" Target="../slideLayouts/slideLayout111.xml"/><Relationship Id="rId5" Type="http://schemas.openxmlformats.org/officeDocument/2006/relationships/slideLayout" Target="../slideLayouts/slideLayout510.xml"/><Relationship Id="rId10" Type="http://schemas.openxmlformats.org/officeDocument/2006/relationships/slideLayout" Target="../slideLayouts/slideLayout102.xml"/><Relationship Id="rId4" Type="http://schemas.openxmlformats.org/officeDocument/2006/relationships/slideLayout" Target="../slideLayouts/slideLayout410.xml"/><Relationship Id="rId9" Type="http://schemas.openxmlformats.org/officeDocument/2006/relationships/slideLayout" Target="../slideLayouts/slideLayout9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90.xml"/><Relationship Id="rId3" Type="http://schemas.openxmlformats.org/officeDocument/2006/relationships/slideLayout" Target="../slideLayouts/slideLayout140.xml"/><Relationship Id="rId7" Type="http://schemas.openxmlformats.org/officeDocument/2006/relationships/slideLayout" Target="../slideLayouts/slideLayout180.xml"/><Relationship Id="rId12" Type="http://schemas.openxmlformats.org/officeDocument/2006/relationships/theme" Target="../theme/theme20.xml"/><Relationship Id="rId2" Type="http://schemas.openxmlformats.org/officeDocument/2006/relationships/slideLayout" Target="../slideLayouts/slideLayout130.xml"/><Relationship Id="rId1" Type="http://schemas.openxmlformats.org/officeDocument/2006/relationships/slideLayout" Target="../slideLayouts/slideLayout120.xml"/><Relationship Id="rId6" Type="http://schemas.openxmlformats.org/officeDocument/2006/relationships/slideLayout" Target="../slideLayouts/slideLayout170.xml"/><Relationship Id="rId11" Type="http://schemas.openxmlformats.org/officeDocument/2006/relationships/slideLayout" Target="../slideLayouts/slideLayout220.xml"/><Relationship Id="rId5" Type="http://schemas.openxmlformats.org/officeDocument/2006/relationships/slideLayout" Target="../slideLayouts/slideLayout160.xml"/><Relationship Id="rId10" Type="http://schemas.openxmlformats.org/officeDocument/2006/relationships/slideLayout" Target="../slideLayouts/slideLayout211.xml"/><Relationship Id="rId4" Type="http://schemas.openxmlformats.org/officeDocument/2006/relationships/slideLayout" Target="../slideLayouts/slideLayout150.xml"/><Relationship Id="rId9" Type="http://schemas.openxmlformats.org/officeDocument/2006/relationships/slideLayout" Target="../slideLayouts/slideLayout200.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xml"/><Relationship Id="rId7" Type="http://schemas.openxmlformats.org/officeDocument/2006/relationships/image" Target="../media/image1.emf"/><Relationship Id="rId2" Type="http://schemas.openxmlformats.org/officeDocument/2006/relationships/theme" Target="../theme/theme3.xml"/><Relationship Id="rId1" Type="http://schemas.openxmlformats.org/officeDocument/2006/relationships/slideLayout" Target="../slideLayouts/slideLayout23.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theme" Target="../theme/theme4.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theme" Target="../theme/theme5.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image" Target="../media/image3.png"/><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theme" Target="../theme/theme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6366203-1186-EE22-5EA0-AA2DC94447E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5ABCA445-FB9C-9ECF-42C4-18719BD57D3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9CDB4251-5A2B-57F2-BD38-71E437729F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32E15C-1ABB-4FCE-A664-E12BA74059BF}" type="datetimeFigureOut">
              <a:rPr lang="en-IN" smtClean="0"/>
              <a:t>13-01-2023</a:t>
            </a:fld>
            <a:endParaRPr lang="en-IN"/>
          </a:p>
        </p:txBody>
      </p:sp>
      <p:sp>
        <p:nvSpPr>
          <p:cNvPr id="5" name="Footer Placeholder 4">
            <a:extLst>
              <a:ext uri="{FF2B5EF4-FFF2-40B4-BE49-F238E27FC236}">
                <a16:creationId xmlns:a16="http://schemas.microsoft.com/office/drawing/2014/main" id="{C71BE457-5459-4054-5E83-0979A322EB8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8E991338-C744-F4E5-2B44-52CA01F40CB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B60327-AE25-4737-85CF-0B04EF4FAC0C}" type="slidenum">
              <a:rPr lang="en-IN" smtClean="0"/>
              <a:t>‹#›</a:t>
            </a:fld>
            <a:endParaRPr lang="en-IN"/>
          </a:p>
        </p:txBody>
      </p:sp>
    </p:spTree>
    <p:extLst>
      <p:ext uri="{BB962C8B-B14F-4D97-AF65-F5344CB8AC3E}">
        <p14:creationId xmlns:p14="http://schemas.microsoft.com/office/powerpoint/2010/main" val="28672514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BED6DC"/>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E732E56-0448-4397-84DF-8BA6AF90958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MY"/>
          </a:p>
        </p:txBody>
      </p:sp>
      <p:sp>
        <p:nvSpPr>
          <p:cNvPr id="3" name="Text Placeholder 2">
            <a:extLst>
              <a:ext uri="{FF2B5EF4-FFF2-40B4-BE49-F238E27FC236}">
                <a16:creationId xmlns:a16="http://schemas.microsoft.com/office/drawing/2014/main" id="{F4A6B73F-1194-401D-9BC5-0E1761EC4A3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a:extLst>
              <a:ext uri="{FF2B5EF4-FFF2-40B4-BE49-F238E27FC236}">
                <a16:creationId xmlns:a16="http://schemas.microsoft.com/office/drawing/2014/main" id="{CFE16E6B-AA36-47D4-9434-2FC00098E49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152F814-A5A9-4915-BA2C-D498CBB3B7CE}" type="datetimeFigureOut">
              <a:rPr lang="en-MY" smtClean="0"/>
              <a:t>13/1/2023</a:t>
            </a:fld>
            <a:endParaRPr lang="en-MY"/>
          </a:p>
        </p:txBody>
      </p:sp>
      <p:sp>
        <p:nvSpPr>
          <p:cNvPr id="5" name="Footer Placeholder 4">
            <a:extLst>
              <a:ext uri="{FF2B5EF4-FFF2-40B4-BE49-F238E27FC236}">
                <a16:creationId xmlns:a16="http://schemas.microsoft.com/office/drawing/2014/main" id="{71055721-3C46-4455-A998-F9DDAEAF452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MY"/>
          </a:p>
        </p:txBody>
      </p:sp>
      <p:sp>
        <p:nvSpPr>
          <p:cNvPr id="6" name="Slide Number Placeholder 5">
            <a:extLst>
              <a:ext uri="{FF2B5EF4-FFF2-40B4-BE49-F238E27FC236}">
                <a16:creationId xmlns:a16="http://schemas.microsoft.com/office/drawing/2014/main" id="{58B503E4-6148-4184-BF48-C0A93CB31E9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854563D-E486-48D4-A129-56097E180FBF}" type="slidenum">
              <a:rPr lang="en-MY" smtClean="0"/>
              <a:t>‹#›</a:t>
            </a:fld>
            <a:endParaRPr lang="en-MY"/>
          </a:p>
        </p:txBody>
      </p:sp>
    </p:spTree>
    <p:extLst>
      <p:ext uri="{BB962C8B-B14F-4D97-AF65-F5344CB8AC3E}">
        <p14:creationId xmlns:p14="http://schemas.microsoft.com/office/powerpoint/2010/main" val="36784554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1FC3520-F5D2-4331-B5A1-1E3AF9A757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MY"/>
          </a:p>
        </p:txBody>
      </p:sp>
      <p:sp>
        <p:nvSpPr>
          <p:cNvPr id="3" name="Text Placeholder 2">
            <a:extLst>
              <a:ext uri="{FF2B5EF4-FFF2-40B4-BE49-F238E27FC236}">
                <a16:creationId xmlns:a16="http://schemas.microsoft.com/office/drawing/2014/main" id="{4C5ED826-EFD6-4D9C-A0B0-83FA94C63EF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a:extLst>
              <a:ext uri="{FF2B5EF4-FFF2-40B4-BE49-F238E27FC236}">
                <a16:creationId xmlns:a16="http://schemas.microsoft.com/office/drawing/2014/main" id="{FA71FE2E-E5D0-4449-8FED-6D0FFDAF644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F1DF14-9231-416D-98D1-D49883AFE354}" type="datetimeFigureOut">
              <a:rPr lang="en-MY" smtClean="0"/>
              <a:t>13/1/2023</a:t>
            </a:fld>
            <a:endParaRPr lang="en-MY"/>
          </a:p>
        </p:txBody>
      </p:sp>
      <p:sp>
        <p:nvSpPr>
          <p:cNvPr id="5" name="Footer Placeholder 4">
            <a:extLst>
              <a:ext uri="{FF2B5EF4-FFF2-40B4-BE49-F238E27FC236}">
                <a16:creationId xmlns:a16="http://schemas.microsoft.com/office/drawing/2014/main" id="{A12BB9B3-4CA2-4248-B2CD-BAC512A3336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MY"/>
          </a:p>
        </p:txBody>
      </p:sp>
      <p:sp>
        <p:nvSpPr>
          <p:cNvPr id="6" name="Slide Number Placeholder 5">
            <a:extLst>
              <a:ext uri="{FF2B5EF4-FFF2-40B4-BE49-F238E27FC236}">
                <a16:creationId xmlns:a16="http://schemas.microsoft.com/office/drawing/2014/main" id="{B75CCD2F-8DEC-4F4D-BC7E-92A97A484D4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2BD2D0-9020-43F0-9627-4A4BC8FEE218}" type="slidenum">
              <a:rPr lang="en-MY" smtClean="0"/>
              <a:t>‹#›</a:t>
            </a:fld>
            <a:endParaRPr lang="en-MY"/>
          </a:p>
        </p:txBody>
      </p:sp>
    </p:spTree>
    <p:extLst>
      <p:ext uri="{BB962C8B-B14F-4D97-AF65-F5344CB8AC3E}">
        <p14:creationId xmlns:p14="http://schemas.microsoft.com/office/powerpoint/2010/main" val="29344333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682D0DD-01C6-48DE-865D-2DE2FDBDFE8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MY"/>
          </a:p>
        </p:txBody>
      </p:sp>
      <p:sp>
        <p:nvSpPr>
          <p:cNvPr id="3" name="Text Placeholder 2">
            <a:extLst>
              <a:ext uri="{FF2B5EF4-FFF2-40B4-BE49-F238E27FC236}">
                <a16:creationId xmlns:a16="http://schemas.microsoft.com/office/drawing/2014/main" id="{BB78F127-CA9C-4913-B6A9-31935B2AB23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a:extLst>
              <a:ext uri="{FF2B5EF4-FFF2-40B4-BE49-F238E27FC236}">
                <a16:creationId xmlns:a16="http://schemas.microsoft.com/office/drawing/2014/main" id="{99BD7B16-7E8C-461D-8428-3B889FFB15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54A6A80-5264-4848-8CA6-96ED35941B24}" type="datetimeFigureOut">
              <a:rPr lang="en-MY" smtClean="0"/>
              <a:t>13/1/2023</a:t>
            </a:fld>
            <a:endParaRPr lang="en-MY"/>
          </a:p>
        </p:txBody>
      </p:sp>
      <p:sp>
        <p:nvSpPr>
          <p:cNvPr id="5" name="Footer Placeholder 4">
            <a:extLst>
              <a:ext uri="{FF2B5EF4-FFF2-40B4-BE49-F238E27FC236}">
                <a16:creationId xmlns:a16="http://schemas.microsoft.com/office/drawing/2014/main" id="{38C7356E-6E05-412E-9971-783FBF5A4C5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MY"/>
          </a:p>
        </p:txBody>
      </p:sp>
      <p:sp>
        <p:nvSpPr>
          <p:cNvPr id="6" name="Slide Number Placeholder 5">
            <a:extLst>
              <a:ext uri="{FF2B5EF4-FFF2-40B4-BE49-F238E27FC236}">
                <a16:creationId xmlns:a16="http://schemas.microsoft.com/office/drawing/2014/main" id="{0A3A3D0F-3F55-4364-913F-1E7EDA6D59B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F34DD00-9460-4ACA-BCB3-0658FCE44E65}" type="slidenum">
              <a:rPr lang="en-MY" smtClean="0"/>
              <a:t>‹#›</a:t>
            </a:fld>
            <a:endParaRPr lang="en-MY"/>
          </a:p>
        </p:txBody>
      </p:sp>
    </p:spTree>
    <p:extLst>
      <p:ext uri="{BB962C8B-B14F-4D97-AF65-F5344CB8AC3E}">
        <p14:creationId xmlns:p14="http://schemas.microsoft.com/office/powerpoint/2010/main" val="30171961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2037D5-9F9A-4CC9-98B0-68BDD36B02F8}"/>
              </a:ext>
            </a:extLst>
          </p:cNvPr>
          <p:cNvGraphicFramePr>
            <a:graphicFrameLocks noChangeAspect="1"/>
          </p:cNvGraphicFramePr>
          <p:nvPr userDrawn="1">
            <p:custDataLst>
              <p:tags r:id="rId4"/>
            </p:custDataLst>
            <p:extLst>
              <p:ext uri="{D42A27DB-BD31-4B8C-83A1-F6EECF244321}">
                <p14:modId xmlns:p14="http://schemas.microsoft.com/office/powerpoint/2010/main" val="3250551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51" imgH="450" progId="TCLayout.ActiveDocument.1">
                  <p:embed/>
                </p:oleObj>
              </mc:Choice>
              <mc:Fallback>
                <p:oleObj name="think-cell Slide" r:id="rId6" imgW="451" imgH="450" progId="TCLayout.ActiveDocument.1">
                  <p:embed/>
                  <p:pic>
                    <p:nvPicPr>
                      <p:cNvPr id="8" name="Object 7" hidden="1">
                        <a:extLst>
                          <a:ext uri="{FF2B5EF4-FFF2-40B4-BE49-F238E27FC236}">
                            <a16:creationId xmlns:a16="http://schemas.microsoft.com/office/drawing/2014/main" id="{DD2037D5-9F9A-4CC9-98B0-68BDD36B02F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E612F5A-FB47-481F-9DE2-4A75D564380A}"/>
              </a:ext>
            </a:extLst>
          </p:cNvPr>
          <p:cNvSpPr/>
          <p:nvPr userDrawn="1">
            <p:custDataLst>
              <p:tags r:id="rId5"/>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numCol="1" rtlCol="0" anchorCtr="0">
            <a:noAutofit/>
          </a:bodyPr>
          <a:lstStyle/>
          <a:p>
            <a:r>
              <a:rPr lang="en-US" dirty="0"/>
              <a:t>Click to edit Master title style</a:t>
            </a:r>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numCol="1"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numCol="1" rtlCol="0" anchor="ctr"/>
          <a:lstStyle>
            <a:lvl1pPr algn="l">
              <a:defRPr sz="300">
                <a:solidFill>
                  <a:schemeClr val="accent4"/>
                </a:solidFill>
              </a:defRPr>
            </a:lvl1pPr>
          </a:lstStyle>
          <a:p>
            <a:fld id="{7ECE2914-4E17-487A-A4E5-C87617449E51}" type="datetimeFigureOut">
              <a:rPr lang="en-US" smtClean="0"/>
              <a:pPr/>
              <a:t>1/13/2023</a:t>
            </a:fld>
            <a:endParaRPr lang="en-US" dirty="0"/>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numCol="1" rtlCol="0" anchor="ctr"/>
          <a:lstStyle>
            <a:lvl1pPr algn="ctr">
              <a:defRPr sz="300">
                <a:solidFill>
                  <a:schemeClr val="accent4"/>
                </a:solidFill>
              </a:defRPr>
            </a:lvl1pPr>
          </a:lstStyle>
          <a:p>
            <a:endParaRPr lang="en-US" dirty="0"/>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numCol="1" rtlCol="0" anchor="ctr"/>
          <a:lstStyle>
            <a:lvl1pPr algn="r">
              <a:defRPr sz="300">
                <a:solidFill>
                  <a:schemeClr val="accent4"/>
                </a:solidFill>
              </a:defRPr>
            </a:lvl1pPr>
          </a:lstStyle>
          <a:p>
            <a:fld id="{8F63CC74-D785-4C96-8C6E-EB177D1B9A1D}" type="slidenum">
              <a:rPr lang="en-US" smtClean="0"/>
              <a:pPr/>
              <a:t>‹#›</a:t>
            </a:fld>
            <a:endParaRPr lang="en-US" dirty="0"/>
          </a:p>
        </p:txBody>
      </p:sp>
      <p:pic>
        <p:nvPicPr>
          <p:cNvPr id="15" name="Picture 14">
            <a:extLst>
              <a:ext uri="{FF2B5EF4-FFF2-40B4-BE49-F238E27FC236}">
                <a16:creationId xmlns:a16="http://schemas.microsoft.com/office/drawing/2014/main" id="{517BCDC7-33E6-4E0D-8470-BD0036821924}"/>
              </a:ext>
            </a:extLst>
          </p:cNvPr>
          <p:cNvPicPr>
            <a:picLocks noChangeAspect="1"/>
          </p:cNvPicPr>
          <p:nvPr userDrawn="1"/>
        </p:nvPicPr>
        <p:blipFill>
          <a:blip r:embed="rId8"/>
          <a:stretch>
            <a:fillRect/>
          </a:stretch>
        </p:blipFill>
        <p:spPr>
          <a:xfrm>
            <a:off x="11009789" y="384048"/>
            <a:ext cx="711200" cy="616373"/>
          </a:xfrm>
          <a:prstGeom prst="rect">
            <a:avLst/>
          </a:prstGeom>
        </p:spPr>
      </p:pic>
    </p:spTree>
    <p:custDataLst>
      <p:tags r:id="rId3"/>
    </p:custDataLst>
    <p:extLst>
      <p:ext uri="{BB962C8B-B14F-4D97-AF65-F5344CB8AC3E}">
        <p14:creationId xmlns:p14="http://schemas.microsoft.com/office/powerpoint/2010/main" val="2120137445"/>
      </p:ext>
    </p:extLst>
  </p:cSld>
  <p:clrMap bg1="dk1" tx1="lt1" bg2="dk2" tx2="lt2" accent1="accent1" accent2="accent2" accent3="accent3" accent4="accent4" accent5="accent5" accent6="accent6" hlink="hlink" folHlink="folHlink"/>
  <p:sldLayoutIdLst>
    <p:sldLayoutId id="2147483673" r:id="rId1"/>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p15:clr>
            <a:srgbClr val="C35EA4"/>
          </p15:clr>
        </p15:guide>
        <p15:guide id="2" pos="7328">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2"/>
              </a:buClr>
              <a:buSzPts val="3500"/>
              <a:buFont typeface="Odibee Sans"/>
              <a:buNone/>
              <a:defRPr sz="3500" b="1">
                <a:solidFill>
                  <a:schemeClr val="dk2"/>
                </a:solidFill>
                <a:latin typeface="Odibee Sans"/>
                <a:ea typeface="Odibee Sans"/>
                <a:cs typeface="Odibee Sans"/>
                <a:sym typeface="Odibee Sans"/>
              </a:defRPr>
            </a:lvl1pPr>
            <a:lvl2pPr lvl="1">
              <a:spcBef>
                <a:spcPts val="0"/>
              </a:spcBef>
              <a:spcAft>
                <a:spcPts val="0"/>
              </a:spcAft>
              <a:buClr>
                <a:schemeClr val="dk2"/>
              </a:buClr>
              <a:buSzPts val="3500"/>
              <a:buFont typeface="Odibee Sans"/>
              <a:buNone/>
              <a:defRPr sz="3500">
                <a:solidFill>
                  <a:schemeClr val="dk2"/>
                </a:solidFill>
                <a:latin typeface="Odibee Sans"/>
                <a:ea typeface="Odibee Sans"/>
                <a:cs typeface="Odibee Sans"/>
                <a:sym typeface="Odibee Sans"/>
              </a:defRPr>
            </a:lvl2pPr>
            <a:lvl3pPr lvl="2">
              <a:spcBef>
                <a:spcPts val="0"/>
              </a:spcBef>
              <a:spcAft>
                <a:spcPts val="0"/>
              </a:spcAft>
              <a:buClr>
                <a:schemeClr val="dk2"/>
              </a:buClr>
              <a:buSzPts val="3500"/>
              <a:buFont typeface="Odibee Sans"/>
              <a:buNone/>
              <a:defRPr sz="3500">
                <a:solidFill>
                  <a:schemeClr val="dk2"/>
                </a:solidFill>
                <a:latin typeface="Odibee Sans"/>
                <a:ea typeface="Odibee Sans"/>
                <a:cs typeface="Odibee Sans"/>
                <a:sym typeface="Odibee Sans"/>
              </a:defRPr>
            </a:lvl3pPr>
            <a:lvl4pPr lvl="3">
              <a:spcBef>
                <a:spcPts val="0"/>
              </a:spcBef>
              <a:spcAft>
                <a:spcPts val="0"/>
              </a:spcAft>
              <a:buClr>
                <a:schemeClr val="dk2"/>
              </a:buClr>
              <a:buSzPts val="3500"/>
              <a:buFont typeface="Odibee Sans"/>
              <a:buNone/>
              <a:defRPr sz="3500">
                <a:solidFill>
                  <a:schemeClr val="dk2"/>
                </a:solidFill>
                <a:latin typeface="Odibee Sans"/>
                <a:ea typeface="Odibee Sans"/>
                <a:cs typeface="Odibee Sans"/>
                <a:sym typeface="Odibee Sans"/>
              </a:defRPr>
            </a:lvl4pPr>
            <a:lvl5pPr lvl="4">
              <a:spcBef>
                <a:spcPts val="0"/>
              </a:spcBef>
              <a:spcAft>
                <a:spcPts val="0"/>
              </a:spcAft>
              <a:buClr>
                <a:schemeClr val="dk2"/>
              </a:buClr>
              <a:buSzPts val="3500"/>
              <a:buFont typeface="Odibee Sans"/>
              <a:buNone/>
              <a:defRPr sz="3500">
                <a:solidFill>
                  <a:schemeClr val="dk2"/>
                </a:solidFill>
                <a:latin typeface="Odibee Sans"/>
                <a:ea typeface="Odibee Sans"/>
                <a:cs typeface="Odibee Sans"/>
                <a:sym typeface="Odibee Sans"/>
              </a:defRPr>
            </a:lvl5pPr>
            <a:lvl6pPr lvl="5">
              <a:spcBef>
                <a:spcPts val="0"/>
              </a:spcBef>
              <a:spcAft>
                <a:spcPts val="0"/>
              </a:spcAft>
              <a:buClr>
                <a:schemeClr val="dk2"/>
              </a:buClr>
              <a:buSzPts val="3500"/>
              <a:buFont typeface="Odibee Sans"/>
              <a:buNone/>
              <a:defRPr sz="3500">
                <a:solidFill>
                  <a:schemeClr val="dk2"/>
                </a:solidFill>
                <a:latin typeface="Odibee Sans"/>
                <a:ea typeface="Odibee Sans"/>
                <a:cs typeface="Odibee Sans"/>
                <a:sym typeface="Odibee Sans"/>
              </a:defRPr>
            </a:lvl6pPr>
            <a:lvl7pPr lvl="6">
              <a:spcBef>
                <a:spcPts val="0"/>
              </a:spcBef>
              <a:spcAft>
                <a:spcPts val="0"/>
              </a:spcAft>
              <a:buClr>
                <a:schemeClr val="dk2"/>
              </a:buClr>
              <a:buSzPts val="3500"/>
              <a:buFont typeface="Odibee Sans"/>
              <a:buNone/>
              <a:defRPr sz="3500">
                <a:solidFill>
                  <a:schemeClr val="dk2"/>
                </a:solidFill>
                <a:latin typeface="Odibee Sans"/>
                <a:ea typeface="Odibee Sans"/>
                <a:cs typeface="Odibee Sans"/>
                <a:sym typeface="Odibee Sans"/>
              </a:defRPr>
            </a:lvl7pPr>
            <a:lvl8pPr lvl="7">
              <a:spcBef>
                <a:spcPts val="0"/>
              </a:spcBef>
              <a:spcAft>
                <a:spcPts val="0"/>
              </a:spcAft>
              <a:buClr>
                <a:schemeClr val="dk2"/>
              </a:buClr>
              <a:buSzPts val="3500"/>
              <a:buFont typeface="Odibee Sans"/>
              <a:buNone/>
              <a:defRPr sz="3500">
                <a:solidFill>
                  <a:schemeClr val="dk2"/>
                </a:solidFill>
                <a:latin typeface="Odibee Sans"/>
                <a:ea typeface="Odibee Sans"/>
                <a:cs typeface="Odibee Sans"/>
                <a:sym typeface="Odibee Sans"/>
              </a:defRPr>
            </a:lvl8pPr>
            <a:lvl9pPr lvl="8">
              <a:spcBef>
                <a:spcPts val="0"/>
              </a:spcBef>
              <a:spcAft>
                <a:spcPts val="0"/>
              </a:spcAft>
              <a:buClr>
                <a:schemeClr val="dk2"/>
              </a:buClr>
              <a:buSzPts val="3500"/>
              <a:buFont typeface="Odibee Sans"/>
              <a:buNone/>
              <a:defRPr sz="3500">
                <a:solidFill>
                  <a:schemeClr val="dk2"/>
                </a:solidFill>
                <a:latin typeface="Odibee Sans"/>
                <a:ea typeface="Odibee Sans"/>
                <a:cs typeface="Odibee Sans"/>
                <a:sym typeface="Odibee Sans"/>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Font typeface="Nunito"/>
              <a:buChar char="●"/>
              <a:defRPr sz="1800">
                <a:solidFill>
                  <a:schemeClr val="dk2"/>
                </a:solidFill>
                <a:latin typeface="Nunito"/>
                <a:ea typeface="Nunito"/>
                <a:cs typeface="Nunito"/>
                <a:sym typeface="Nunito"/>
              </a:defRPr>
            </a:lvl1pPr>
            <a:lvl2pPr marL="914400" lvl="1" indent="-317500">
              <a:lnSpc>
                <a:spcPct val="115000"/>
              </a:lnSpc>
              <a:spcBef>
                <a:spcPts val="0"/>
              </a:spcBef>
              <a:spcAft>
                <a:spcPts val="0"/>
              </a:spcAft>
              <a:buClr>
                <a:schemeClr val="dk2"/>
              </a:buClr>
              <a:buSzPts val="1400"/>
              <a:buFont typeface="Nunito"/>
              <a:buChar char="○"/>
              <a:defRPr>
                <a:solidFill>
                  <a:schemeClr val="dk2"/>
                </a:solidFill>
                <a:latin typeface="Nunito"/>
                <a:ea typeface="Nunito"/>
                <a:cs typeface="Nunito"/>
                <a:sym typeface="Nunito"/>
              </a:defRPr>
            </a:lvl2pPr>
            <a:lvl3pPr marL="1371600" lvl="2" indent="-317500">
              <a:lnSpc>
                <a:spcPct val="115000"/>
              </a:lnSpc>
              <a:spcBef>
                <a:spcPts val="0"/>
              </a:spcBef>
              <a:spcAft>
                <a:spcPts val="0"/>
              </a:spcAft>
              <a:buClr>
                <a:schemeClr val="dk2"/>
              </a:buClr>
              <a:buSzPts val="1400"/>
              <a:buFont typeface="Nunito"/>
              <a:buChar char="■"/>
              <a:defRPr>
                <a:solidFill>
                  <a:schemeClr val="dk2"/>
                </a:solidFill>
                <a:latin typeface="Nunito"/>
                <a:ea typeface="Nunito"/>
                <a:cs typeface="Nunito"/>
                <a:sym typeface="Nunito"/>
              </a:defRPr>
            </a:lvl3pPr>
            <a:lvl4pPr marL="1828800" lvl="3" indent="-317500">
              <a:lnSpc>
                <a:spcPct val="115000"/>
              </a:lnSpc>
              <a:spcBef>
                <a:spcPts val="0"/>
              </a:spcBef>
              <a:spcAft>
                <a:spcPts val="0"/>
              </a:spcAft>
              <a:buClr>
                <a:schemeClr val="dk2"/>
              </a:buClr>
              <a:buSzPts val="1400"/>
              <a:buFont typeface="Nunito"/>
              <a:buChar char="●"/>
              <a:defRPr>
                <a:solidFill>
                  <a:schemeClr val="dk2"/>
                </a:solidFill>
                <a:latin typeface="Nunito"/>
                <a:ea typeface="Nunito"/>
                <a:cs typeface="Nunito"/>
                <a:sym typeface="Nunito"/>
              </a:defRPr>
            </a:lvl4pPr>
            <a:lvl5pPr marL="2286000" lvl="4" indent="-317500">
              <a:lnSpc>
                <a:spcPct val="115000"/>
              </a:lnSpc>
              <a:spcBef>
                <a:spcPts val="0"/>
              </a:spcBef>
              <a:spcAft>
                <a:spcPts val="0"/>
              </a:spcAft>
              <a:buClr>
                <a:schemeClr val="dk2"/>
              </a:buClr>
              <a:buSzPts val="1400"/>
              <a:buFont typeface="Nunito"/>
              <a:buChar char="○"/>
              <a:defRPr>
                <a:solidFill>
                  <a:schemeClr val="dk2"/>
                </a:solidFill>
                <a:latin typeface="Nunito"/>
                <a:ea typeface="Nunito"/>
                <a:cs typeface="Nunito"/>
                <a:sym typeface="Nunito"/>
              </a:defRPr>
            </a:lvl5pPr>
            <a:lvl6pPr marL="2743200" lvl="5" indent="-317500">
              <a:lnSpc>
                <a:spcPct val="115000"/>
              </a:lnSpc>
              <a:spcBef>
                <a:spcPts val="0"/>
              </a:spcBef>
              <a:spcAft>
                <a:spcPts val="0"/>
              </a:spcAft>
              <a:buClr>
                <a:schemeClr val="dk2"/>
              </a:buClr>
              <a:buSzPts val="1400"/>
              <a:buFont typeface="Nunito"/>
              <a:buChar char="■"/>
              <a:defRPr>
                <a:solidFill>
                  <a:schemeClr val="dk2"/>
                </a:solidFill>
                <a:latin typeface="Nunito"/>
                <a:ea typeface="Nunito"/>
                <a:cs typeface="Nunito"/>
                <a:sym typeface="Nunito"/>
              </a:defRPr>
            </a:lvl6pPr>
            <a:lvl7pPr marL="3200400" lvl="6" indent="-317500">
              <a:lnSpc>
                <a:spcPct val="115000"/>
              </a:lnSpc>
              <a:spcBef>
                <a:spcPts val="0"/>
              </a:spcBef>
              <a:spcAft>
                <a:spcPts val="0"/>
              </a:spcAft>
              <a:buClr>
                <a:schemeClr val="dk2"/>
              </a:buClr>
              <a:buSzPts val="1400"/>
              <a:buFont typeface="Nunito"/>
              <a:buChar char="●"/>
              <a:defRPr>
                <a:solidFill>
                  <a:schemeClr val="dk2"/>
                </a:solidFill>
                <a:latin typeface="Nunito"/>
                <a:ea typeface="Nunito"/>
                <a:cs typeface="Nunito"/>
                <a:sym typeface="Nunito"/>
              </a:defRPr>
            </a:lvl7pPr>
            <a:lvl8pPr marL="3657600" lvl="7" indent="-317500">
              <a:lnSpc>
                <a:spcPct val="115000"/>
              </a:lnSpc>
              <a:spcBef>
                <a:spcPts val="0"/>
              </a:spcBef>
              <a:spcAft>
                <a:spcPts val="0"/>
              </a:spcAft>
              <a:buClr>
                <a:schemeClr val="dk2"/>
              </a:buClr>
              <a:buSzPts val="1400"/>
              <a:buFont typeface="Nunito"/>
              <a:buChar char="○"/>
              <a:defRPr>
                <a:solidFill>
                  <a:schemeClr val="dk2"/>
                </a:solidFill>
                <a:latin typeface="Nunito"/>
                <a:ea typeface="Nunito"/>
                <a:cs typeface="Nunito"/>
                <a:sym typeface="Nunito"/>
              </a:defRPr>
            </a:lvl8pPr>
            <a:lvl9pPr marL="4114800" lvl="8" indent="-317500">
              <a:lnSpc>
                <a:spcPct val="115000"/>
              </a:lnSpc>
              <a:spcBef>
                <a:spcPts val="0"/>
              </a:spcBef>
              <a:spcAft>
                <a:spcPts val="0"/>
              </a:spcAft>
              <a:buClr>
                <a:schemeClr val="dk2"/>
              </a:buClr>
              <a:buSzPts val="1400"/>
              <a:buFont typeface="Nunito"/>
              <a:buChar char="■"/>
              <a:defRPr>
                <a:solidFill>
                  <a:schemeClr val="dk2"/>
                </a:solidFill>
                <a:latin typeface="Nunito"/>
                <a:ea typeface="Nunito"/>
                <a:cs typeface="Nunito"/>
                <a:sym typeface="Nunito"/>
              </a:defRPr>
            </a:lvl9pPr>
          </a:lstStyle>
          <a:p>
            <a:endParaRPr/>
          </a:p>
        </p:txBody>
      </p:sp>
    </p:spTree>
    <p:extLst>
      <p:ext uri="{BB962C8B-B14F-4D97-AF65-F5344CB8AC3E}">
        <p14:creationId xmlns:p14="http://schemas.microsoft.com/office/powerpoint/2010/main" val="1912088732"/>
      </p:ext>
    </p:extLst>
  </p:cSld>
  <p:clrMap bg1="lt1" tx1="dk1" bg2="dk2" tx2="lt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699" r:id="rId25"/>
    <p:sldLayoutId id="2147483700" r:id="rId26"/>
    <p:sldLayoutId id="2147483701" r:id="rId2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BED6DC"/>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E732E56-0448-4397-84DF-8BA6AF90958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MY"/>
          </a:p>
        </p:txBody>
      </p:sp>
      <p:sp>
        <p:nvSpPr>
          <p:cNvPr id="3" name="Text Placeholder 2">
            <a:extLst>
              <a:ext uri="{FF2B5EF4-FFF2-40B4-BE49-F238E27FC236}">
                <a16:creationId xmlns:a16="http://schemas.microsoft.com/office/drawing/2014/main" id="{F4A6B73F-1194-401D-9BC5-0E1761EC4A3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a:extLst>
              <a:ext uri="{FF2B5EF4-FFF2-40B4-BE49-F238E27FC236}">
                <a16:creationId xmlns:a16="http://schemas.microsoft.com/office/drawing/2014/main" id="{CFE16E6B-AA36-47D4-9434-2FC00098E49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152F814-A5A9-4915-BA2C-D498CBB3B7CE}" type="datetimeFigureOut">
              <a:rPr lang="en-MY" smtClean="0"/>
              <a:t>13/1/2023</a:t>
            </a:fld>
            <a:endParaRPr lang="en-MY"/>
          </a:p>
        </p:txBody>
      </p:sp>
      <p:sp>
        <p:nvSpPr>
          <p:cNvPr id="5" name="Footer Placeholder 4">
            <a:extLst>
              <a:ext uri="{FF2B5EF4-FFF2-40B4-BE49-F238E27FC236}">
                <a16:creationId xmlns:a16="http://schemas.microsoft.com/office/drawing/2014/main" id="{71055721-3C46-4455-A998-F9DDAEAF452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MY"/>
          </a:p>
        </p:txBody>
      </p:sp>
      <p:sp>
        <p:nvSpPr>
          <p:cNvPr id="6" name="Slide Number Placeholder 5">
            <a:extLst>
              <a:ext uri="{FF2B5EF4-FFF2-40B4-BE49-F238E27FC236}">
                <a16:creationId xmlns:a16="http://schemas.microsoft.com/office/drawing/2014/main" id="{58B503E4-6148-4184-BF48-C0A93CB31E9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854563D-E486-48D4-A129-56097E180FBF}" type="slidenum">
              <a:rPr lang="en-MY" smtClean="0"/>
              <a:t>‹#›</a:t>
            </a:fld>
            <a:endParaRPr lang="en-MY"/>
          </a:p>
        </p:txBody>
      </p:sp>
    </p:spTree>
    <p:extLst>
      <p:ext uri="{BB962C8B-B14F-4D97-AF65-F5344CB8AC3E}">
        <p14:creationId xmlns:p14="http://schemas.microsoft.com/office/powerpoint/2010/main" val="2424602986"/>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a:blip r:embed="rId31">
            <a:alphaModFix/>
          </a:blip>
          <a:stretch>
            <a:fillRect/>
          </a:stretch>
        </a:blip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2"/>
              </a:buClr>
              <a:buSzPts val="2800"/>
              <a:buFont typeface="Gaegu"/>
              <a:buNone/>
              <a:defRPr sz="2800" b="1">
                <a:solidFill>
                  <a:schemeClr val="dk2"/>
                </a:solidFill>
                <a:latin typeface="Gaegu"/>
                <a:ea typeface="Gaegu"/>
                <a:cs typeface="Gaegu"/>
                <a:sym typeface="Gaegu"/>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lvl="0" indent="-330200">
              <a:lnSpc>
                <a:spcPct val="115000"/>
              </a:lnSpc>
              <a:spcBef>
                <a:spcPts val="0"/>
              </a:spcBef>
              <a:spcAft>
                <a:spcPts val="0"/>
              </a:spcAft>
              <a:buClr>
                <a:schemeClr val="dk2"/>
              </a:buClr>
              <a:buSzPts val="1600"/>
              <a:buFont typeface="Questrial"/>
              <a:buChar char="●"/>
              <a:defRPr sz="1600">
                <a:solidFill>
                  <a:schemeClr val="dk2"/>
                </a:solidFill>
                <a:latin typeface="Questrial"/>
                <a:ea typeface="Questrial"/>
                <a:cs typeface="Questrial"/>
                <a:sym typeface="Questrial"/>
              </a:defRPr>
            </a:lvl1pPr>
            <a:lvl2pPr marL="914400" lvl="1" indent="-330200">
              <a:lnSpc>
                <a:spcPct val="115000"/>
              </a:lnSpc>
              <a:spcBef>
                <a:spcPts val="0"/>
              </a:spcBef>
              <a:spcAft>
                <a:spcPts val="0"/>
              </a:spcAft>
              <a:buClr>
                <a:schemeClr val="dk2"/>
              </a:buClr>
              <a:buSzPts val="1600"/>
              <a:buFont typeface="Questrial"/>
              <a:buChar char="○"/>
              <a:defRPr sz="1600">
                <a:solidFill>
                  <a:schemeClr val="dk2"/>
                </a:solidFill>
                <a:latin typeface="Questrial"/>
                <a:ea typeface="Questrial"/>
                <a:cs typeface="Questrial"/>
                <a:sym typeface="Questrial"/>
              </a:defRPr>
            </a:lvl2pPr>
            <a:lvl3pPr marL="1371600" lvl="2" indent="-330200">
              <a:lnSpc>
                <a:spcPct val="115000"/>
              </a:lnSpc>
              <a:spcBef>
                <a:spcPts val="0"/>
              </a:spcBef>
              <a:spcAft>
                <a:spcPts val="0"/>
              </a:spcAft>
              <a:buClr>
                <a:schemeClr val="dk2"/>
              </a:buClr>
              <a:buSzPts val="1600"/>
              <a:buFont typeface="Questrial"/>
              <a:buChar char="■"/>
              <a:defRPr sz="1600">
                <a:solidFill>
                  <a:schemeClr val="dk2"/>
                </a:solidFill>
                <a:latin typeface="Questrial"/>
                <a:ea typeface="Questrial"/>
                <a:cs typeface="Questrial"/>
                <a:sym typeface="Questrial"/>
              </a:defRPr>
            </a:lvl3pPr>
            <a:lvl4pPr marL="1828800" lvl="3" indent="-330200">
              <a:lnSpc>
                <a:spcPct val="115000"/>
              </a:lnSpc>
              <a:spcBef>
                <a:spcPts val="0"/>
              </a:spcBef>
              <a:spcAft>
                <a:spcPts val="0"/>
              </a:spcAft>
              <a:buClr>
                <a:schemeClr val="dk2"/>
              </a:buClr>
              <a:buSzPts val="1600"/>
              <a:buFont typeface="Questrial"/>
              <a:buChar char="●"/>
              <a:defRPr sz="1600">
                <a:solidFill>
                  <a:schemeClr val="dk2"/>
                </a:solidFill>
                <a:latin typeface="Questrial"/>
                <a:ea typeface="Questrial"/>
                <a:cs typeface="Questrial"/>
                <a:sym typeface="Questrial"/>
              </a:defRPr>
            </a:lvl4pPr>
            <a:lvl5pPr marL="2286000" lvl="4" indent="-330200">
              <a:lnSpc>
                <a:spcPct val="115000"/>
              </a:lnSpc>
              <a:spcBef>
                <a:spcPts val="0"/>
              </a:spcBef>
              <a:spcAft>
                <a:spcPts val="0"/>
              </a:spcAft>
              <a:buClr>
                <a:schemeClr val="dk2"/>
              </a:buClr>
              <a:buSzPts val="1600"/>
              <a:buFont typeface="Questrial"/>
              <a:buChar char="○"/>
              <a:defRPr sz="1600">
                <a:solidFill>
                  <a:schemeClr val="dk2"/>
                </a:solidFill>
                <a:latin typeface="Questrial"/>
                <a:ea typeface="Questrial"/>
                <a:cs typeface="Questrial"/>
                <a:sym typeface="Questrial"/>
              </a:defRPr>
            </a:lvl5pPr>
            <a:lvl6pPr marL="2743200" lvl="5" indent="-330200">
              <a:lnSpc>
                <a:spcPct val="115000"/>
              </a:lnSpc>
              <a:spcBef>
                <a:spcPts val="0"/>
              </a:spcBef>
              <a:spcAft>
                <a:spcPts val="0"/>
              </a:spcAft>
              <a:buClr>
                <a:schemeClr val="dk2"/>
              </a:buClr>
              <a:buSzPts val="1600"/>
              <a:buFont typeface="Questrial"/>
              <a:buChar char="■"/>
              <a:defRPr sz="1600">
                <a:solidFill>
                  <a:schemeClr val="dk2"/>
                </a:solidFill>
                <a:latin typeface="Questrial"/>
                <a:ea typeface="Questrial"/>
                <a:cs typeface="Questrial"/>
                <a:sym typeface="Questrial"/>
              </a:defRPr>
            </a:lvl6pPr>
            <a:lvl7pPr marL="3200400" lvl="6" indent="-330200">
              <a:lnSpc>
                <a:spcPct val="115000"/>
              </a:lnSpc>
              <a:spcBef>
                <a:spcPts val="0"/>
              </a:spcBef>
              <a:spcAft>
                <a:spcPts val="0"/>
              </a:spcAft>
              <a:buClr>
                <a:schemeClr val="dk2"/>
              </a:buClr>
              <a:buSzPts val="1600"/>
              <a:buFont typeface="Questrial"/>
              <a:buChar char="●"/>
              <a:defRPr sz="1600">
                <a:solidFill>
                  <a:schemeClr val="dk2"/>
                </a:solidFill>
                <a:latin typeface="Questrial"/>
                <a:ea typeface="Questrial"/>
                <a:cs typeface="Questrial"/>
                <a:sym typeface="Questrial"/>
              </a:defRPr>
            </a:lvl7pPr>
            <a:lvl8pPr marL="3657600" lvl="7" indent="-330200">
              <a:lnSpc>
                <a:spcPct val="115000"/>
              </a:lnSpc>
              <a:spcBef>
                <a:spcPts val="0"/>
              </a:spcBef>
              <a:spcAft>
                <a:spcPts val="0"/>
              </a:spcAft>
              <a:buClr>
                <a:schemeClr val="dk2"/>
              </a:buClr>
              <a:buSzPts val="1600"/>
              <a:buFont typeface="Questrial"/>
              <a:buChar char="○"/>
              <a:defRPr sz="1600">
                <a:solidFill>
                  <a:schemeClr val="dk2"/>
                </a:solidFill>
                <a:latin typeface="Questrial"/>
                <a:ea typeface="Questrial"/>
                <a:cs typeface="Questrial"/>
                <a:sym typeface="Questrial"/>
              </a:defRPr>
            </a:lvl8pPr>
            <a:lvl9pPr marL="4114800" lvl="8" indent="-330200">
              <a:lnSpc>
                <a:spcPct val="115000"/>
              </a:lnSpc>
              <a:spcBef>
                <a:spcPts val="0"/>
              </a:spcBef>
              <a:spcAft>
                <a:spcPts val="0"/>
              </a:spcAft>
              <a:buClr>
                <a:schemeClr val="dk2"/>
              </a:buClr>
              <a:buSzPts val="1600"/>
              <a:buFont typeface="Questrial"/>
              <a:buChar char="■"/>
              <a:defRPr sz="1600">
                <a:solidFill>
                  <a:schemeClr val="dk2"/>
                </a:solidFill>
                <a:latin typeface="Questrial"/>
                <a:ea typeface="Questrial"/>
                <a:cs typeface="Questrial"/>
                <a:sym typeface="Questrial"/>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363789160"/>
      </p:ext>
    </p:extLst>
  </p:cSld>
  <p:clrMap bg1="lt1" tx1="dk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13/2023</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26063949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31.svg"/><Relationship Id="rId3" Type="http://schemas.openxmlformats.org/officeDocument/2006/relationships/image" Target="../media/image21.png"/><Relationship Id="rId7" Type="http://schemas.openxmlformats.org/officeDocument/2006/relationships/image" Target="../media/image42.png"/><Relationship Id="rId12" Type="http://schemas.openxmlformats.org/officeDocument/2006/relationships/image" Target="../media/image30.png"/><Relationship Id="rId2" Type="http://schemas.openxmlformats.org/officeDocument/2006/relationships/image" Target="../media/image20.png"/><Relationship Id="rId1" Type="http://schemas.openxmlformats.org/officeDocument/2006/relationships/slideLayout" Target="../slideLayouts/slideLayout18.xml"/><Relationship Id="rId6" Type="http://schemas.openxmlformats.org/officeDocument/2006/relationships/image" Target="../media/image36.png"/><Relationship Id="rId11" Type="http://schemas.openxmlformats.org/officeDocument/2006/relationships/image" Target="../media/image29.svg"/><Relationship Id="rId5" Type="http://schemas.openxmlformats.org/officeDocument/2006/relationships/image" Target="../media/image34.png"/><Relationship Id="rId10" Type="http://schemas.openxmlformats.org/officeDocument/2006/relationships/image" Target="../media/image28.png"/><Relationship Id="rId4" Type="http://schemas.microsoft.com/office/2007/relationships/hdphoto" Target="../media/hdphoto1.wdp"/><Relationship Id="rId9" Type="http://schemas.openxmlformats.org/officeDocument/2006/relationships/image" Target="../media/image44.png"/><Relationship Id="rId14" Type="http://schemas.openxmlformats.org/officeDocument/2006/relationships/image" Target="../media/image45.png"/></Relationships>
</file>

<file path=ppt/slides/_rels/slide11.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31.svg"/><Relationship Id="rId18" Type="http://schemas.openxmlformats.org/officeDocument/2006/relationships/image" Target="../media/image47.png"/><Relationship Id="rId3" Type="http://schemas.openxmlformats.org/officeDocument/2006/relationships/image" Target="../media/image21.png"/><Relationship Id="rId7" Type="http://schemas.openxmlformats.org/officeDocument/2006/relationships/image" Target="../media/image36.png"/><Relationship Id="rId12" Type="http://schemas.openxmlformats.org/officeDocument/2006/relationships/image" Target="../media/image30.png"/><Relationship Id="rId17" Type="http://schemas.openxmlformats.org/officeDocument/2006/relationships/slide" Target="slide11.xml"/><Relationship Id="rId2" Type="http://schemas.openxmlformats.org/officeDocument/2006/relationships/image" Target="../media/image20.png"/><Relationship Id="rId16" Type="http://schemas.openxmlformats.org/officeDocument/2006/relationships/image" Target="../media/image46.png"/><Relationship Id="rId20" Type="http://schemas.openxmlformats.org/officeDocument/2006/relationships/image" Target="../media/image48.png"/><Relationship Id="rId1" Type="http://schemas.openxmlformats.org/officeDocument/2006/relationships/slideLayout" Target="../slideLayouts/slideLayout18.xml"/><Relationship Id="rId6" Type="http://schemas.openxmlformats.org/officeDocument/2006/relationships/image" Target="../media/image35.png"/><Relationship Id="rId11" Type="http://schemas.openxmlformats.org/officeDocument/2006/relationships/image" Target="../media/image29.svg"/><Relationship Id="rId5" Type="http://schemas.openxmlformats.org/officeDocument/2006/relationships/image" Target="../media/image34.png"/><Relationship Id="rId15" Type="http://schemas.openxmlformats.org/officeDocument/2006/relationships/slide" Target="slide18.xml"/><Relationship Id="rId10" Type="http://schemas.openxmlformats.org/officeDocument/2006/relationships/image" Target="../media/image28.png"/><Relationship Id="rId19" Type="http://schemas.microsoft.com/office/2007/relationships/hdphoto" Target="../media/hdphoto2.wdp"/><Relationship Id="rId4" Type="http://schemas.microsoft.com/office/2007/relationships/hdphoto" Target="../media/hdphoto1.wdp"/><Relationship Id="rId9" Type="http://schemas.openxmlformats.org/officeDocument/2006/relationships/image" Target="../media/image38.png"/><Relationship Id="rId14" Type="http://schemas.openxmlformats.org/officeDocument/2006/relationships/image" Target="../media/image45.png"/></Relationships>
</file>

<file path=ppt/slides/_rels/slide12.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6.png"/><Relationship Id="rId18" Type="http://schemas.openxmlformats.org/officeDocument/2006/relationships/image" Target="../media/image31.sv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43.svg"/><Relationship Id="rId17" Type="http://schemas.openxmlformats.org/officeDocument/2006/relationships/image" Target="../media/image30.png"/><Relationship Id="rId2" Type="http://schemas.openxmlformats.org/officeDocument/2006/relationships/image" Target="../media/image20.png"/><Relationship Id="rId16" Type="http://schemas.openxmlformats.org/officeDocument/2006/relationships/image" Target="../media/image33.svg"/><Relationship Id="rId1" Type="http://schemas.openxmlformats.org/officeDocument/2006/relationships/slideLayout" Target="../slideLayouts/slideLayout18.xml"/><Relationship Id="rId6" Type="http://schemas.openxmlformats.org/officeDocument/2006/relationships/image" Target="../media/image24.png"/><Relationship Id="rId11" Type="http://schemas.openxmlformats.org/officeDocument/2006/relationships/image" Target="../media/image42.png"/><Relationship Id="rId5" Type="http://schemas.openxmlformats.org/officeDocument/2006/relationships/image" Target="../media/image23.png"/><Relationship Id="rId15" Type="http://schemas.openxmlformats.org/officeDocument/2006/relationships/image" Target="../media/image32.png"/><Relationship Id="rId10" Type="http://schemas.openxmlformats.org/officeDocument/2006/relationships/image" Target="../media/image34.png"/><Relationship Id="rId19" Type="http://schemas.openxmlformats.org/officeDocument/2006/relationships/image" Target="../media/image45.png"/><Relationship Id="rId4" Type="http://schemas.microsoft.com/office/2007/relationships/hdphoto" Target="../media/hdphoto1.wdp"/><Relationship Id="rId9" Type="http://schemas.openxmlformats.org/officeDocument/2006/relationships/image" Target="../media/image27.png"/><Relationship Id="rId14" Type="http://schemas.openxmlformats.org/officeDocument/2006/relationships/image" Target="../media/image44.png"/></Relationships>
</file>

<file path=ppt/slides/_rels/slide13.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31.svg"/><Relationship Id="rId3" Type="http://schemas.openxmlformats.org/officeDocument/2006/relationships/image" Target="../media/image21.png"/><Relationship Id="rId7" Type="http://schemas.openxmlformats.org/officeDocument/2006/relationships/image" Target="../media/image42.png"/><Relationship Id="rId12" Type="http://schemas.openxmlformats.org/officeDocument/2006/relationships/image" Target="../media/image30.png"/><Relationship Id="rId2" Type="http://schemas.openxmlformats.org/officeDocument/2006/relationships/image" Target="../media/image20.png"/><Relationship Id="rId1" Type="http://schemas.openxmlformats.org/officeDocument/2006/relationships/slideLayout" Target="../slideLayouts/slideLayout18.xml"/><Relationship Id="rId6" Type="http://schemas.openxmlformats.org/officeDocument/2006/relationships/image" Target="../media/image36.png"/><Relationship Id="rId11" Type="http://schemas.openxmlformats.org/officeDocument/2006/relationships/image" Target="../media/image29.svg"/><Relationship Id="rId5" Type="http://schemas.openxmlformats.org/officeDocument/2006/relationships/image" Target="../media/image34.png"/><Relationship Id="rId10" Type="http://schemas.openxmlformats.org/officeDocument/2006/relationships/image" Target="../media/image28.png"/><Relationship Id="rId4" Type="http://schemas.microsoft.com/office/2007/relationships/hdphoto" Target="../media/hdphoto1.wdp"/><Relationship Id="rId9" Type="http://schemas.openxmlformats.org/officeDocument/2006/relationships/image" Target="../media/image45.png"/><Relationship Id="rId14" Type="http://schemas.openxmlformats.org/officeDocument/2006/relationships/image" Target="../media/image49.png"/></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6.png"/><Relationship Id="rId18" Type="http://schemas.openxmlformats.org/officeDocument/2006/relationships/image" Target="../media/image31.sv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43.svg"/><Relationship Id="rId17" Type="http://schemas.openxmlformats.org/officeDocument/2006/relationships/image" Target="../media/image30.png"/><Relationship Id="rId2" Type="http://schemas.openxmlformats.org/officeDocument/2006/relationships/image" Target="../media/image20.png"/><Relationship Id="rId16" Type="http://schemas.openxmlformats.org/officeDocument/2006/relationships/image" Target="../media/image33.svg"/><Relationship Id="rId1" Type="http://schemas.openxmlformats.org/officeDocument/2006/relationships/slideLayout" Target="../slideLayouts/slideLayout18.xml"/><Relationship Id="rId6" Type="http://schemas.openxmlformats.org/officeDocument/2006/relationships/image" Target="../media/image24.png"/><Relationship Id="rId11" Type="http://schemas.openxmlformats.org/officeDocument/2006/relationships/image" Target="../media/image42.png"/><Relationship Id="rId5" Type="http://schemas.openxmlformats.org/officeDocument/2006/relationships/image" Target="../media/image23.png"/><Relationship Id="rId15" Type="http://schemas.openxmlformats.org/officeDocument/2006/relationships/image" Target="../media/image32.png"/><Relationship Id="rId10" Type="http://schemas.openxmlformats.org/officeDocument/2006/relationships/image" Target="../media/image34.png"/><Relationship Id="rId19" Type="http://schemas.openxmlformats.org/officeDocument/2006/relationships/image" Target="../media/image45.png"/><Relationship Id="rId4" Type="http://schemas.microsoft.com/office/2007/relationships/hdphoto" Target="../media/hdphoto1.wdp"/><Relationship Id="rId9" Type="http://schemas.openxmlformats.org/officeDocument/2006/relationships/image" Target="../media/image27.png"/><Relationship Id="rId14" Type="http://schemas.openxmlformats.org/officeDocument/2006/relationships/image" Target="../media/image44.png"/></Relationships>
</file>

<file path=ppt/slides/_rels/slide15.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42.png"/><Relationship Id="rId3" Type="http://schemas.openxmlformats.org/officeDocument/2006/relationships/image" Target="../media/image21.png"/><Relationship Id="rId7" Type="http://schemas.openxmlformats.org/officeDocument/2006/relationships/image" Target="../media/image44.png"/><Relationship Id="rId12" Type="http://schemas.openxmlformats.org/officeDocument/2006/relationships/image" Target="../media/image31.svg"/><Relationship Id="rId2" Type="http://schemas.openxmlformats.org/officeDocument/2006/relationships/image" Target="../media/image20.png"/><Relationship Id="rId1" Type="http://schemas.openxmlformats.org/officeDocument/2006/relationships/slideLayout" Target="../slideLayouts/slideLayout18.xml"/><Relationship Id="rId6" Type="http://schemas.openxmlformats.org/officeDocument/2006/relationships/image" Target="../media/image36.png"/><Relationship Id="rId11" Type="http://schemas.openxmlformats.org/officeDocument/2006/relationships/image" Target="../media/image30.png"/><Relationship Id="rId5" Type="http://schemas.openxmlformats.org/officeDocument/2006/relationships/image" Target="../media/image34.png"/><Relationship Id="rId10" Type="http://schemas.openxmlformats.org/officeDocument/2006/relationships/image" Target="../media/image29.svg"/><Relationship Id="rId4" Type="http://schemas.microsoft.com/office/2007/relationships/hdphoto" Target="../media/hdphoto1.wdp"/><Relationship Id="rId9" Type="http://schemas.openxmlformats.org/officeDocument/2006/relationships/image" Target="../media/image28.png"/><Relationship Id="rId14" Type="http://schemas.openxmlformats.org/officeDocument/2006/relationships/image" Target="../media/image43.svg"/></Relationships>
</file>

<file path=ppt/slides/_rels/slide150.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710.xml"/></Relationships>
</file>

<file path=ppt/slides/_rels/slide16.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18" Type="http://schemas.openxmlformats.org/officeDocument/2006/relationships/image" Target="../media/image64.png"/><Relationship Id="rId3" Type="http://schemas.microsoft.com/office/2007/relationships/hdphoto" Target="../media/hdphoto3.wdp"/><Relationship Id="rId7" Type="http://schemas.openxmlformats.org/officeDocument/2006/relationships/image" Target="../media/image54.png"/><Relationship Id="rId12" Type="http://schemas.openxmlformats.org/officeDocument/2006/relationships/image" Target="../media/image59.svg"/><Relationship Id="rId17" Type="http://schemas.openxmlformats.org/officeDocument/2006/relationships/slide" Target="slide18.xml"/><Relationship Id="rId2" Type="http://schemas.openxmlformats.org/officeDocument/2006/relationships/image" Target="../media/image50.png"/><Relationship Id="rId16" Type="http://schemas.openxmlformats.org/officeDocument/2006/relationships/image" Target="../media/image63.png"/><Relationship Id="rId1" Type="http://schemas.openxmlformats.org/officeDocument/2006/relationships/slideLayout" Target="../slideLayouts/slideLayout18.xml"/><Relationship Id="rId6" Type="http://schemas.openxmlformats.org/officeDocument/2006/relationships/image" Target="../media/image53.svg"/><Relationship Id="rId11" Type="http://schemas.openxmlformats.org/officeDocument/2006/relationships/image" Target="../media/image58.png"/><Relationship Id="rId5" Type="http://schemas.openxmlformats.org/officeDocument/2006/relationships/image" Target="../media/image52.png"/><Relationship Id="rId15" Type="http://schemas.openxmlformats.org/officeDocument/2006/relationships/image" Target="../media/image62.svg"/><Relationship Id="rId10" Type="http://schemas.openxmlformats.org/officeDocument/2006/relationships/image" Target="../media/image57.png"/><Relationship Id="rId19" Type="http://schemas.openxmlformats.org/officeDocument/2006/relationships/image" Target="../media/image65.svg"/><Relationship Id="rId4" Type="http://schemas.openxmlformats.org/officeDocument/2006/relationships/image" Target="../media/image51.png"/><Relationship Id="rId9" Type="http://schemas.openxmlformats.org/officeDocument/2006/relationships/image" Target="../media/image56.svg"/><Relationship Id="rId14" Type="http://schemas.openxmlformats.org/officeDocument/2006/relationships/image" Target="../media/image61.png"/></Relationships>
</file>

<file path=ppt/slides/_rels/slide160.xml.rels><?xml version="1.0" encoding="UTF-8" standalone="yes"?>
<Relationships xmlns="http://schemas.openxmlformats.org/package/2006/relationships"><Relationship Id="rId8" Type="http://schemas.openxmlformats.org/officeDocument/2006/relationships/slide" Target="slide200.xml"/><Relationship Id="rId3" Type="http://schemas.openxmlformats.org/officeDocument/2006/relationships/image" Target="../media/image118.png"/><Relationship Id="rId7" Type="http://schemas.openxmlformats.org/officeDocument/2006/relationships/image" Target="../media/image120.png"/><Relationship Id="rId2" Type="http://schemas.openxmlformats.org/officeDocument/2006/relationships/image" Target="../media/image117.png"/><Relationship Id="rId1" Type="http://schemas.openxmlformats.org/officeDocument/2006/relationships/slideLayout" Target="../slideLayouts/slideLayout710.xml"/><Relationship Id="rId6" Type="http://schemas.openxmlformats.org/officeDocument/2006/relationships/slide" Target="slide190.xml"/><Relationship Id="rId11" Type="http://schemas.openxmlformats.org/officeDocument/2006/relationships/image" Target="../media/image123.png"/><Relationship Id="rId5" Type="http://schemas.openxmlformats.org/officeDocument/2006/relationships/image" Target="../media/image119.png"/><Relationship Id="rId10" Type="http://schemas.openxmlformats.org/officeDocument/2006/relationships/image" Target="../media/image122.png"/><Relationship Id="rId4" Type="http://schemas.openxmlformats.org/officeDocument/2006/relationships/slide" Target="slide180.xml"/><Relationship Id="rId9" Type="http://schemas.openxmlformats.org/officeDocument/2006/relationships/image" Target="../media/image121.png"/></Relationships>
</file>

<file path=ppt/slides/_rels/slide17.xml.rels><?xml version="1.0" encoding="UTF-8" standalone="yes"?>
<Relationships xmlns="http://schemas.openxmlformats.org/package/2006/relationships"><Relationship Id="rId8" Type="http://schemas.openxmlformats.org/officeDocument/2006/relationships/image" Target="../media/image67.jpeg"/><Relationship Id="rId13" Type="http://schemas.openxmlformats.org/officeDocument/2006/relationships/slide" Target="slide18.xml"/><Relationship Id="rId18" Type="http://schemas.openxmlformats.org/officeDocument/2006/relationships/image" Target="../media/image74.png"/><Relationship Id="rId3" Type="http://schemas.microsoft.com/office/2007/relationships/hdphoto" Target="../media/hdphoto3.wdp"/><Relationship Id="rId21" Type="http://schemas.openxmlformats.org/officeDocument/2006/relationships/slide" Target="slide19.xml"/><Relationship Id="rId7" Type="http://schemas.openxmlformats.org/officeDocument/2006/relationships/image" Target="../media/image53.svg"/><Relationship Id="rId12" Type="http://schemas.openxmlformats.org/officeDocument/2006/relationships/image" Target="../media/image70.jpeg"/><Relationship Id="rId17" Type="http://schemas.openxmlformats.org/officeDocument/2006/relationships/slide" Target="slide21.xml"/><Relationship Id="rId2" Type="http://schemas.openxmlformats.org/officeDocument/2006/relationships/image" Target="../media/image50.png"/><Relationship Id="rId16" Type="http://schemas.openxmlformats.org/officeDocument/2006/relationships/image" Target="../media/image73.jpeg"/><Relationship Id="rId20" Type="http://schemas.openxmlformats.org/officeDocument/2006/relationships/image" Target="../media/image76.jpeg"/><Relationship Id="rId1" Type="http://schemas.openxmlformats.org/officeDocument/2006/relationships/slideLayout" Target="../slideLayouts/slideLayout18.xml"/><Relationship Id="rId6" Type="http://schemas.openxmlformats.org/officeDocument/2006/relationships/image" Target="../media/image52.png"/><Relationship Id="rId11" Type="http://schemas.openxmlformats.org/officeDocument/2006/relationships/image" Target="../media/image69.svg"/><Relationship Id="rId5" Type="http://schemas.openxmlformats.org/officeDocument/2006/relationships/image" Target="../media/image51.png"/><Relationship Id="rId15" Type="http://schemas.openxmlformats.org/officeDocument/2006/relationships/image" Target="../media/image72.svg"/><Relationship Id="rId23" Type="http://schemas.openxmlformats.org/officeDocument/2006/relationships/image" Target="../media/image78.svg"/><Relationship Id="rId10" Type="http://schemas.openxmlformats.org/officeDocument/2006/relationships/image" Target="../media/image68.png"/><Relationship Id="rId19" Type="http://schemas.openxmlformats.org/officeDocument/2006/relationships/image" Target="../media/image75.svg"/><Relationship Id="rId4" Type="http://schemas.openxmlformats.org/officeDocument/2006/relationships/image" Target="../media/image66.png"/><Relationship Id="rId9" Type="http://schemas.openxmlformats.org/officeDocument/2006/relationships/slide" Target="slide20.xml"/><Relationship Id="rId14" Type="http://schemas.openxmlformats.org/officeDocument/2006/relationships/image" Target="../media/image71.png"/><Relationship Id="rId22" Type="http://schemas.openxmlformats.org/officeDocument/2006/relationships/image" Target="../media/image77.png"/></Relationships>
</file>

<file path=ppt/slides/_rels/slide170.xml.rels><?xml version="1.0" encoding="UTF-8" standalone="yes"?>
<Relationships xmlns="http://schemas.openxmlformats.org/package/2006/relationships"><Relationship Id="rId8" Type="http://schemas.openxmlformats.org/officeDocument/2006/relationships/slide" Target="slide200.xml"/><Relationship Id="rId3" Type="http://schemas.openxmlformats.org/officeDocument/2006/relationships/image" Target="../media/image123.png"/><Relationship Id="rId7" Type="http://schemas.openxmlformats.org/officeDocument/2006/relationships/image" Target="../media/image120.png"/><Relationship Id="rId2" Type="http://schemas.openxmlformats.org/officeDocument/2006/relationships/image" Target="../media/image122.png"/><Relationship Id="rId1" Type="http://schemas.openxmlformats.org/officeDocument/2006/relationships/slideLayout" Target="../slideLayouts/slideLayout180.xml"/><Relationship Id="rId6" Type="http://schemas.openxmlformats.org/officeDocument/2006/relationships/slide" Target="slide190.xml"/><Relationship Id="rId5" Type="http://schemas.openxmlformats.org/officeDocument/2006/relationships/image" Target="../media/image119.png"/><Relationship Id="rId4" Type="http://schemas.openxmlformats.org/officeDocument/2006/relationships/slide" Target="slide180.xml"/><Relationship Id="rId9" Type="http://schemas.openxmlformats.org/officeDocument/2006/relationships/image" Target="../media/image121.png"/></Relationships>
</file>

<file path=ppt/slides/_rels/slide18.xml.rels><?xml version="1.0" encoding="UTF-8" standalone="yes"?>
<Relationships xmlns="http://schemas.openxmlformats.org/package/2006/relationships"><Relationship Id="rId8" Type="http://schemas.openxmlformats.org/officeDocument/2006/relationships/image" Target="../media/image85.svg"/><Relationship Id="rId13" Type="http://schemas.openxmlformats.org/officeDocument/2006/relationships/image" Target="../media/image68.png"/><Relationship Id="rId18" Type="http://schemas.openxmlformats.org/officeDocument/2006/relationships/image" Target="../media/image75.svg"/><Relationship Id="rId26" Type="http://schemas.openxmlformats.org/officeDocument/2006/relationships/image" Target="../media/image78.svg"/><Relationship Id="rId3" Type="http://schemas.openxmlformats.org/officeDocument/2006/relationships/image" Target="../media/image80.png"/><Relationship Id="rId21" Type="http://schemas.openxmlformats.org/officeDocument/2006/relationships/image" Target="../media/image71.png"/><Relationship Id="rId7" Type="http://schemas.openxmlformats.org/officeDocument/2006/relationships/image" Target="../media/image84.png"/><Relationship Id="rId12" Type="http://schemas.openxmlformats.org/officeDocument/2006/relationships/slide" Target="slide20.xml"/><Relationship Id="rId17" Type="http://schemas.openxmlformats.org/officeDocument/2006/relationships/image" Target="../media/image74.png"/><Relationship Id="rId25" Type="http://schemas.openxmlformats.org/officeDocument/2006/relationships/image" Target="../media/image77.png"/><Relationship Id="rId2" Type="http://schemas.openxmlformats.org/officeDocument/2006/relationships/image" Target="../media/image79.png"/><Relationship Id="rId16" Type="http://schemas.openxmlformats.org/officeDocument/2006/relationships/slide" Target="slide21.xml"/><Relationship Id="rId20" Type="http://schemas.openxmlformats.org/officeDocument/2006/relationships/slide" Target="slide18.xml"/><Relationship Id="rId1" Type="http://schemas.openxmlformats.org/officeDocument/2006/relationships/slideLayout" Target="../slideLayouts/slideLayout18.xml"/><Relationship Id="rId6" Type="http://schemas.openxmlformats.org/officeDocument/2006/relationships/image" Target="../media/image83.svg"/><Relationship Id="rId11" Type="http://schemas.openxmlformats.org/officeDocument/2006/relationships/image" Target="../media/image67.jpeg"/><Relationship Id="rId24" Type="http://schemas.openxmlformats.org/officeDocument/2006/relationships/slide" Target="slide19.xml"/><Relationship Id="rId5" Type="http://schemas.openxmlformats.org/officeDocument/2006/relationships/image" Target="../media/image82.png"/><Relationship Id="rId15" Type="http://schemas.openxmlformats.org/officeDocument/2006/relationships/image" Target="../media/image73.jpeg"/><Relationship Id="rId23" Type="http://schemas.openxmlformats.org/officeDocument/2006/relationships/image" Target="../media/image76.jpeg"/><Relationship Id="rId10" Type="http://schemas.openxmlformats.org/officeDocument/2006/relationships/image" Target="../media/image87.svg"/><Relationship Id="rId19" Type="http://schemas.openxmlformats.org/officeDocument/2006/relationships/image" Target="../media/image70.jpeg"/><Relationship Id="rId4" Type="http://schemas.openxmlformats.org/officeDocument/2006/relationships/image" Target="../media/image81.svg"/><Relationship Id="rId9" Type="http://schemas.openxmlformats.org/officeDocument/2006/relationships/image" Target="../media/image86.png"/><Relationship Id="rId14" Type="http://schemas.openxmlformats.org/officeDocument/2006/relationships/image" Target="../media/image69.svg"/><Relationship Id="rId22" Type="http://schemas.openxmlformats.org/officeDocument/2006/relationships/image" Target="../media/image72.svg"/></Relationships>
</file>

<file path=ppt/slides/_rels/slide180.xml.rels><?xml version="1.0" encoding="UTF-8" standalone="yes"?>
<Relationships xmlns="http://schemas.openxmlformats.org/package/2006/relationships"><Relationship Id="rId8" Type="http://schemas.openxmlformats.org/officeDocument/2006/relationships/image" Target="../media/image400.png"/><Relationship Id="rId3" Type="http://schemas.openxmlformats.org/officeDocument/2006/relationships/slide" Target="slide90.xml"/><Relationship Id="rId7" Type="http://schemas.openxmlformats.org/officeDocument/2006/relationships/image" Target="../media/image390.png"/><Relationship Id="rId2" Type="http://schemas.openxmlformats.org/officeDocument/2006/relationships/slide" Target="slide170.xml"/><Relationship Id="rId1" Type="http://schemas.openxmlformats.org/officeDocument/2006/relationships/slideLayout" Target="../slideLayouts/slideLayout180.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8" Type="http://schemas.openxmlformats.org/officeDocument/2006/relationships/image" Target="../media/image85.svg"/><Relationship Id="rId13" Type="http://schemas.openxmlformats.org/officeDocument/2006/relationships/image" Target="../media/image68.png"/><Relationship Id="rId18" Type="http://schemas.openxmlformats.org/officeDocument/2006/relationships/image" Target="../media/image75.svg"/><Relationship Id="rId26" Type="http://schemas.openxmlformats.org/officeDocument/2006/relationships/image" Target="../media/image78.svg"/><Relationship Id="rId3" Type="http://schemas.openxmlformats.org/officeDocument/2006/relationships/image" Target="../media/image80.png"/><Relationship Id="rId21" Type="http://schemas.openxmlformats.org/officeDocument/2006/relationships/image" Target="../media/image71.png"/><Relationship Id="rId7" Type="http://schemas.openxmlformats.org/officeDocument/2006/relationships/image" Target="../media/image84.png"/><Relationship Id="rId12" Type="http://schemas.openxmlformats.org/officeDocument/2006/relationships/slide" Target="slide20.xml"/><Relationship Id="rId17" Type="http://schemas.openxmlformats.org/officeDocument/2006/relationships/image" Target="../media/image74.png"/><Relationship Id="rId25" Type="http://schemas.openxmlformats.org/officeDocument/2006/relationships/image" Target="../media/image77.png"/><Relationship Id="rId2" Type="http://schemas.openxmlformats.org/officeDocument/2006/relationships/image" Target="../media/image79.png"/><Relationship Id="rId16" Type="http://schemas.openxmlformats.org/officeDocument/2006/relationships/slide" Target="slide21.xml"/><Relationship Id="rId20" Type="http://schemas.openxmlformats.org/officeDocument/2006/relationships/slide" Target="slide18.xml"/><Relationship Id="rId1" Type="http://schemas.openxmlformats.org/officeDocument/2006/relationships/slideLayout" Target="../slideLayouts/slideLayout18.xml"/><Relationship Id="rId6" Type="http://schemas.openxmlformats.org/officeDocument/2006/relationships/image" Target="../media/image83.svg"/><Relationship Id="rId11" Type="http://schemas.openxmlformats.org/officeDocument/2006/relationships/image" Target="../media/image67.jpeg"/><Relationship Id="rId24" Type="http://schemas.openxmlformats.org/officeDocument/2006/relationships/slide" Target="slide19.xml"/><Relationship Id="rId5" Type="http://schemas.openxmlformats.org/officeDocument/2006/relationships/image" Target="../media/image82.png"/><Relationship Id="rId15" Type="http://schemas.openxmlformats.org/officeDocument/2006/relationships/image" Target="../media/image73.jpeg"/><Relationship Id="rId23" Type="http://schemas.openxmlformats.org/officeDocument/2006/relationships/image" Target="../media/image76.jpeg"/><Relationship Id="rId10" Type="http://schemas.openxmlformats.org/officeDocument/2006/relationships/image" Target="../media/image87.svg"/><Relationship Id="rId19" Type="http://schemas.openxmlformats.org/officeDocument/2006/relationships/image" Target="../media/image70.jpeg"/><Relationship Id="rId4" Type="http://schemas.openxmlformats.org/officeDocument/2006/relationships/image" Target="../media/image81.svg"/><Relationship Id="rId9" Type="http://schemas.openxmlformats.org/officeDocument/2006/relationships/image" Target="../media/image86.png"/><Relationship Id="rId14" Type="http://schemas.openxmlformats.org/officeDocument/2006/relationships/image" Target="../media/image69.svg"/><Relationship Id="rId22" Type="http://schemas.openxmlformats.org/officeDocument/2006/relationships/image" Target="../media/image72.svg"/></Relationships>
</file>

<file path=ppt/slides/_rels/slide190.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 Target="slide180.xml"/><Relationship Id="rId7" Type="http://schemas.openxmlformats.org/officeDocument/2006/relationships/image" Target="../media/image123.png"/><Relationship Id="rId2" Type="http://schemas.openxmlformats.org/officeDocument/2006/relationships/slide" Target="slide170.xml"/><Relationship Id="rId1" Type="http://schemas.openxmlformats.org/officeDocument/2006/relationships/slideLayout" Target="../slideLayouts/slideLayout180.xml"/><Relationship Id="rId6" Type="http://schemas.openxmlformats.org/officeDocument/2006/relationships/image" Target="../media/image122.png"/><Relationship Id="rId5" Type="http://schemas.openxmlformats.org/officeDocument/2006/relationships/image" Target="../media/image420.png"/><Relationship Id="rId4" Type="http://schemas.openxmlformats.org/officeDocument/2006/relationships/image" Target="../media/image410.png"/><Relationship Id="rId9" Type="http://schemas.openxmlformats.org/officeDocument/2006/relationships/image" Target="../media/image440.png"/></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slide" Target="slide3.xml"/><Relationship Id="rId3" Type="http://schemas.openxmlformats.org/officeDocument/2006/relationships/image" Target="../media/image10.png"/><Relationship Id="rId7" Type="http://schemas.openxmlformats.org/officeDocument/2006/relationships/slide" Target="slide33.xml"/><Relationship Id="rId12" Type="http://schemas.openxmlformats.org/officeDocument/2006/relationships/image" Target="../media/image13.png"/><Relationship Id="rId2" Type="http://schemas.openxmlformats.org/officeDocument/2006/relationships/image" Target="../media/image9.png"/><Relationship Id="rId1" Type="http://schemas.openxmlformats.org/officeDocument/2006/relationships/slideLayout" Target="../slideLayouts/slideLayout52.xml"/><Relationship Id="rId6" Type="http://schemas.openxmlformats.org/officeDocument/2006/relationships/image" Target="../media/image11.png"/><Relationship Id="rId11" Type="http://schemas.openxmlformats.org/officeDocument/2006/relationships/image" Target="../media/image12.png"/><Relationship Id="rId5" Type="http://schemas.openxmlformats.org/officeDocument/2006/relationships/image" Target="../media/image10.png"/><Relationship Id="rId10" Type="http://schemas.openxmlformats.org/officeDocument/2006/relationships/slide" Target="slide39.xml"/><Relationship Id="rId4" Type="http://schemas.openxmlformats.org/officeDocument/2006/relationships/slide" Target="slide7.xml"/><Relationship Id="rId9" Type="http://schemas.openxmlformats.org/officeDocument/2006/relationships/image" Target="../media/image12.png"/><Relationship Id="rId14" Type="http://schemas.openxmlformats.org/officeDocument/2006/relationships/image" Target="../media/image13.png"/></Relationships>
</file>

<file path=ppt/slides/_rels/slide20.xml.rels><?xml version="1.0" encoding="UTF-8" standalone="yes"?>
<Relationships xmlns="http://schemas.openxmlformats.org/package/2006/relationships"><Relationship Id="rId8" Type="http://schemas.openxmlformats.org/officeDocument/2006/relationships/image" Target="../media/image85.svg"/><Relationship Id="rId13" Type="http://schemas.openxmlformats.org/officeDocument/2006/relationships/image" Target="../media/image68.png"/><Relationship Id="rId18" Type="http://schemas.openxmlformats.org/officeDocument/2006/relationships/image" Target="../media/image75.svg"/><Relationship Id="rId26" Type="http://schemas.openxmlformats.org/officeDocument/2006/relationships/image" Target="../media/image72.svg"/><Relationship Id="rId3" Type="http://schemas.openxmlformats.org/officeDocument/2006/relationships/image" Target="../media/image80.png"/><Relationship Id="rId21" Type="http://schemas.openxmlformats.org/officeDocument/2006/relationships/image" Target="../media/image77.png"/><Relationship Id="rId7" Type="http://schemas.openxmlformats.org/officeDocument/2006/relationships/image" Target="../media/image84.png"/><Relationship Id="rId12" Type="http://schemas.openxmlformats.org/officeDocument/2006/relationships/slide" Target="slide20.xml"/><Relationship Id="rId17" Type="http://schemas.openxmlformats.org/officeDocument/2006/relationships/image" Target="../media/image74.png"/><Relationship Id="rId25" Type="http://schemas.openxmlformats.org/officeDocument/2006/relationships/image" Target="../media/image71.png"/><Relationship Id="rId2" Type="http://schemas.openxmlformats.org/officeDocument/2006/relationships/image" Target="../media/image79.png"/><Relationship Id="rId16" Type="http://schemas.openxmlformats.org/officeDocument/2006/relationships/slide" Target="slide21.xml"/><Relationship Id="rId20" Type="http://schemas.openxmlformats.org/officeDocument/2006/relationships/slide" Target="slide19.xml"/><Relationship Id="rId1" Type="http://schemas.openxmlformats.org/officeDocument/2006/relationships/slideLayout" Target="../slideLayouts/slideLayout18.xml"/><Relationship Id="rId6" Type="http://schemas.openxmlformats.org/officeDocument/2006/relationships/image" Target="../media/image83.svg"/><Relationship Id="rId11" Type="http://schemas.openxmlformats.org/officeDocument/2006/relationships/image" Target="../media/image67.jpeg"/><Relationship Id="rId24" Type="http://schemas.openxmlformats.org/officeDocument/2006/relationships/slide" Target="slide18.xml"/><Relationship Id="rId5" Type="http://schemas.openxmlformats.org/officeDocument/2006/relationships/image" Target="../media/image82.png"/><Relationship Id="rId15" Type="http://schemas.openxmlformats.org/officeDocument/2006/relationships/image" Target="../media/image73.jpeg"/><Relationship Id="rId23" Type="http://schemas.openxmlformats.org/officeDocument/2006/relationships/image" Target="../media/image70.jpeg"/><Relationship Id="rId10" Type="http://schemas.openxmlformats.org/officeDocument/2006/relationships/image" Target="../media/image87.svg"/><Relationship Id="rId19" Type="http://schemas.openxmlformats.org/officeDocument/2006/relationships/image" Target="../media/image76.jpeg"/><Relationship Id="rId4" Type="http://schemas.openxmlformats.org/officeDocument/2006/relationships/image" Target="../media/image81.svg"/><Relationship Id="rId9" Type="http://schemas.openxmlformats.org/officeDocument/2006/relationships/image" Target="../media/image88.png"/><Relationship Id="rId14" Type="http://schemas.openxmlformats.org/officeDocument/2006/relationships/image" Target="../media/image69.svg"/><Relationship Id="rId22" Type="http://schemas.openxmlformats.org/officeDocument/2006/relationships/image" Target="../media/image78.svg"/></Relationships>
</file>

<file path=ppt/slides/_rels/slide200.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122.png"/><Relationship Id="rId7" Type="http://schemas.openxmlformats.org/officeDocument/2006/relationships/image" Target="../media/image460.png"/><Relationship Id="rId2" Type="http://schemas.openxmlformats.org/officeDocument/2006/relationships/slide" Target="slide170.xml"/><Relationship Id="rId1" Type="http://schemas.openxmlformats.org/officeDocument/2006/relationships/slideLayout" Target="../slideLayouts/slideLayout180.xml"/><Relationship Id="rId6" Type="http://schemas.openxmlformats.org/officeDocument/2006/relationships/image" Target="../media/image450.png"/><Relationship Id="rId5" Type="http://schemas.openxmlformats.org/officeDocument/2006/relationships/slide" Target="slide180.xml"/><Relationship Id="rId4" Type="http://schemas.openxmlformats.org/officeDocument/2006/relationships/image" Target="../media/image123.png"/><Relationship Id="rId9" Type="http://schemas.openxmlformats.org/officeDocument/2006/relationships/image" Target="../media/image480.png"/></Relationships>
</file>

<file path=ppt/slides/_rels/slide21.xml.rels><?xml version="1.0" encoding="UTF-8" standalone="yes"?>
<Relationships xmlns="http://schemas.openxmlformats.org/package/2006/relationships"><Relationship Id="rId8" Type="http://schemas.openxmlformats.org/officeDocument/2006/relationships/image" Target="../media/image85.svg"/><Relationship Id="rId13" Type="http://schemas.openxmlformats.org/officeDocument/2006/relationships/image" Target="../media/image68.png"/><Relationship Id="rId18" Type="http://schemas.openxmlformats.org/officeDocument/2006/relationships/image" Target="../media/image78.svg"/><Relationship Id="rId26" Type="http://schemas.openxmlformats.org/officeDocument/2006/relationships/image" Target="../media/image75.svg"/><Relationship Id="rId3" Type="http://schemas.openxmlformats.org/officeDocument/2006/relationships/image" Target="../media/image80.png"/><Relationship Id="rId21" Type="http://schemas.openxmlformats.org/officeDocument/2006/relationships/image" Target="../media/image71.png"/><Relationship Id="rId7" Type="http://schemas.openxmlformats.org/officeDocument/2006/relationships/image" Target="../media/image84.png"/><Relationship Id="rId12" Type="http://schemas.openxmlformats.org/officeDocument/2006/relationships/slide" Target="slide20.xml"/><Relationship Id="rId17" Type="http://schemas.openxmlformats.org/officeDocument/2006/relationships/image" Target="../media/image77.png"/><Relationship Id="rId25" Type="http://schemas.openxmlformats.org/officeDocument/2006/relationships/image" Target="../media/image74.png"/><Relationship Id="rId2" Type="http://schemas.openxmlformats.org/officeDocument/2006/relationships/image" Target="../media/image79.png"/><Relationship Id="rId16" Type="http://schemas.openxmlformats.org/officeDocument/2006/relationships/slide" Target="slide19.xml"/><Relationship Id="rId20" Type="http://schemas.openxmlformats.org/officeDocument/2006/relationships/slide" Target="slide18.xml"/><Relationship Id="rId1" Type="http://schemas.openxmlformats.org/officeDocument/2006/relationships/slideLayout" Target="../slideLayouts/slideLayout18.xml"/><Relationship Id="rId6" Type="http://schemas.openxmlformats.org/officeDocument/2006/relationships/image" Target="../media/image83.svg"/><Relationship Id="rId11" Type="http://schemas.openxmlformats.org/officeDocument/2006/relationships/image" Target="../media/image67.jpeg"/><Relationship Id="rId24" Type="http://schemas.openxmlformats.org/officeDocument/2006/relationships/slide" Target="slide21.xml"/><Relationship Id="rId5" Type="http://schemas.openxmlformats.org/officeDocument/2006/relationships/image" Target="../media/image82.png"/><Relationship Id="rId15" Type="http://schemas.openxmlformats.org/officeDocument/2006/relationships/image" Target="../media/image76.jpeg"/><Relationship Id="rId23" Type="http://schemas.openxmlformats.org/officeDocument/2006/relationships/image" Target="../media/image73.jpeg"/><Relationship Id="rId10" Type="http://schemas.openxmlformats.org/officeDocument/2006/relationships/image" Target="../media/image87.svg"/><Relationship Id="rId19" Type="http://schemas.openxmlformats.org/officeDocument/2006/relationships/image" Target="../media/image70.jpeg"/><Relationship Id="rId4" Type="http://schemas.openxmlformats.org/officeDocument/2006/relationships/image" Target="../media/image81.svg"/><Relationship Id="rId9" Type="http://schemas.openxmlformats.org/officeDocument/2006/relationships/image" Target="../media/image86.png"/><Relationship Id="rId14" Type="http://schemas.openxmlformats.org/officeDocument/2006/relationships/image" Target="../media/image69.svg"/><Relationship Id="rId22" Type="http://schemas.openxmlformats.org/officeDocument/2006/relationships/image" Target="../media/image72.svg"/></Relationships>
</file>

<file path=ppt/slides/_rels/slide22.xml.rels><?xml version="1.0" encoding="UTF-8" standalone="yes"?>
<Relationships xmlns="http://schemas.openxmlformats.org/package/2006/relationships"><Relationship Id="rId3" Type="http://schemas.openxmlformats.org/officeDocument/2006/relationships/image" Target="../media/image90.jpg"/><Relationship Id="rId7" Type="http://schemas.openxmlformats.org/officeDocument/2006/relationships/image" Target="../media/image94.png"/><Relationship Id="rId2" Type="http://schemas.openxmlformats.org/officeDocument/2006/relationships/image" Target="../media/image89.jpg"/><Relationship Id="rId1" Type="http://schemas.openxmlformats.org/officeDocument/2006/relationships/slideLayout" Target="../slideLayouts/slideLayout13.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3.xml.rels><?xml version="1.0" encoding="UTF-8" standalone="yes"?>
<Relationships xmlns="http://schemas.openxmlformats.org/package/2006/relationships"><Relationship Id="rId3" Type="http://schemas.openxmlformats.org/officeDocument/2006/relationships/image" Target="../media/image95.jpg"/><Relationship Id="rId7" Type="http://schemas.openxmlformats.org/officeDocument/2006/relationships/image" Target="../media/image99.png"/><Relationship Id="rId2" Type="http://schemas.openxmlformats.org/officeDocument/2006/relationships/slideLayout" Target="../slideLayouts/slideLayout23.xml"/><Relationship Id="rId1" Type="http://schemas.openxmlformats.org/officeDocument/2006/relationships/tags" Target="../tags/tag5.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24.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23.xml"/><Relationship Id="rId7" Type="http://schemas.openxmlformats.org/officeDocument/2006/relationships/image" Target="../media/image97.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00.emf"/><Relationship Id="rId11" Type="http://schemas.openxmlformats.org/officeDocument/2006/relationships/image" Target="../media/image101.png"/><Relationship Id="rId5" Type="http://schemas.openxmlformats.org/officeDocument/2006/relationships/oleObject" Target="../embeddings/oleObject2.bin"/><Relationship Id="rId10" Type="http://schemas.openxmlformats.org/officeDocument/2006/relationships/image" Target="../media/image99.png"/><Relationship Id="rId4" Type="http://schemas.openxmlformats.org/officeDocument/2006/relationships/image" Target="../media/image95.jpg"/><Relationship Id="rId9" Type="http://schemas.openxmlformats.org/officeDocument/2006/relationships/image" Target="../media/image96.png"/></Relationships>
</file>

<file path=ppt/slides/_rels/slide25.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23.xml"/><Relationship Id="rId7" Type="http://schemas.openxmlformats.org/officeDocument/2006/relationships/image" Target="../media/image97.png"/><Relationship Id="rId12" Type="http://schemas.openxmlformats.org/officeDocument/2006/relationships/image" Target="../media/image102.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00.emf"/><Relationship Id="rId11" Type="http://schemas.openxmlformats.org/officeDocument/2006/relationships/image" Target="../media/image101.png"/><Relationship Id="rId5" Type="http://schemas.openxmlformats.org/officeDocument/2006/relationships/oleObject" Target="../embeddings/oleObject3.bin"/><Relationship Id="rId10" Type="http://schemas.openxmlformats.org/officeDocument/2006/relationships/image" Target="../media/image99.png"/><Relationship Id="rId4" Type="http://schemas.openxmlformats.org/officeDocument/2006/relationships/image" Target="../media/image95.jpg"/><Relationship Id="rId9" Type="http://schemas.openxmlformats.org/officeDocument/2006/relationships/image" Target="../media/image96.png"/></Relationships>
</file>

<file path=ppt/slides/_rels/slide26.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03.png"/><Relationship Id="rId3" Type="http://schemas.openxmlformats.org/officeDocument/2006/relationships/slideLayout" Target="../slideLayouts/slideLayout23.xml"/><Relationship Id="rId7" Type="http://schemas.openxmlformats.org/officeDocument/2006/relationships/image" Target="../media/image97.png"/><Relationship Id="rId12" Type="http://schemas.openxmlformats.org/officeDocument/2006/relationships/image" Target="../media/image102.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00.emf"/><Relationship Id="rId11" Type="http://schemas.openxmlformats.org/officeDocument/2006/relationships/image" Target="../media/image101.png"/><Relationship Id="rId5" Type="http://schemas.openxmlformats.org/officeDocument/2006/relationships/oleObject" Target="../embeddings/oleObject3.bin"/><Relationship Id="rId10" Type="http://schemas.openxmlformats.org/officeDocument/2006/relationships/image" Target="../media/image99.png"/><Relationship Id="rId4" Type="http://schemas.openxmlformats.org/officeDocument/2006/relationships/image" Target="../media/image95.jpg"/><Relationship Id="rId9" Type="http://schemas.openxmlformats.org/officeDocument/2006/relationships/image" Target="../media/image96.png"/></Relationships>
</file>

<file path=ppt/slides/_rels/slide27.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3.png"/><Relationship Id="rId3" Type="http://schemas.openxmlformats.org/officeDocument/2006/relationships/slideLayout" Target="../slideLayouts/slideLayout23.xml"/><Relationship Id="rId7" Type="http://schemas.openxmlformats.org/officeDocument/2006/relationships/image" Target="../media/image98.png"/><Relationship Id="rId12" Type="http://schemas.openxmlformats.org/officeDocument/2006/relationships/image" Target="../media/image99.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00.emf"/><Relationship Id="rId11" Type="http://schemas.openxmlformats.org/officeDocument/2006/relationships/image" Target="../media/image104.png"/><Relationship Id="rId5" Type="http://schemas.openxmlformats.org/officeDocument/2006/relationships/oleObject" Target="../embeddings/oleObject3.bin"/><Relationship Id="rId10" Type="http://schemas.openxmlformats.org/officeDocument/2006/relationships/image" Target="../media/image102.png"/><Relationship Id="rId4" Type="http://schemas.openxmlformats.org/officeDocument/2006/relationships/image" Target="../media/image95.jpg"/><Relationship Id="rId9" Type="http://schemas.openxmlformats.org/officeDocument/2006/relationships/image" Target="../media/image101.png"/></Relationships>
</file>

<file path=ppt/slides/_rels/slide28.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05.jpg"/><Relationship Id="rId3" Type="http://schemas.openxmlformats.org/officeDocument/2006/relationships/slideLayout" Target="../slideLayouts/slideLayout23.xml"/><Relationship Id="rId7" Type="http://schemas.openxmlformats.org/officeDocument/2006/relationships/image" Target="../media/image96.png"/><Relationship Id="rId12" Type="http://schemas.openxmlformats.org/officeDocument/2006/relationships/image" Target="../media/image104.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00.emf"/><Relationship Id="rId11" Type="http://schemas.openxmlformats.org/officeDocument/2006/relationships/image" Target="../media/image103.png"/><Relationship Id="rId5" Type="http://schemas.openxmlformats.org/officeDocument/2006/relationships/oleObject" Target="../embeddings/oleObject3.bin"/><Relationship Id="rId10" Type="http://schemas.openxmlformats.org/officeDocument/2006/relationships/image" Target="../media/image102.png"/><Relationship Id="rId4" Type="http://schemas.openxmlformats.org/officeDocument/2006/relationships/image" Target="../media/image95.jpg"/><Relationship Id="rId9" Type="http://schemas.openxmlformats.org/officeDocument/2006/relationships/image" Target="../media/image101.png"/></Relationships>
</file>

<file path=ppt/slides/_rels/slide29.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slideLayout" Target="../slideLayouts/slideLayout23.xml"/><Relationship Id="rId7" Type="http://schemas.openxmlformats.org/officeDocument/2006/relationships/image" Target="../media/image99.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00.emf"/><Relationship Id="rId11" Type="http://schemas.openxmlformats.org/officeDocument/2006/relationships/image" Target="../media/image104.png"/><Relationship Id="rId5" Type="http://schemas.openxmlformats.org/officeDocument/2006/relationships/oleObject" Target="../embeddings/oleObject3.bin"/><Relationship Id="rId10" Type="http://schemas.openxmlformats.org/officeDocument/2006/relationships/image" Target="../media/image103.png"/><Relationship Id="rId4" Type="http://schemas.openxmlformats.org/officeDocument/2006/relationships/image" Target="../media/image95.jpg"/><Relationship Id="rId9" Type="http://schemas.openxmlformats.org/officeDocument/2006/relationships/image" Target="../media/image102.png"/></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5.png"/><Relationship Id="rId7" Type="http://schemas.openxmlformats.org/officeDocument/2006/relationships/slide" Target="slide5.xml"/><Relationship Id="rId2" Type="http://schemas.openxmlformats.org/officeDocument/2006/relationships/image" Target="../media/image14.png"/><Relationship Id="rId1" Type="http://schemas.openxmlformats.org/officeDocument/2006/relationships/slideLayout" Target="../slideLayouts/slideLayout57.xml"/><Relationship Id="rId6" Type="http://schemas.openxmlformats.org/officeDocument/2006/relationships/image" Target="../media/image16.png"/><Relationship Id="rId11" Type="http://schemas.openxmlformats.org/officeDocument/2006/relationships/image" Target="../media/image17.png"/><Relationship Id="rId5" Type="http://schemas.openxmlformats.org/officeDocument/2006/relationships/image" Target="../media/image15.png"/><Relationship Id="rId10" Type="http://schemas.openxmlformats.org/officeDocument/2006/relationships/slide" Target="slide6.xml"/><Relationship Id="rId4" Type="http://schemas.openxmlformats.org/officeDocument/2006/relationships/slide" Target="slide4.xml"/><Relationship Id="rId9" Type="http://schemas.openxmlformats.org/officeDocument/2006/relationships/image" Target="../media/image17.png"/></Relationships>
</file>

<file path=ppt/slides/_rels/slide30.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slideLayout" Target="../slideLayouts/slideLayout23.xml"/><Relationship Id="rId7" Type="http://schemas.openxmlformats.org/officeDocument/2006/relationships/image" Target="../media/image102.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00.emf"/><Relationship Id="rId5" Type="http://schemas.openxmlformats.org/officeDocument/2006/relationships/oleObject" Target="../embeddings/oleObject3.bin"/><Relationship Id="rId10" Type="http://schemas.openxmlformats.org/officeDocument/2006/relationships/image" Target="../media/image101.png"/><Relationship Id="rId4" Type="http://schemas.openxmlformats.org/officeDocument/2006/relationships/image" Target="../media/image95.jpg"/><Relationship Id="rId9" Type="http://schemas.openxmlformats.org/officeDocument/2006/relationships/image" Target="../media/image104.png"/></Relationships>
</file>

<file path=ppt/slides/_rels/slide31.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slideLayout" Target="../slideLayouts/slideLayout23.xml"/><Relationship Id="rId7" Type="http://schemas.openxmlformats.org/officeDocument/2006/relationships/image" Target="../media/image106.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00.emf"/><Relationship Id="rId5" Type="http://schemas.openxmlformats.org/officeDocument/2006/relationships/oleObject" Target="../embeddings/oleObject3.bin"/><Relationship Id="rId10" Type="http://schemas.openxmlformats.org/officeDocument/2006/relationships/image" Target="../media/image104.png"/><Relationship Id="rId4" Type="http://schemas.openxmlformats.org/officeDocument/2006/relationships/image" Target="../media/image95.jpg"/><Relationship Id="rId9" Type="http://schemas.openxmlformats.org/officeDocument/2006/relationships/image" Target="../media/image103.png"/></Relationships>
</file>

<file path=ppt/slides/_rels/slide32.xml.rels><?xml version="1.0" encoding="UTF-8" standalone="yes"?>
<Relationships xmlns="http://schemas.openxmlformats.org/package/2006/relationships"><Relationship Id="rId8" Type="http://schemas.openxmlformats.org/officeDocument/2006/relationships/image" Target="../media/image110.png"/><Relationship Id="rId3" Type="http://schemas.microsoft.com/office/2007/relationships/hdphoto" Target="../media/hdphoto4.wdp"/><Relationship Id="rId7" Type="http://schemas.openxmlformats.org/officeDocument/2006/relationships/image" Target="../media/image90.jpg"/><Relationship Id="rId2" Type="http://schemas.openxmlformats.org/officeDocument/2006/relationships/image" Target="../media/image107.png"/><Relationship Id="rId1" Type="http://schemas.openxmlformats.org/officeDocument/2006/relationships/slideLayout" Target="../slideLayouts/slideLayout26.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89.jpg"/></Relationships>
</file>

<file path=ppt/slides/_rels/slide33.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89.jpg"/><Relationship Id="rId1" Type="http://schemas.openxmlformats.org/officeDocument/2006/relationships/slideLayout" Target="../slideLayouts/slideLayout13.xml"/><Relationship Id="rId6" Type="http://schemas.openxmlformats.org/officeDocument/2006/relationships/image" Target="../media/image91.png"/><Relationship Id="rId5" Type="http://schemas.openxmlformats.org/officeDocument/2006/relationships/image" Target="../media/image112.png"/><Relationship Id="rId4" Type="http://schemas.openxmlformats.org/officeDocument/2006/relationships/image" Target="../media/image111.png"/></Relationships>
</file>

<file path=ppt/slides/_rels/slide34.xml.rels><?xml version="1.0" encoding="UTF-8" standalone="yes"?>
<Relationships xmlns="http://schemas.openxmlformats.org/package/2006/relationships"><Relationship Id="rId8" Type="http://schemas.openxmlformats.org/officeDocument/2006/relationships/image" Target="../media/image112.png"/><Relationship Id="rId3" Type="http://schemas.microsoft.com/office/2007/relationships/hdphoto" Target="../media/hdphoto5.wdp"/><Relationship Id="rId7" Type="http://schemas.openxmlformats.org/officeDocument/2006/relationships/image" Target="../media/image111.png"/><Relationship Id="rId2" Type="http://schemas.openxmlformats.org/officeDocument/2006/relationships/image" Target="../media/image113.png"/><Relationship Id="rId1" Type="http://schemas.openxmlformats.org/officeDocument/2006/relationships/slideLayout" Target="../slideLayouts/slideLayout13.xml"/><Relationship Id="rId6" Type="http://schemas.openxmlformats.org/officeDocument/2006/relationships/image" Target="../media/image91.png"/><Relationship Id="rId5" Type="http://schemas.openxmlformats.org/officeDocument/2006/relationships/image" Target="../media/image89.jpg"/><Relationship Id="rId4" Type="http://schemas.openxmlformats.org/officeDocument/2006/relationships/image" Target="../media/image92.png"/></Relationships>
</file>

<file path=ppt/slides/_rels/slide35.xml.rels><?xml version="1.0" encoding="UTF-8" standalone="yes"?>
<Relationships xmlns="http://schemas.openxmlformats.org/package/2006/relationships"><Relationship Id="rId8" Type="http://schemas.openxmlformats.org/officeDocument/2006/relationships/image" Target="../media/image111.png"/><Relationship Id="rId3" Type="http://schemas.microsoft.com/office/2007/relationships/hdphoto" Target="../media/hdphoto5.wdp"/><Relationship Id="rId7" Type="http://schemas.openxmlformats.org/officeDocument/2006/relationships/image" Target="../media/image112.png"/><Relationship Id="rId2" Type="http://schemas.openxmlformats.org/officeDocument/2006/relationships/image" Target="../media/image113.png"/><Relationship Id="rId1" Type="http://schemas.openxmlformats.org/officeDocument/2006/relationships/slideLayout" Target="../slideLayouts/slideLayout13.xml"/><Relationship Id="rId6" Type="http://schemas.openxmlformats.org/officeDocument/2006/relationships/image" Target="../media/image89.jpg"/><Relationship Id="rId5" Type="http://schemas.openxmlformats.org/officeDocument/2006/relationships/image" Target="../media/image91.png"/><Relationship Id="rId4" Type="http://schemas.openxmlformats.org/officeDocument/2006/relationships/image" Target="../media/image92.png"/></Relationships>
</file>

<file path=ppt/slides/_rels/slide36.xml.rels><?xml version="1.0" encoding="UTF-8" standalone="yes"?>
<Relationships xmlns="http://schemas.openxmlformats.org/package/2006/relationships"><Relationship Id="rId8" Type="http://schemas.openxmlformats.org/officeDocument/2006/relationships/image" Target="../media/image112.png"/><Relationship Id="rId3" Type="http://schemas.microsoft.com/office/2007/relationships/hdphoto" Target="../media/hdphoto5.wdp"/><Relationship Id="rId7" Type="http://schemas.openxmlformats.org/officeDocument/2006/relationships/image" Target="../media/image111.png"/><Relationship Id="rId2" Type="http://schemas.openxmlformats.org/officeDocument/2006/relationships/image" Target="../media/image113.png"/><Relationship Id="rId1" Type="http://schemas.openxmlformats.org/officeDocument/2006/relationships/slideLayout" Target="../slideLayouts/slideLayout13.xml"/><Relationship Id="rId6" Type="http://schemas.openxmlformats.org/officeDocument/2006/relationships/image" Target="../media/image91.png"/><Relationship Id="rId5" Type="http://schemas.openxmlformats.org/officeDocument/2006/relationships/image" Target="../media/image89.jpg"/><Relationship Id="rId4" Type="http://schemas.openxmlformats.org/officeDocument/2006/relationships/image" Target="../media/image92.png"/></Relationships>
</file>

<file path=ppt/slides/_rels/slide37.xml.rels><?xml version="1.0" encoding="UTF-8" standalone="yes"?>
<Relationships xmlns="http://schemas.openxmlformats.org/package/2006/relationships"><Relationship Id="rId8" Type="http://schemas.openxmlformats.org/officeDocument/2006/relationships/image" Target="../media/image112.png"/><Relationship Id="rId3" Type="http://schemas.microsoft.com/office/2007/relationships/hdphoto" Target="../media/hdphoto5.wdp"/><Relationship Id="rId7" Type="http://schemas.openxmlformats.org/officeDocument/2006/relationships/image" Target="../media/image111.png"/><Relationship Id="rId2" Type="http://schemas.openxmlformats.org/officeDocument/2006/relationships/image" Target="../media/image113.png"/><Relationship Id="rId1" Type="http://schemas.openxmlformats.org/officeDocument/2006/relationships/slideLayout" Target="../slideLayouts/slideLayout13.xml"/><Relationship Id="rId6" Type="http://schemas.openxmlformats.org/officeDocument/2006/relationships/image" Target="../media/image91.png"/><Relationship Id="rId5" Type="http://schemas.openxmlformats.org/officeDocument/2006/relationships/image" Target="../media/image89.jpg"/><Relationship Id="rId4" Type="http://schemas.openxmlformats.org/officeDocument/2006/relationships/image" Target="../media/image92.png"/></Relationships>
</file>

<file path=ppt/slides/_rels/slide38.xml.rels><?xml version="1.0" encoding="UTF-8" standalone="yes"?>
<Relationships xmlns="http://schemas.openxmlformats.org/package/2006/relationships"><Relationship Id="rId8" Type="http://schemas.openxmlformats.org/officeDocument/2006/relationships/image" Target="../media/image112.png"/><Relationship Id="rId3" Type="http://schemas.microsoft.com/office/2007/relationships/hdphoto" Target="../media/hdphoto5.wdp"/><Relationship Id="rId7" Type="http://schemas.openxmlformats.org/officeDocument/2006/relationships/image" Target="../media/image111.png"/><Relationship Id="rId2" Type="http://schemas.openxmlformats.org/officeDocument/2006/relationships/image" Target="../media/image113.png"/><Relationship Id="rId1" Type="http://schemas.openxmlformats.org/officeDocument/2006/relationships/slideLayout" Target="../slideLayouts/slideLayout13.xml"/><Relationship Id="rId6" Type="http://schemas.openxmlformats.org/officeDocument/2006/relationships/image" Target="../media/image91.png"/><Relationship Id="rId5" Type="http://schemas.openxmlformats.org/officeDocument/2006/relationships/image" Target="../media/image89.jpg"/><Relationship Id="rId4" Type="http://schemas.openxmlformats.org/officeDocument/2006/relationships/image" Target="../media/image92.png"/><Relationship Id="rId9" Type="http://schemas.openxmlformats.org/officeDocument/2006/relationships/image" Target="../media/image93.png"/></Relationships>
</file>

<file path=ppt/slides/_rels/slide39.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slide" Target="slide150.xml"/><Relationship Id="rId7" Type="http://schemas.openxmlformats.org/officeDocument/2006/relationships/image" Target="../media/image140.png"/><Relationship Id="rId2" Type="http://schemas.openxmlformats.org/officeDocument/2006/relationships/image" Target="../media/image114.png"/><Relationship Id="rId1" Type="http://schemas.openxmlformats.org/officeDocument/2006/relationships/slideLayout" Target="../slideLayouts/slideLayout57.xml"/><Relationship Id="rId6" Type="http://schemas.openxmlformats.org/officeDocument/2006/relationships/slide" Target="slide160.xml"/><Relationship Id="rId5" Type="http://schemas.openxmlformats.org/officeDocument/2006/relationships/image" Target="../media/image115.png"/><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7.xml"/></Relationships>
</file>

<file path=ppt/slides/_rels/slide40.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57.xml"/></Relationships>
</file>

<file path=ppt/slides/_rels/slide41.xml.rels><?xml version="1.0" encoding="UTF-8" standalone="yes"?>
<Relationships xmlns="http://schemas.openxmlformats.org/package/2006/relationships"><Relationship Id="rId8" Type="http://schemas.openxmlformats.org/officeDocument/2006/relationships/slide" Target="slide13.xml"/><Relationship Id="rId3" Type="http://schemas.openxmlformats.org/officeDocument/2006/relationships/image" Target="../media/image118.png"/><Relationship Id="rId7" Type="http://schemas.openxmlformats.org/officeDocument/2006/relationships/image" Target="../media/image120.png"/><Relationship Id="rId2" Type="http://schemas.openxmlformats.org/officeDocument/2006/relationships/image" Target="../media/image117.png"/><Relationship Id="rId1" Type="http://schemas.openxmlformats.org/officeDocument/2006/relationships/slideLayout" Target="../slideLayouts/slideLayout57.xml"/><Relationship Id="rId6" Type="http://schemas.openxmlformats.org/officeDocument/2006/relationships/slide" Target="slide12.xml"/><Relationship Id="rId11" Type="http://schemas.openxmlformats.org/officeDocument/2006/relationships/image" Target="../media/image123.png"/><Relationship Id="rId5" Type="http://schemas.openxmlformats.org/officeDocument/2006/relationships/image" Target="../media/image119.png"/><Relationship Id="rId10" Type="http://schemas.openxmlformats.org/officeDocument/2006/relationships/image" Target="../media/image122.png"/><Relationship Id="rId4" Type="http://schemas.openxmlformats.org/officeDocument/2006/relationships/slide" Target="slide8.xml"/><Relationship Id="rId9" Type="http://schemas.openxmlformats.org/officeDocument/2006/relationships/image" Target="../media/image121.png"/></Relationships>
</file>

<file path=ppt/slides/_rels/slide42.xml.rels><?xml version="1.0" encoding="UTF-8" standalone="yes"?>
<Relationships xmlns="http://schemas.openxmlformats.org/package/2006/relationships"><Relationship Id="rId3" Type="http://schemas.openxmlformats.org/officeDocument/2006/relationships/image" Target="../media/image124.jpg"/><Relationship Id="rId2" Type="http://schemas.openxmlformats.org/officeDocument/2006/relationships/notesSlide" Target="../notesSlides/notesSlide2.xml"/><Relationship Id="rId1" Type="http://schemas.openxmlformats.org/officeDocument/2006/relationships/slideLayout" Target="../slideLayouts/slideLayout81.xml"/></Relationships>
</file>

<file path=ppt/slides/_rels/slide4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xml"/><Relationship Id="rId1" Type="http://schemas.openxmlformats.org/officeDocument/2006/relationships/slideLayout" Target="../slideLayouts/slideLayout85.xml"/></Relationships>
</file>

<file path=ppt/slides/_rels/slide44.xml.rels><?xml version="1.0" encoding="UTF-8" standalone="yes"?>
<Relationships xmlns="http://schemas.openxmlformats.org/package/2006/relationships"><Relationship Id="rId3" Type="http://schemas.openxmlformats.org/officeDocument/2006/relationships/image" Target="../media/image126.png"/><Relationship Id="rId7" Type="http://schemas.openxmlformats.org/officeDocument/2006/relationships/image" Target="../media/image130.svg"/><Relationship Id="rId2" Type="http://schemas.openxmlformats.org/officeDocument/2006/relationships/notesSlide" Target="../notesSlides/notesSlide4.xml"/><Relationship Id="rId1" Type="http://schemas.openxmlformats.org/officeDocument/2006/relationships/slideLayout" Target="../slideLayouts/slideLayout74.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s>
</file>

<file path=ppt/slides/_rels/slide45.xml.rels><?xml version="1.0" encoding="UTF-8" standalone="yes"?>
<Relationships xmlns="http://schemas.openxmlformats.org/package/2006/relationships"><Relationship Id="rId3" Type="http://schemas.openxmlformats.org/officeDocument/2006/relationships/image" Target="../media/image132.jpeg"/><Relationship Id="rId7" Type="http://schemas.openxmlformats.org/officeDocument/2006/relationships/image" Target="../media/image130.svg"/><Relationship Id="rId2" Type="http://schemas.openxmlformats.org/officeDocument/2006/relationships/image" Target="../media/image131.jpeg"/><Relationship Id="rId1" Type="http://schemas.openxmlformats.org/officeDocument/2006/relationships/slideLayout" Target="../slideLayouts/slideLayout97.xml"/><Relationship Id="rId6" Type="http://schemas.openxmlformats.org/officeDocument/2006/relationships/image" Target="../media/image129.png"/><Relationship Id="rId5" Type="http://schemas.openxmlformats.org/officeDocument/2006/relationships/image" Target="../media/image134.png"/><Relationship Id="rId4" Type="http://schemas.openxmlformats.org/officeDocument/2006/relationships/image" Target="../media/image133.jpeg"/></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5.png"/><Relationship Id="rId7" Type="http://schemas.openxmlformats.org/officeDocument/2006/relationships/slide" Target="slide5.xml"/><Relationship Id="rId2" Type="http://schemas.openxmlformats.org/officeDocument/2006/relationships/image" Target="../media/image14.png"/><Relationship Id="rId1" Type="http://schemas.openxmlformats.org/officeDocument/2006/relationships/slideLayout" Target="../slideLayouts/slideLayout57.xml"/><Relationship Id="rId6" Type="http://schemas.openxmlformats.org/officeDocument/2006/relationships/image" Target="../media/image16.png"/><Relationship Id="rId11" Type="http://schemas.openxmlformats.org/officeDocument/2006/relationships/image" Target="../media/image17.png"/><Relationship Id="rId5" Type="http://schemas.openxmlformats.org/officeDocument/2006/relationships/image" Target="../media/image15.png"/><Relationship Id="rId10" Type="http://schemas.openxmlformats.org/officeDocument/2006/relationships/slide" Target="slide6.xml"/><Relationship Id="rId4" Type="http://schemas.openxmlformats.org/officeDocument/2006/relationships/slide" Target="slide4.xml"/><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5.png"/><Relationship Id="rId7" Type="http://schemas.openxmlformats.org/officeDocument/2006/relationships/slide" Target="slide5.xml"/><Relationship Id="rId2" Type="http://schemas.openxmlformats.org/officeDocument/2006/relationships/image" Target="../media/image19.png"/><Relationship Id="rId1" Type="http://schemas.openxmlformats.org/officeDocument/2006/relationships/slideLayout" Target="../slideLayouts/slideLayout57.xml"/><Relationship Id="rId6" Type="http://schemas.openxmlformats.org/officeDocument/2006/relationships/image" Target="../media/image16.png"/><Relationship Id="rId11" Type="http://schemas.openxmlformats.org/officeDocument/2006/relationships/image" Target="../media/image17.png"/><Relationship Id="rId5" Type="http://schemas.openxmlformats.org/officeDocument/2006/relationships/image" Target="../media/image15.png"/><Relationship Id="rId10" Type="http://schemas.openxmlformats.org/officeDocument/2006/relationships/slide" Target="slide6.xml"/><Relationship Id="rId4" Type="http://schemas.openxmlformats.org/officeDocument/2006/relationships/slide" Target="slide4.xml"/><Relationship Id="rId9" Type="http://schemas.openxmlformats.org/officeDocument/2006/relationships/image" Target="../media/image17.png"/></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3" Type="http://schemas.openxmlformats.org/officeDocument/2006/relationships/image" Target="../media/image21.png"/><Relationship Id="rId7" Type="http://schemas.openxmlformats.org/officeDocument/2006/relationships/image" Target="../media/image24.png"/><Relationship Id="rId12" Type="http://schemas.openxmlformats.org/officeDocument/2006/relationships/image" Target="../media/image29.svg"/><Relationship Id="rId2" Type="http://schemas.openxmlformats.org/officeDocument/2006/relationships/image" Target="../media/image20.png"/><Relationship Id="rId1" Type="http://schemas.openxmlformats.org/officeDocument/2006/relationships/slideLayout" Target="../slideLayouts/slideLayout18.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microsoft.com/office/2007/relationships/hdphoto" Target="../media/hdphoto1.wdp"/><Relationship Id="rId9" Type="http://schemas.openxmlformats.org/officeDocument/2006/relationships/image" Target="../media/image26.png"/><Relationship Id="rId14" Type="http://schemas.openxmlformats.org/officeDocument/2006/relationships/image" Target="../media/image31.svg"/></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3.svg"/><Relationship Id="rId18" Type="http://schemas.openxmlformats.org/officeDocument/2006/relationships/image" Target="../media/image36.png"/><Relationship Id="rId3" Type="http://schemas.openxmlformats.org/officeDocument/2006/relationships/image" Target="../media/image20.png"/><Relationship Id="rId21" Type="http://schemas.openxmlformats.org/officeDocument/2006/relationships/image" Target="../media/image39.png"/><Relationship Id="rId7" Type="http://schemas.openxmlformats.org/officeDocument/2006/relationships/image" Target="../media/image23.png"/><Relationship Id="rId12" Type="http://schemas.openxmlformats.org/officeDocument/2006/relationships/image" Target="../media/image32.png"/><Relationship Id="rId17" Type="http://schemas.openxmlformats.org/officeDocument/2006/relationships/image" Target="../media/image35.png"/><Relationship Id="rId2" Type="http://schemas.openxmlformats.org/officeDocument/2006/relationships/notesSlide" Target="../notesSlides/notesSlide1.xml"/><Relationship Id="rId16" Type="http://schemas.openxmlformats.org/officeDocument/2006/relationships/image" Target="../media/image34.png"/><Relationship Id="rId20" Type="http://schemas.openxmlformats.org/officeDocument/2006/relationships/image" Target="../media/image38.png"/><Relationship Id="rId1" Type="http://schemas.openxmlformats.org/officeDocument/2006/relationships/slideLayout" Target="../slideLayouts/slideLayout18.xml"/><Relationship Id="rId6" Type="http://schemas.openxmlformats.org/officeDocument/2006/relationships/image" Target="../media/image22.png"/><Relationship Id="rId11" Type="http://schemas.openxmlformats.org/officeDocument/2006/relationships/image" Target="../media/image27.png"/><Relationship Id="rId5" Type="http://schemas.microsoft.com/office/2007/relationships/hdphoto" Target="../media/hdphoto1.wdp"/><Relationship Id="rId15" Type="http://schemas.openxmlformats.org/officeDocument/2006/relationships/image" Target="../media/image31.svg"/><Relationship Id="rId23" Type="http://schemas.openxmlformats.org/officeDocument/2006/relationships/image" Target="../media/image41.png"/><Relationship Id="rId10" Type="http://schemas.openxmlformats.org/officeDocument/2006/relationships/image" Target="../media/image26.png"/><Relationship Id="rId19" Type="http://schemas.openxmlformats.org/officeDocument/2006/relationships/image" Target="../media/image37.png"/><Relationship Id="rId4" Type="http://schemas.openxmlformats.org/officeDocument/2006/relationships/image" Target="../media/image21.png"/><Relationship Id="rId9" Type="http://schemas.openxmlformats.org/officeDocument/2006/relationships/image" Target="../media/image25.png"/><Relationship Id="rId14" Type="http://schemas.openxmlformats.org/officeDocument/2006/relationships/image" Target="../media/image30.png"/><Relationship Id="rId22" Type="http://schemas.openxmlformats.org/officeDocument/2006/relationships/image" Target="../media/image40.png"/></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6.png"/><Relationship Id="rId18" Type="http://schemas.openxmlformats.org/officeDocument/2006/relationships/image" Target="../media/image31.sv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43.svg"/><Relationship Id="rId17" Type="http://schemas.openxmlformats.org/officeDocument/2006/relationships/image" Target="../media/image30.png"/><Relationship Id="rId2" Type="http://schemas.openxmlformats.org/officeDocument/2006/relationships/image" Target="../media/image20.png"/><Relationship Id="rId16" Type="http://schemas.openxmlformats.org/officeDocument/2006/relationships/image" Target="../media/image33.svg"/><Relationship Id="rId1" Type="http://schemas.openxmlformats.org/officeDocument/2006/relationships/slideLayout" Target="../slideLayouts/slideLayout18.xml"/><Relationship Id="rId6" Type="http://schemas.openxmlformats.org/officeDocument/2006/relationships/image" Target="../media/image24.png"/><Relationship Id="rId11" Type="http://schemas.openxmlformats.org/officeDocument/2006/relationships/image" Target="../media/image42.png"/><Relationship Id="rId5" Type="http://schemas.openxmlformats.org/officeDocument/2006/relationships/image" Target="../media/image23.png"/><Relationship Id="rId15" Type="http://schemas.openxmlformats.org/officeDocument/2006/relationships/image" Target="../media/image32.png"/><Relationship Id="rId10" Type="http://schemas.openxmlformats.org/officeDocument/2006/relationships/image" Target="../media/image34.png"/><Relationship Id="rId19" Type="http://schemas.openxmlformats.org/officeDocument/2006/relationships/image" Target="../media/image45.png"/><Relationship Id="rId4" Type="http://schemas.microsoft.com/office/2007/relationships/hdphoto" Target="../media/hdphoto1.wdp"/><Relationship Id="rId9" Type="http://schemas.openxmlformats.org/officeDocument/2006/relationships/image" Target="../media/image27.png"/><Relationship Id="rId14" Type="http://schemas.openxmlformats.org/officeDocument/2006/relationships/image" Target="../media/image44.png"/></Relationships>
</file>

<file path=ppt/slides/_rels/slide90.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9.jpg"/><Relationship Id="rId7" Type="http://schemas.openxmlformats.org/officeDocument/2006/relationships/image" Target="../media/image110.png"/><Relationship Id="rId2" Type="http://schemas.openxmlformats.org/officeDocument/2006/relationships/image" Target="../media/image160.png"/><Relationship Id="rId1" Type="http://schemas.openxmlformats.org/officeDocument/2006/relationships/slideLayout" Target="../slideLayouts/slideLayout710.xml"/><Relationship Id="rId6" Type="http://schemas.openxmlformats.org/officeDocument/2006/relationships/image" Target="../media/image90.jpg"/><Relationship Id="rId5" Type="http://schemas.openxmlformats.org/officeDocument/2006/relationships/image" Target="../media/image109.png"/><Relationship Id="rId4" Type="http://schemas.openxmlformats.org/officeDocument/2006/relationships/image" Target="../media/image108.png"/><Relationship Id="rId9" Type="http://schemas.openxmlformats.org/officeDocument/2006/relationships/image" Target="../media/image230.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6000" b="-6000"/>
          </a:stretch>
        </a:blipFill>
        <a:effectLst/>
      </p:bgPr>
    </p:bg>
    <p:spTree>
      <p:nvGrpSpPr>
        <p:cNvPr id="1" name=""/>
        <p:cNvGrpSpPr/>
        <p:nvPr/>
      </p:nvGrpSpPr>
      <p:grpSpPr>
        <a:xfrm>
          <a:off x="0" y="0"/>
          <a:ext cx="0" cy="0"/>
          <a:chOff x="0" y="0"/>
          <a:chExt cx="0" cy="0"/>
        </a:xfrm>
      </p:grpSpPr>
      <p:sp useBgFill="1">
        <p:nvSpPr>
          <p:cNvPr id="37" name="Rectangle 36">
            <a:extLst>
              <a:ext uri="{FF2B5EF4-FFF2-40B4-BE49-F238E27FC236}">
                <a16:creationId xmlns:a16="http://schemas.microsoft.com/office/drawing/2014/main" id="{3939D554-BA8B-653E-8196-593329227812}"/>
              </a:ext>
            </a:extLst>
          </p:cNvPr>
          <p:cNvSpPr/>
          <p:nvPr/>
        </p:nvSpPr>
        <p:spPr>
          <a:xfrm>
            <a:off x="0" y="0"/>
            <a:ext cx="12192000" cy="6858000"/>
          </a:xfrm>
          <a:prstGeom prst="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TextBox 40">
            <a:extLst>
              <a:ext uri="{FF2B5EF4-FFF2-40B4-BE49-F238E27FC236}">
                <a16:creationId xmlns:a16="http://schemas.microsoft.com/office/drawing/2014/main" id="{C6B3D325-CA7C-51A5-6A14-626F8D257D98}"/>
              </a:ext>
            </a:extLst>
          </p:cNvPr>
          <p:cNvSpPr txBox="1"/>
          <p:nvPr/>
        </p:nvSpPr>
        <p:spPr>
          <a:xfrm>
            <a:off x="4666590" y="1058128"/>
            <a:ext cx="419608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600" normalizeH="0" baseline="0" noProof="0" dirty="0">
                <a:ln>
                  <a:noFill/>
                </a:ln>
                <a:solidFill>
                  <a:prstClr val="white"/>
                </a:solidFill>
                <a:effectLst>
                  <a:glow>
                    <a:srgbClr val="14377D"/>
                  </a:glow>
                  <a:outerShdw blurRad="381000" dist="50800" dir="5400000" algn="t" rotWithShape="0">
                    <a:prstClr val="black">
                      <a:alpha val="30000"/>
                    </a:prstClr>
                  </a:outerShdw>
                </a:effectLst>
                <a:uLnTx/>
                <a:uFillTx/>
                <a:latin typeface="Poppins" panose="00000500000000000000" pitchFamily="2" charset="0"/>
                <a:ea typeface="+mn-ea"/>
                <a:cs typeface="Poppins" panose="00000500000000000000" pitchFamily="2" charset="0"/>
              </a:rPr>
              <a:t>PRESTIGE INSTITUTE OF MANAGEMENT &amp; RESEARCH</a:t>
            </a:r>
            <a:endParaRPr kumimoji="0" lang="en-IN" sz="1800" b="1" i="0" u="none" strike="noStrike" kern="1200" cap="none" spc="600" normalizeH="0" baseline="0" noProof="0" dirty="0">
              <a:ln>
                <a:noFill/>
              </a:ln>
              <a:solidFill>
                <a:prstClr val="white"/>
              </a:solidFill>
              <a:effectLst>
                <a:glow>
                  <a:srgbClr val="14377D"/>
                </a:glow>
                <a:outerShdw blurRad="381000" dist="50800" dir="5400000" algn="t" rotWithShape="0">
                  <a:prstClr val="black">
                    <a:alpha val="30000"/>
                  </a:prstClr>
                </a:outerShdw>
              </a:effectLst>
              <a:uLnTx/>
              <a:uFillTx/>
              <a:latin typeface="Poppins" panose="00000500000000000000" pitchFamily="2" charset="0"/>
              <a:ea typeface="+mn-ea"/>
              <a:cs typeface="Poppins" panose="00000500000000000000" pitchFamily="2" charset="0"/>
            </a:endParaRPr>
          </a:p>
        </p:txBody>
      </p:sp>
      <p:sp>
        <p:nvSpPr>
          <p:cNvPr id="2" name="TextBox 1">
            <a:extLst>
              <a:ext uri="{FF2B5EF4-FFF2-40B4-BE49-F238E27FC236}">
                <a16:creationId xmlns:a16="http://schemas.microsoft.com/office/drawing/2014/main" id="{DEC1EE5C-82E8-DA9F-2CEF-2553CC47D83A}"/>
              </a:ext>
            </a:extLst>
          </p:cNvPr>
          <p:cNvSpPr txBox="1"/>
          <p:nvPr/>
        </p:nvSpPr>
        <p:spPr>
          <a:xfrm>
            <a:off x="4024420" y="4862474"/>
            <a:ext cx="195982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ubmitted t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PIMRG</a:t>
            </a:r>
            <a:endParaRPr kumimoji="0" lang="en-IN" sz="1800" b="1"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endParaRPr>
          </a:p>
        </p:txBody>
      </p:sp>
      <p:pic>
        <p:nvPicPr>
          <p:cNvPr id="40" name="Picture 39">
            <a:extLst>
              <a:ext uri="{FF2B5EF4-FFF2-40B4-BE49-F238E27FC236}">
                <a16:creationId xmlns:a16="http://schemas.microsoft.com/office/drawing/2014/main" id="{63E794D7-D935-EA11-301E-AC7B1ED391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32259" y="1004044"/>
            <a:ext cx="846832" cy="846832"/>
          </a:xfrm>
          <a:prstGeom prst="rect">
            <a:avLst/>
          </a:prstGeom>
        </p:spPr>
      </p:pic>
      <p:sp>
        <p:nvSpPr>
          <p:cNvPr id="38" name="TextBox 37">
            <a:extLst>
              <a:ext uri="{FF2B5EF4-FFF2-40B4-BE49-F238E27FC236}">
                <a16:creationId xmlns:a16="http://schemas.microsoft.com/office/drawing/2014/main" id="{16190988-685F-251D-BA0D-F92947A7E1EB}"/>
              </a:ext>
            </a:extLst>
          </p:cNvPr>
          <p:cNvSpPr txBox="1"/>
          <p:nvPr/>
        </p:nvSpPr>
        <p:spPr>
          <a:xfrm>
            <a:off x="3208020" y="2382560"/>
            <a:ext cx="5775960" cy="20928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0" b="1" i="0" u="none" strike="noStrike" kern="1200" cap="none" spc="0" normalizeH="0" baseline="0" noProof="0" dirty="0">
                <a:ln>
                  <a:noFill/>
                </a:ln>
                <a:solidFill>
                  <a:prstClr val="white"/>
                </a:solidFill>
                <a:effectLst>
                  <a:outerShdw blurRad="254000" dist="38100" dir="8100000" algn="tr" rotWithShape="0">
                    <a:srgbClr val="14377D">
                      <a:alpha val="40000"/>
                    </a:srgbClr>
                  </a:outerShdw>
                </a:effectLst>
                <a:uLnTx/>
                <a:uFillTx/>
                <a:latin typeface="Poppins" panose="00000500000000000000" pitchFamily="2" charset="0"/>
                <a:ea typeface="+mn-ea"/>
                <a:cs typeface="Poppins" panose="00000500000000000000" pitchFamily="2" charset="0"/>
              </a:rPr>
              <a:t>PROJECT WOR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prstClr val="white"/>
                </a:solidFill>
                <a:effectLst>
                  <a:outerShdw blurRad="254000" dist="38100" dir="8100000" algn="tr" rotWithShape="0">
                    <a:srgbClr val="14377D">
                      <a:alpha val="40000"/>
                    </a:srgbClr>
                  </a:outerShdw>
                </a:effectLst>
                <a:uLnTx/>
                <a:uFillTx/>
                <a:latin typeface="Poppins" panose="00000500000000000000" pitchFamily="2" charset="0"/>
                <a:ea typeface="+mn-ea"/>
                <a:cs typeface="Poppins" panose="00000500000000000000" pitchFamily="2" charset="0"/>
              </a:rPr>
              <a:t>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5000" b="1" dirty="0">
                <a:solidFill>
                  <a:prstClr val="white"/>
                </a:solidFill>
                <a:effectLst>
                  <a:outerShdw blurRad="254000" dist="38100" dir="8100000" algn="tr" rotWithShape="0">
                    <a:srgbClr val="14377D">
                      <a:alpha val="40000"/>
                    </a:srgbClr>
                  </a:outerShdw>
                </a:effectLst>
                <a:latin typeface="Poppins" panose="00000500000000000000" pitchFamily="2" charset="0"/>
                <a:cs typeface="Poppins" panose="00000500000000000000" pitchFamily="2" charset="0"/>
              </a:rPr>
              <a:t>RELAX</a:t>
            </a:r>
            <a:endParaRPr kumimoji="0" lang="en-IN" sz="5000" b="1" i="0" u="none" strike="noStrike" kern="1200" cap="none" spc="0" normalizeH="0" baseline="0" noProof="0" dirty="0">
              <a:ln>
                <a:noFill/>
              </a:ln>
              <a:solidFill>
                <a:prstClr val="white"/>
              </a:solidFill>
              <a:effectLst>
                <a:outerShdw blurRad="254000" dist="38100" dir="8100000" algn="tr" rotWithShape="0">
                  <a:srgbClr val="14377D">
                    <a:alpha val="40000"/>
                  </a:srgbClr>
                </a:outerShdw>
              </a:effectLst>
              <a:uLnTx/>
              <a:uFillTx/>
              <a:latin typeface="Poppins" panose="00000500000000000000" pitchFamily="2" charset="0"/>
              <a:ea typeface="+mn-ea"/>
              <a:cs typeface="Poppins" panose="00000500000000000000" pitchFamily="2" charset="0"/>
            </a:endParaRPr>
          </a:p>
        </p:txBody>
      </p:sp>
      <p:sp useBgFill="1">
        <p:nvSpPr>
          <p:cNvPr id="30" name="Freeform: Shape 29">
            <a:extLst>
              <a:ext uri="{FF2B5EF4-FFF2-40B4-BE49-F238E27FC236}">
                <a16:creationId xmlns:a16="http://schemas.microsoft.com/office/drawing/2014/main" id="{1BD73229-C52C-D491-FBCB-EAC9E8E9C8B9}"/>
              </a:ext>
            </a:extLst>
          </p:cNvPr>
          <p:cNvSpPr/>
          <p:nvPr/>
        </p:nvSpPr>
        <p:spPr>
          <a:xfrm>
            <a:off x="0" y="0"/>
            <a:ext cx="6295796" cy="6858000"/>
          </a:xfrm>
          <a:custGeom>
            <a:avLst/>
            <a:gdLst>
              <a:gd name="connsiteX0" fmla="*/ 0 w 6295796"/>
              <a:gd name="connsiteY0" fmla="*/ 0 h 6858000"/>
              <a:gd name="connsiteX1" fmla="*/ 6295796 w 6295796"/>
              <a:gd name="connsiteY1" fmla="*/ 0 h 6858000"/>
              <a:gd name="connsiteX2" fmla="*/ 3921438 w 6295796"/>
              <a:gd name="connsiteY2" fmla="*/ 6858000 h 6858000"/>
              <a:gd name="connsiteX3" fmla="*/ 0 w 629579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295796" h="6858000">
                <a:moveTo>
                  <a:pt x="0" y="0"/>
                </a:moveTo>
                <a:lnTo>
                  <a:pt x="6295796" y="0"/>
                </a:lnTo>
                <a:lnTo>
                  <a:pt x="3921438" y="6858000"/>
                </a:lnTo>
                <a:lnTo>
                  <a:pt x="0" y="6858000"/>
                </a:lnTo>
                <a:close/>
              </a:path>
            </a:pathLst>
          </a:custGeom>
          <a:ln>
            <a:noFill/>
          </a:ln>
          <a:effectLst>
            <a:outerShdw blurRad="381000" dist="38100" dir="5400000" algn="ctr" rotWithShape="0">
              <a:srgbClr val="14377D">
                <a:alpha val="41000"/>
              </a:srgbClr>
            </a:outerShdw>
          </a:effectLst>
        </p:spPr>
        <p:style>
          <a:lnRef idx="2">
            <a:schemeClr val="accent4">
              <a:shade val="50000"/>
            </a:schemeClr>
          </a:lnRef>
          <a:fillRef idx="1">
            <a:schemeClr val="accent4"/>
          </a:fillRef>
          <a:effectRef idx="0">
            <a:schemeClr val="accent4"/>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32" name="Freeform: Shape 31">
            <a:extLst>
              <a:ext uri="{FF2B5EF4-FFF2-40B4-BE49-F238E27FC236}">
                <a16:creationId xmlns:a16="http://schemas.microsoft.com/office/drawing/2014/main" id="{4E4A8650-6029-48E9-31A4-176DD8CBF88B}"/>
              </a:ext>
            </a:extLst>
          </p:cNvPr>
          <p:cNvSpPr/>
          <p:nvPr/>
        </p:nvSpPr>
        <p:spPr>
          <a:xfrm>
            <a:off x="-1" y="0"/>
            <a:ext cx="5300472" cy="6858000"/>
          </a:xfrm>
          <a:custGeom>
            <a:avLst/>
            <a:gdLst>
              <a:gd name="connsiteX0" fmla="*/ 0 w 5300472"/>
              <a:gd name="connsiteY0" fmla="*/ 0 h 6858000"/>
              <a:gd name="connsiteX1" fmla="*/ 5300472 w 5300472"/>
              <a:gd name="connsiteY1" fmla="*/ 0 h 6858000"/>
              <a:gd name="connsiteX2" fmla="*/ 3650087 w 5300472"/>
              <a:gd name="connsiteY2" fmla="*/ 6858000 h 6858000"/>
              <a:gd name="connsiteX3" fmla="*/ 0 w 530047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300472" h="6858000">
                <a:moveTo>
                  <a:pt x="0" y="0"/>
                </a:moveTo>
                <a:lnTo>
                  <a:pt x="5300472" y="0"/>
                </a:lnTo>
                <a:lnTo>
                  <a:pt x="3650087" y="6858000"/>
                </a:lnTo>
                <a:lnTo>
                  <a:pt x="0" y="6858000"/>
                </a:lnTo>
                <a:close/>
              </a:path>
            </a:pathLst>
          </a:custGeom>
          <a:ln>
            <a:noFill/>
          </a:ln>
          <a:effectLst>
            <a:outerShdw blurRad="381000" dist="38100" dir="5400000" algn="ctr" rotWithShape="0">
              <a:srgbClr val="14377D">
                <a:alpha val="41000"/>
              </a:srgbClr>
            </a:outerShdw>
          </a:effectLst>
        </p:spPr>
        <p:style>
          <a:lnRef idx="2">
            <a:schemeClr val="accent4">
              <a:shade val="50000"/>
            </a:schemeClr>
          </a:lnRef>
          <a:fillRef idx="1">
            <a:schemeClr val="accent4"/>
          </a:fillRef>
          <a:effectRef idx="0">
            <a:schemeClr val="accent4"/>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A31B0475-2C6B-4649-82C0-79D4E6D8500A}"/>
              </a:ext>
            </a:extLst>
          </p:cNvPr>
          <p:cNvSpPr txBox="1"/>
          <p:nvPr/>
        </p:nvSpPr>
        <p:spPr>
          <a:xfrm>
            <a:off x="6096000" y="4876543"/>
            <a:ext cx="2164080"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ubmitted B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err="1">
                <a:ln>
                  <a:noFill/>
                </a:ln>
                <a:solidFill>
                  <a:prstClr val="white"/>
                </a:solidFill>
                <a:effectLst/>
                <a:uLnTx/>
                <a:uFillTx/>
                <a:latin typeface="Poppins" panose="00000500000000000000" pitchFamily="2" charset="0"/>
                <a:ea typeface="+mn-ea"/>
                <a:cs typeface="Poppins" panose="00000500000000000000" pitchFamily="2" charset="0"/>
              </a:rPr>
              <a:t>Divya</a:t>
            </a:r>
            <a:endParaRPr kumimoji="0" lang="en-IN" sz="1800" b="1"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Pawan Gupta</a:t>
            </a:r>
          </a:p>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solidFill>
                  <a:prstClr val="white"/>
                </a:solidFill>
                <a:latin typeface="Poppins" panose="00000500000000000000" pitchFamily="2" charset="0"/>
                <a:cs typeface="Poppins" panose="00000500000000000000" pitchFamily="2" charset="0"/>
              </a:rPr>
              <a:t>Ravi Kish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hivani Yadav</a:t>
            </a:r>
          </a:p>
        </p:txBody>
      </p:sp>
      <p:sp useBgFill="1">
        <p:nvSpPr>
          <p:cNvPr id="34" name="Freeform: Shape 33">
            <a:extLst>
              <a:ext uri="{FF2B5EF4-FFF2-40B4-BE49-F238E27FC236}">
                <a16:creationId xmlns:a16="http://schemas.microsoft.com/office/drawing/2014/main" id="{7BEBA014-9BCC-2C16-6EE8-340E0348B417}"/>
              </a:ext>
            </a:extLst>
          </p:cNvPr>
          <p:cNvSpPr/>
          <p:nvPr/>
        </p:nvSpPr>
        <p:spPr>
          <a:xfrm>
            <a:off x="5639860" y="0"/>
            <a:ext cx="6552141" cy="6858000"/>
          </a:xfrm>
          <a:custGeom>
            <a:avLst/>
            <a:gdLst>
              <a:gd name="connsiteX0" fmla="*/ 2374357 w 6552141"/>
              <a:gd name="connsiteY0" fmla="*/ 0 h 6858000"/>
              <a:gd name="connsiteX1" fmla="*/ 6552141 w 6552141"/>
              <a:gd name="connsiteY1" fmla="*/ 0 h 6858000"/>
              <a:gd name="connsiteX2" fmla="*/ 6552141 w 6552141"/>
              <a:gd name="connsiteY2" fmla="*/ 6858000 h 6858000"/>
              <a:gd name="connsiteX3" fmla="*/ 0 w 655214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52141" h="6858000">
                <a:moveTo>
                  <a:pt x="2374357" y="0"/>
                </a:moveTo>
                <a:lnTo>
                  <a:pt x="6552141" y="0"/>
                </a:lnTo>
                <a:lnTo>
                  <a:pt x="6552141" y="6858000"/>
                </a:lnTo>
                <a:lnTo>
                  <a:pt x="0" y="6858000"/>
                </a:lnTo>
                <a:close/>
              </a:path>
            </a:pathLst>
          </a:custGeom>
          <a:ln>
            <a:noFill/>
          </a:ln>
          <a:effectLst>
            <a:outerShdw blurRad="381000" dist="38100" dir="5400000" algn="ctr" rotWithShape="0">
              <a:srgbClr val="14377D">
                <a:alpha val="41000"/>
              </a:srgbClr>
            </a:outerShdw>
          </a:effectLst>
        </p:spPr>
        <p:style>
          <a:lnRef idx="2">
            <a:schemeClr val="accent4">
              <a:shade val="50000"/>
            </a:schemeClr>
          </a:lnRef>
          <a:fillRef idx="1">
            <a:schemeClr val="accent4"/>
          </a:fillRef>
          <a:effectRef idx="0">
            <a:schemeClr val="accent4"/>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36" name="Freeform: Shape 35">
            <a:extLst>
              <a:ext uri="{FF2B5EF4-FFF2-40B4-BE49-F238E27FC236}">
                <a16:creationId xmlns:a16="http://schemas.microsoft.com/office/drawing/2014/main" id="{35E20092-AFFA-E2A2-93B7-7EFC4A3C33CC}"/>
              </a:ext>
            </a:extLst>
          </p:cNvPr>
          <p:cNvSpPr/>
          <p:nvPr/>
        </p:nvSpPr>
        <p:spPr>
          <a:xfrm>
            <a:off x="6802472" y="0"/>
            <a:ext cx="5389528" cy="6858000"/>
          </a:xfrm>
          <a:custGeom>
            <a:avLst/>
            <a:gdLst>
              <a:gd name="connsiteX0" fmla="*/ 1650385 w 5389528"/>
              <a:gd name="connsiteY0" fmla="*/ 0 h 6858000"/>
              <a:gd name="connsiteX1" fmla="*/ 5389528 w 5389528"/>
              <a:gd name="connsiteY1" fmla="*/ 0 h 6858000"/>
              <a:gd name="connsiteX2" fmla="*/ 5389528 w 5389528"/>
              <a:gd name="connsiteY2" fmla="*/ 6858000 h 6858000"/>
              <a:gd name="connsiteX3" fmla="*/ 0 w 538952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389528" h="6858000">
                <a:moveTo>
                  <a:pt x="1650385" y="0"/>
                </a:moveTo>
                <a:lnTo>
                  <a:pt x="5389528" y="0"/>
                </a:lnTo>
                <a:lnTo>
                  <a:pt x="5389528" y="6858000"/>
                </a:lnTo>
                <a:lnTo>
                  <a:pt x="0" y="6858000"/>
                </a:lnTo>
                <a:close/>
              </a:path>
            </a:pathLst>
          </a:custGeom>
          <a:ln>
            <a:noFill/>
          </a:ln>
          <a:effectLst>
            <a:outerShdw blurRad="381000" dist="38100" dir="5400000" algn="ctr" rotWithShape="0">
              <a:srgbClr val="14377D">
                <a:alpha val="41000"/>
              </a:srgbClr>
            </a:outerShdw>
          </a:effectLst>
        </p:spPr>
        <p:style>
          <a:lnRef idx="2">
            <a:schemeClr val="accent4">
              <a:shade val="50000"/>
            </a:schemeClr>
          </a:lnRef>
          <a:fillRef idx="1">
            <a:schemeClr val="accent4"/>
          </a:fillRef>
          <a:effectRef idx="0">
            <a:schemeClr val="accent4"/>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7957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repeatCount="indefinite" accel="25000" decel="25000" autoRev="1" fill="hold" grpId="0" nodeType="withEffect">
                                  <p:stCondLst>
                                    <p:cond delay="0"/>
                                  </p:stCondLst>
                                  <p:childTnLst>
                                    <p:animMotion origin="layout" path="M 2.29167E-6 0 L -0.30469 0 " pathEditMode="relative" rAng="0" ptsTypes="AA">
                                      <p:cBhvr>
                                        <p:cTn id="6" dur="4000" fill="hold"/>
                                        <p:tgtEl>
                                          <p:spTgt spid="32"/>
                                        </p:tgtEl>
                                        <p:attrNameLst>
                                          <p:attrName>ppt_x</p:attrName>
                                          <p:attrName>ppt_y</p:attrName>
                                        </p:attrNameLst>
                                      </p:cBhvr>
                                      <p:rCtr x="-15234" y="0"/>
                                    </p:animMotion>
                                  </p:childTnLst>
                                </p:cTn>
                              </p:par>
                              <p:par>
                                <p:cTn id="7" presetID="6" presetClass="emph" presetSubtype="0" repeatCount="indefinite" accel="25000" decel="25000" autoRev="1" fill="hold" grpId="1" nodeType="withEffect">
                                  <p:stCondLst>
                                    <p:cond delay="0"/>
                                  </p:stCondLst>
                                  <p:childTnLst>
                                    <p:animScale>
                                      <p:cBhvr>
                                        <p:cTn id="8" dur="4000" fill="hold"/>
                                        <p:tgtEl>
                                          <p:spTgt spid="32"/>
                                        </p:tgtEl>
                                      </p:cBhvr>
                                      <p:by x="150000" y="100000"/>
                                    </p:animScale>
                                  </p:childTnLst>
                                </p:cTn>
                              </p:par>
                              <p:par>
                                <p:cTn id="9" presetID="35" presetClass="path" presetSubtype="0" repeatCount="indefinite" accel="25000" decel="25000" autoRev="1" fill="hold" grpId="0" nodeType="withEffect">
                                  <p:stCondLst>
                                    <p:cond delay="0"/>
                                  </p:stCondLst>
                                  <p:childTnLst>
                                    <p:animMotion origin="layout" path="M 0 0 L -0.25 0 E" pathEditMode="relative" ptsTypes="">
                                      <p:cBhvr>
                                        <p:cTn id="10" dur="4000" fill="hold"/>
                                        <p:tgtEl>
                                          <p:spTgt spid="30"/>
                                        </p:tgtEl>
                                        <p:attrNameLst>
                                          <p:attrName>ppt_x</p:attrName>
                                          <p:attrName>ppt_y</p:attrName>
                                        </p:attrNameLst>
                                      </p:cBhvr>
                                    </p:animMotion>
                                  </p:childTnLst>
                                </p:cTn>
                              </p:par>
                              <p:par>
                                <p:cTn id="11" presetID="6" presetClass="emph" presetSubtype="0" repeatCount="indefinite" accel="25000" decel="25000" autoRev="1" fill="hold" grpId="1" nodeType="withEffect">
                                  <p:stCondLst>
                                    <p:cond delay="0"/>
                                  </p:stCondLst>
                                  <p:childTnLst>
                                    <p:animScale>
                                      <p:cBhvr>
                                        <p:cTn id="12" dur="4000" fill="hold"/>
                                        <p:tgtEl>
                                          <p:spTgt spid="30"/>
                                        </p:tgtEl>
                                      </p:cBhvr>
                                      <p:by x="100000" y="150000"/>
                                    </p:animScale>
                                  </p:childTnLst>
                                </p:cTn>
                              </p:par>
                              <p:par>
                                <p:cTn id="13" presetID="63" presetClass="path" presetSubtype="0" repeatCount="indefinite" accel="50000" decel="50000" autoRev="1" fill="hold" grpId="0" nodeType="withEffect">
                                  <p:stCondLst>
                                    <p:cond delay="0"/>
                                  </p:stCondLst>
                                  <p:childTnLst>
                                    <p:animMotion origin="layout" path="M 0 0 L 0.25 0 E" pathEditMode="relative" ptsTypes="">
                                      <p:cBhvr>
                                        <p:cTn id="14" dur="4000" fill="hold"/>
                                        <p:tgtEl>
                                          <p:spTgt spid="36"/>
                                        </p:tgtEl>
                                        <p:attrNameLst>
                                          <p:attrName>ppt_x</p:attrName>
                                          <p:attrName>ppt_y</p:attrName>
                                        </p:attrNameLst>
                                      </p:cBhvr>
                                    </p:animMotion>
                                  </p:childTnLst>
                                </p:cTn>
                              </p:par>
                              <p:par>
                                <p:cTn id="15" presetID="6" presetClass="emph" presetSubtype="0" repeatCount="indefinite" accel="25000" decel="25000" autoRev="1" fill="hold" grpId="1" nodeType="withEffect">
                                  <p:stCondLst>
                                    <p:cond delay="0"/>
                                  </p:stCondLst>
                                  <p:childTnLst>
                                    <p:animScale>
                                      <p:cBhvr>
                                        <p:cTn id="16" dur="4000" fill="hold"/>
                                        <p:tgtEl>
                                          <p:spTgt spid="36"/>
                                        </p:tgtEl>
                                      </p:cBhvr>
                                      <p:by x="150000" y="100000"/>
                                    </p:animScale>
                                  </p:childTnLst>
                                </p:cTn>
                              </p:par>
                              <p:par>
                                <p:cTn id="17" presetID="63" presetClass="path" presetSubtype="0" repeatCount="indefinite" accel="50000" decel="50000" autoRev="1" fill="hold" grpId="0" nodeType="withEffect">
                                  <p:stCondLst>
                                    <p:cond delay="0"/>
                                  </p:stCondLst>
                                  <p:childTnLst>
                                    <p:animMotion origin="layout" path="M 0 0 L 0.25 0 E" pathEditMode="relative" ptsTypes="">
                                      <p:cBhvr>
                                        <p:cTn id="18" dur="4000" fill="hold"/>
                                        <p:tgtEl>
                                          <p:spTgt spid="34"/>
                                        </p:tgtEl>
                                        <p:attrNameLst>
                                          <p:attrName>ppt_x</p:attrName>
                                          <p:attrName>ppt_y</p:attrName>
                                        </p:attrNameLst>
                                      </p:cBhvr>
                                    </p:animMotion>
                                  </p:childTnLst>
                                </p:cTn>
                              </p:par>
                              <p:par>
                                <p:cTn id="19" presetID="6" presetClass="emph" presetSubtype="0" repeatCount="indefinite" accel="25000" decel="25000" autoRev="1" fill="hold" grpId="1" nodeType="withEffect">
                                  <p:stCondLst>
                                    <p:cond delay="0"/>
                                  </p:stCondLst>
                                  <p:childTnLst>
                                    <p:animScale>
                                      <p:cBhvr>
                                        <p:cTn id="20" dur="4000" fill="hold"/>
                                        <p:tgtEl>
                                          <p:spTgt spid="34"/>
                                        </p:tgtEl>
                                      </p:cBhvr>
                                      <p:by x="100000" y="150000"/>
                                    </p:animScale>
                                  </p:childTnLst>
                                </p:cTn>
                              </p:par>
                              <p:par>
                                <p:cTn id="21" presetID="63" presetClass="path" presetSubtype="0" repeatCount="indefinite" accel="50000" decel="50000" autoRev="1" fill="hold" grpId="0" nodeType="withEffect">
                                  <p:stCondLst>
                                    <p:cond delay="0"/>
                                  </p:stCondLst>
                                  <p:childTnLst>
                                    <p:animMotion origin="layout" path="M 0 0 L 0.07122 0 " pathEditMode="relative" rAng="0" ptsTypes="AA">
                                      <p:cBhvr>
                                        <p:cTn id="22" dur="4000" fill="hold"/>
                                        <p:tgtEl>
                                          <p:spTgt spid="37"/>
                                        </p:tgtEl>
                                        <p:attrNameLst>
                                          <p:attrName>ppt_x</p:attrName>
                                          <p:attrName>ppt_y</p:attrName>
                                        </p:attrNameLst>
                                      </p:cBhvr>
                                      <p:rCtr x="3555" y="0"/>
                                    </p:animMotion>
                                  </p:childTnLst>
                                </p:cTn>
                              </p:par>
                              <p:par>
                                <p:cTn id="23" presetID="6" presetClass="emph" presetSubtype="0" repeatCount="indefinite" accel="25000" decel="25000" autoRev="1" fill="hold" grpId="1" nodeType="withEffect">
                                  <p:stCondLst>
                                    <p:cond delay="0"/>
                                  </p:stCondLst>
                                  <p:childTnLst>
                                    <p:animScale>
                                      <p:cBhvr>
                                        <p:cTn id="24" dur="4000" fill="hold"/>
                                        <p:tgtEl>
                                          <p:spTgt spid="37"/>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7" grpId="1" animBg="1"/>
      <p:bldP spid="30" grpId="0" animBg="1"/>
      <p:bldP spid="30" grpId="1" animBg="1"/>
      <p:bldP spid="32" grpId="0" animBg="1"/>
      <p:bldP spid="32" grpId="1" animBg="1"/>
      <p:bldP spid="34" grpId="0" animBg="1"/>
      <p:bldP spid="34" grpId="1" animBg="1"/>
      <p:bldP spid="36" grpId="0" animBg="1"/>
      <p:bldP spid="36" grpId="1" animBg="1"/>
    </p:bldLst>
  </p:timing>
</p:sld>
</file>

<file path=ppt/slides/slide10.xml><?xml version="1.0" encoding="utf-8"?>
<p:sld xmlns:a="http://schemas.openxmlformats.org/drawingml/2006/main" xmlns:r="http://schemas.openxmlformats.org/officeDocument/2006/relationships" xmlns:p="http://schemas.openxmlformats.org/presentationml/2006/main">
  <p:cSld>
    <p:bg>
      <p:bgPr>
        <a:gradFill>
          <a:gsLst>
            <a:gs pos="0">
              <a:schemeClr val="bg1"/>
            </a:gs>
            <a:gs pos="50000">
              <a:srgbClr val="C371EB"/>
            </a:gs>
            <a:gs pos="100000">
              <a:srgbClr val="A577D7"/>
            </a:gs>
          </a:gsLst>
          <a:lin ang="10800000" scaled="1"/>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E8B9359-5B8D-42D8-8D71-381018F24C77}"/>
              </a:ext>
            </a:extLst>
          </p:cNvPr>
          <p:cNvPicPr>
            <a:picLocks noChangeAspect="1"/>
          </p:cNvPicPr>
          <p:nvPr/>
        </p:nvPicPr>
        <p:blipFill rotWithShape="1">
          <a:blip r:embed="rId2"/>
          <a:srcRect l="4818" t="13929" r="11068" b="15870"/>
          <a:stretch/>
        </p:blipFill>
        <p:spPr>
          <a:xfrm>
            <a:off x="0" y="1"/>
            <a:ext cx="12192000" cy="6857999"/>
          </a:xfrm>
          <a:prstGeom prst="rect">
            <a:avLst/>
          </a:prstGeom>
        </p:spPr>
      </p:pic>
      <p:pic>
        <p:nvPicPr>
          <p:cNvPr id="5" name="Picture 4">
            <a:extLst>
              <a:ext uri="{FF2B5EF4-FFF2-40B4-BE49-F238E27FC236}">
                <a16:creationId xmlns:a16="http://schemas.microsoft.com/office/drawing/2014/main" id="{59EC0469-F0EB-4FA6-A663-0F1171475995}"/>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1110" t="1548" r="91086" b="2540"/>
          <a:stretch/>
        </p:blipFill>
        <p:spPr>
          <a:xfrm>
            <a:off x="135166" y="106342"/>
            <a:ext cx="951535" cy="6577488"/>
          </a:xfrm>
          <a:prstGeom prst="roundRect">
            <a:avLst>
              <a:gd name="adj" fmla="val 33164"/>
            </a:avLst>
          </a:prstGeom>
          <a:noFill/>
          <a:ln>
            <a:noFill/>
          </a:ln>
          <a:effectLst>
            <a:outerShdw blurRad="635000" dist="215900" dir="7200000" algn="ctr" rotWithShape="0">
              <a:schemeClr val="tx1">
                <a:lumMod val="50000"/>
                <a:lumOff val="50000"/>
                <a:alpha val="43000"/>
              </a:schemeClr>
            </a:outerShdw>
          </a:effectLst>
        </p:spPr>
      </p:pic>
      <p:pic>
        <p:nvPicPr>
          <p:cNvPr id="37" name="Picture 36">
            <a:extLst>
              <a:ext uri="{FF2B5EF4-FFF2-40B4-BE49-F238E27FC236}">
                <a16:creationId xmlns:a16="http://schemas.microsoft.com/office/drawing/2014/main" id="{F4D43D9A-CA01-4EA3-9C34-9479F0A7004D}"/>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33493" t="-136676" r="-3966" b="113843"/>
          <a:stretch/>
        </p:blipFill>
        <p:spPr>
          <a:xfrm>
            <a:off x="4083528" y="-9372600"/>
            <a:ext cx="8592335" cy="8423605"/>
          </a:xfrm>
          <a:prstGeom prst="roundRect">
            <a:avLst>
              <a:gd name="adj" fmla="val 4648"/>
            </a:avLst>
          </a:prstGeom>
          <a:noFill/>
          <a:ln>
            <a:noFill/>
          </a:ln>
          <a:effectLst>
            <a:outerShdw blurRad="635000" dist="215900" dir="7200000" algn="ctr" rotWithShape="0">
              <a:schemeClr val="tx1">
                <a:lumMod val="50000"/>
                <a:lumOff val="50000"/>
                <a:alpha val="43000"/>
              </a:schemeClr>
            </a:outerShdw>
          </a:effectLst>
        </p:spPr>
      </p:pic>
      <p:sp>
        <p:nvSpPr>
          <p:cNvPr id="54" name="TextBox 53">
            <a:extLst>
              <a:ext uri="{FF2B5EF4-FFF2-40B4-BE49-F238E27FC236}">
                <a16:creationId xmlns:a16="http://schemas.microsoft.com/office/drawing/2014/main" id="{29B54383-2597-40B9-B80A-9986488CEA4A}"/>
              </a:ext>
            </a:extLst>
          </p:cNvPr>
          <p:cNvSpPr txBox="1"/>
          <p:nvPr/>
        </p:nvSpPr>
        <p:spPr>
          <a:xfrm rot="5400000">
            <a:off x="-394831" y="1947097"/>
            <a:ext cx="205617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800" b="1" i="0" u="none" strike="noStrike" kern="1200" cap="none" spc="0" normalizeH="0" baseline="0" noProof="0" dirty="0">
                <a:ln>
                  <a:noFill/>
                </a:ln>
                <a:solidFill>
                  <a:srgbClr val="A776D9"/>
                </a:solidFill>
                <a:effectLst/>
                <a:uLnTx/>
                <a:uFillTx/>
                <a:latin typeface="Century Gothic" panose="020B0502020202020204" pitchFamily="34" charset="0"/>
                <a:ea typeface="+mn-ea"/>
                <a:cs typeface="+mn-cs"/>
              </a:rPr>
              <a:t>Relax. </a:t>
            </a:r>
          </a:p>
        </p:txBody>
      </p:sp>
      <p:pic>
        <p:nvPicPr>
          <p:cNvPr id="46" name="oppo">
            <a:extLst>
              <a:ext uri="{FF2B5EF4-FFF2-40B4-BE49-F238E27FC236}">
                <a16:creationId xmlns:a16="http://schemas.microsoft.com/office/drawing/2014/main" id="{B346AF4A-3381-4BD7-9BDB-7032FEB6E9EA}"/>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164820" t="6551" r="-87820" b="6987"/>
          <a:stretch/>
        </p:blipFill>
        <p:spPr>
          <a:xfrm>
            <a:off x="20397083" y="377318"/>
            <a:ext cx="2877294" cy="6082834"/>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pic>
        <p:nvPicPr>
          <p:cNvPr id="45" name="samsung">
            <a:extLst>
              <a:ext uri="{FF2B5EF4-FFF2-40B4-BE49-F238E27FC236}">
                <a16:creationId xmlns:a16="http://schemas.microsoft.com/office/drawing/2014/main" id="{B361528D-29D6-42DE-BA45-22F10A33F8B0}"/>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121712" t="5498" r="-44048" b="5802"/>
          <a:stretch/>
        </p:blipFill>
        <p:spPr>
          <a:xfrm>
            <a:off x="14840428" y="377317"/>
            <a:ext cx="2723672" cy="6082835"/>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pic>
        <p:nvPicPr>
          <p:cNvPr id="71" name="Picture 70">
            <a:extLst>
              <a:ext uri="{FF2B5EF4-FFF2-40B4-BE49-F238E27FC236}">
                <a16:creationId xmlns:a16="http://schemas.microsoft.com/office/drawing/2014/main" id="{75CF27DD-3E20-45B8-A828-9CE14A072F53}"/>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14954" t="5497" r="52300" b="5802"/>
          <a:stretch/>
        </p:blipFill>
        <p:spPr>
          <a:xfrm>
            <a:off x="1822272" y="377317"/>
            <a:ext cx="3993031" cy="6082836"/>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sp>
        <p:nvSpPr>
          <p:cNvPr id="67" name="TextBox 66">
            <a:extLst>
              <a:ext uri="{FF2B5EF4-FFF2-40B4-BE49-F238E27FC236}">
                <a16:creationId xmlns:a16="http://schemas.microsoft.com/office/drawing/2014/main" id="{6949D7E2-6FF0-4F2A-A0CC-32AF305940B8}"/>
              </a:ext>
            </a:extLst>
          </p:cNvPr>
          <p:cNvSpPr txBox="1"/>
          <p:nvPr/>
        </p:nvSpPr>
        <p:spPr>
          <a:xfrm>
            <a:off x="13276748" y="4377658"/>
            <a:ext cx="2184559"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MySQL</a:t>
            </a:r>
            <a:endParaRPr kumimoji="0" lang="en-MY"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TextBox 68">
            <a:extLst>
              <a:ext uri="{FF2B5EF4-FFF2-40B4-BE49-F238E27FC236}">
                <a16:creationId xmlns:a16="http://schemas.microsoft.com/office/drawing/2014/main" id="{CF847EF9-1789-4C48-99AE-3A58281E6F8C}"/>
              </a:ext>
            </a:extLst>
          </p:cNvPr>
          <p:cNvSpPr txBox="1"/>
          <p:nvPr/>
        </p:nvSpPr>
        <p:spPr>
          <a:xfrm>
            <a:off x="13308426" y="4910216"/>
            <a:ext cx="2152881"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Some money</a:t>
            </a:r>
            <a:endParaRPr kumimoji="0" lang="en-MY" sz="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TextBox 69">
            <a:extLst>
              <a:ext uri="{FF2B5EF4-FFF2-40B4-BE49-F238E27FC236}">
                <a16:creationId xmlns:a16="http://schemas.microsoft.com/office/drawing/2014/main" id="{9A079DBA-C4FC-43E7-B4DB-B9BF2C6715EE}"/>
              </a:ext>
            </a:extLst>
          </p:cNvPr>
          <p:cNvSpPr txBox="1"/>
          <p:nvPr/>
        </p:nvSpPr>
        <p:spPr>
          <a:xfrm>
            <a:off x="13284561" y="5228153"/>
            <a:ext cx="2294642"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Lalisa</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in the house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yooooo</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Drop some money, dropping some money yeah…</a:t>
            </a:r>
          </a:p>
        </p:txBody>
      </p:sp>
      <p:sp>
        <p:nvSpPr>
          <p:cNvPr id="72" name="TextBox 71">
            <a:extLst>
              <a:ext uri="{FF2B5EF4-FFF2-40B4-BE49-F238E27FC236}">
                <a16:creationId xmlns:a16="http://schemas.microsoft.com/office/drawing/2014/main" id="{722DC1A7-94D5-4F66-B387-D765AFC82A68}"/>
              </a:ext>
            </a:extLst>
          </p:cNvPr>
          <p:cNvSpPr txBox="1"/>
          <p:nvPr/>
        </p:nvSpPr>
        <p:spPr>
          <a:xfrm>
            <a:off x="23604240" y="4474851"/>
            <a:ext cx="2444400" cy="1754326"/>
          </a:xfrm>
          <a:prstGeom prst="rect">
            <a:avLst/>
          </a:prstGeom>
          <a:noFill/>
        </p:spPr>
        <p:txBody>
          <a:bodyPr wrap="square">
            <a:spAutoFit/>
          </a:bodyPr>
          <a:lstStyle/>
          <a:p>
            <a:r>
              <a:rPr lang="en-MY" sz="3600" b="1" dirty="0" err="1">
                <a:solidFill>
                  <a:prstClr val="black">
                    <a:lumMod val="75000"/>
                    <a:lumOff val="25000"/>
                  </a:prstClr>
                </a:solidFill>
                <a:effectLst>
                  <a:outerShdw blurRad="50800" dist="38100" dir="5400000" algn="t" rotWithShape="0">
                    <a:prstClr val="black">
                      <a:alpha val="40000"/>
                    </a:prstClr>
                  </a:outerShdw>
                </a:effectLst>
                <a:latin typeface="Century Gothic" panose="020B0502020202020204" pitchFamily="34" charset="0"/>
              </a:rPr>
              <a:t>Tailwindcss</a:t>
            </a:r>
            <a:endParaRPr kumimoji="0" lang="en-MY" sz="3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36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 On</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TextBox 72">
            <a:extLst>
              <a:ext uri="{FF2B5EF4-FFF2-40B4-BE49-F238E27FC236}">
                <a16:creationId xmlns:a16="http://schemas.microsoft.com/office/drawing/2014/main" id="{B21CF52B-E9F7-45B2-A896-9E8A7852CA7B}"/>
              </a:ext>
            </a:extLst>
          </p:cNvPr>
          <p:cNvSpPr txBox="1"/>
          <p:nvPr/>
        </p:nvSpPr>
        <p:spPr>
          <a:xfrm>
            <a:off x="23656756" y="4925605"/>
            <a:ext cx="263447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Glassmorphism</a:t>
            </a:r>
            <a:endParaRPr kumimoji="0" lang="en-MY"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TextBox 73">
            <a:extLst>
              <a:ext uri="{FF2B5EF4-FFF2-40B4-BE49-F238E27FC236}">
                <a16:creationId xmlns:a16="http://schemas.microsoft.com/office/drawing/2014/main" id="{349DD8A8-CE49-4389-9560-82F5328D35D9}"/>
              </a:ext>
            </a:extLst>
          </p:cNvPr>
          <p:cNvSpPr txBox="1"/>
          <p:nvPr/>
        </p:nvSpPr>
        <p:spPr>
          <a:xfrm>
            <a:off x="23679119" y="5229045"/>
            <a:ext cx="2294642"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Saya suka ikan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masin</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sekian</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terima</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kasih</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a:t>
            </a:r>
          </a:p>
        </p:txBody>
      </p:sp>
      <p:grpSp>
        <p:nvGrpSpPr>
          <p:cNvPr id="83" name="Group 82">
            <a:extLst>
              <a:ext uri="{FF2B5EF4-FFF2-40B4-BE49-F238E27FC236}">
                <a16:creationId xmlns:a16="http://schemas.microsoft.com/office/drawing/2014/main" id="{D4531BAF-8C94-4D9A-9C18-9C68761E7D75}"/>
              </a:ext>
            </a:extLst>
          </p:cNvPr>
          <p:cNvGrpSpPr/>
          <p:nvPr/>
        </p:nvGrpSpPr>
        <p:grpSpPr>
          <a:xfrm>
            <a:off x="13523884" y="5990204"/>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84" name="Rectangle: Rounded Corners 83">
              <a:extLst>
                <a:ext uri="{FF2B5EF4-FFF2-40B4-BE49-F238E27FC236}">
                  <a16:creationId xmlns:a16="http://schemas.microsoft.com/office/drawing/2014/main" id="{440C12BD-E605-43AF-8A3E-DED7A83F41F6}"/>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85" name="TextBox 84">
              <a:extLst>
                <a:ext uri="{FF2B5EF4-FFF2-40B4-BE49-F238E27FC236}">
                  <a16:creationId xmlns:a16="http://schemas.microsoft.com/office/drawing/2014/main" id="{308E08D7-0733-4FFF-AFF5-57A21B159451}"/>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86" name="Group 85">
            <a:extLst>
              <a:ext uri="{FF2B5EF4-FFF2-40B4-BE49-F238E27FC236}">
                <a16:creationId xmlns:a16="http://schemas.microsoft.com/office/drawing/2014/main" id="{1902AA37-DF08-4C67-8A1E-7261EA62742F}"/>
              </a:ext>
            </a:extLst>
          </p:cNvPr>
          <p:cNvGrpSpPr/>
          <p:nvPr/>
        </p:nvGrpSpPr>
        <p:grpSpPr>
          <a:xfrm>
            <a:off x="25343497" y="5990204"/>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87" name="Rectangle: Rounded Corners 86">
              <a:extLst>
                <a:ext uri="{FF2B5EF4-FFF2-40B4-BE49-F238E27FC236}">
                  <a16:creationId xmlns:a16="http://schemas.microsoft.com/office/drawing/2014/main" id="{A366AE2D-371B-4717-9F22-845F46BA1426}"/>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88" name="TextBox 87">
              <a:extLst>
                <a:ext uri="{FF2B5EF4-FFF2-40B4-BE49-F238E27FC236}">
                  <a16:creationId xmlns:a16="http://schemas.microsoft.com/office/drawing/2014/main" id="{5EC4DBBD-84FD-413F-BB9A-B226CC352BD5}"/>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50" name="TextBox 49">
            <a:extLst>
              <a:ext uri="{FF2B5EF4-FFF2-40B4-BE49-F238E27FC236}">
                <a16:creationId xmlns:a16="http://schemas.microsoft.com/office/drawing/2014/main" id="{4AE84F63-2E09-4BA3-8452-32B260CAF7FB}"/>
              </a:ext>
            </a:extLst>
          </p:cNvPr>
          <p:cNvSpPr txBox="1"/>
          <p:nvPr/>
        </p:nvSpPr>
        <p:spPr>
          <a:xfrm>
            <a:off x="1935638" y="4463940"/>
            <a:ext cx="2184559"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MY" sz="4000" b="1" dirty="0">
                <a:solidFill>
                  <a:prstClr val="black">
                    <a:lumMod val="75000"/>
                    <a:lumOff val="25000"/>
                  </a:prstClr>
                </a:solidFill>
                <a:effectLst>
                  <a:outerShdw blurRad="50800" dist="38100" dir="5400000" algn="t" rotWithShape="0">
                    <a:prstClr val="black">
                      <a:alpha val="40000"/>
                    </a:prstClr>
                  </a:outerShdw>
                </a:effectLst>
                <a:latin typeface="Century Gothic" panose="020B0502020202020204" pitchFamily="34" charset="0"/>
              </a:rPr>
              <a:t>Laravel</a:t>
            </a:r>
            <a:r>
              <a:rPr kumimoji="0" lang="en-MY" sz="4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 </a:t>
            </a:r>
            <a:endParaRPr kumimoji="0" lang="en-MY"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TextBox 51">
            <a:extLst>
              <a:ext uri="{FF2B5EF4-FFF2-40B4-BE49-F238E27FC236}">
                <a16:creationId xmlns:a16="http://schemas.microsoft.com/office/drawing/2014/main" id="{E5BDFD78-2F93-4419-9F7B-845A4431D4BB}"/>
              </a:ext>
            </a:extLst>
          </p:cNvPr>
          <p:cNvSpPr txBox="1"/>
          <p:nvPr/>
        </p:nvSpPr>
        <p:spPr>
          <a:xfrm>
            <a:off x="1979648" y="4977658"/>
            <a:ext cx="2240671"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PHP Framework</a:t>
            </a:r>
            <a:endParaRPr kumimoji="0" lang="en-MY" sz="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TextBox 65">
            <a:extLst>
              <a:ext uri="{FF2B5EF4-FFF2-40B4-BE49-F238E27FC236}">
                <a16:creationId xmlns:a16="http://schemas.microsoft.com/office/drawing/2014/main" id="{0576673A-6031-4FAF-9899-FD6B6CF3F52D}"/>
              </a:ext>
            </a:extLst>
          </p:cNvPr>
          <p:cNvSpPr txBox="1"/>
          <p:nvPr/>
        </p:nvSpPr>
        <p:spPr>
          <a:xfrm>
            <a:off x="1969687" y="5287512"/>
            <a:ext cx="229464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Laravel is a PHP based backend framework. It based on MVC.</a:t>
            </a:r>
          </a:p>
        </p:txBody>
      </p:sp>
      <p:grpSp>
        <p:nvGrpSpPr>
          <p:cNvPr id="80" name="Group 79">
            <a:extLst>
              <a:ext uri="{FF2B5EF4-FFF2-40B4-BE49-F238E27FC236}">
                <a16:creationId xmlns:a16="http://schemas.microsoft.com/office/drawing/2014/main" id="{DEE947F0-A076-48AA-BC32-D455DE7B36BA}"/>
              </a:ext>
            </a:extLst>
          </p:cNvPr>
          <p:cNvGrpSpPr/>
          <p:nvPr/>
        </p:nvGrpSpPr>
        <p:grpSpPr>
          <a:xfrm>
            <a:off x="2871050" y="5968775"/>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81" name="Rectangle: Rounded Corners 80">
              <a:extLst>
                <a:ext uri="{FF2B5EF4-FFF2-40B4-BE49-F238E27FC236}">
                  <a16:creationId xmlns:a16="http://schemas.microsoft.com/office/drawing/2014/main" id="{0274C5AA-9F89-4B8A-81E7-CD0CF52CDCB7}"/>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82" name="TextBox 81">
              <a:extLst>
                <a:ext uri="{FF2B5EF4-FFF2-40B4-BE49-F238E27FC236}">
                  <a16:creationId xmlns:a16="http://schemas.microsoft.com/office/drawing/2014/main" id="{593FA130-E895-471C-9534-7A2041ABB43B}"/>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93" name="Rectangle: Rounded Corners 92">
            <a:extLst>
              <a:ext uri="{FF2B5EF4-FFF2-40B4-BE49-F238E27FC236}">
                <a16:creationId xmlns:a16="http://schemas.microsoft.com/office/drawing/2014/main" id="{17F12720-6762-45C2-B94D-35A720133112}"/>
              </a:ext>
            </a:extLst>
          </p:cNvPr>
          <p:cNvSpPr/>
          <p:nvPr/>
        </p:nvSpPr>
        <p:spPr>
          <a:xfrm>
            <a:off x="21677525" y="465992"/>
            <a:ext cx="964520" cy="94179"/>
          </a:xfrm>
          <a:prstGeom prst="roundRect">
            <a:avLst>
              <a:gd name="adj" fmla="val 50000"/>
            </a:avLst>
          </a:prstGeom>
          <a:solidFill>
            <a:srgbClr val="B499EB"/>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Rectangle: Rounded Corners 93">
            <a:extLst>
              <a:ext uri="{FF2B5EF4-FFF2-40B4-BE49-F238E27FC236}">
                <a16:creationId xmlns:a16="http://schemas.microsoft.com/office/drawing/2014/main" id="{34630F59-9129-4383-B5FB-032087DCEC36}"/>
              </a:ext>
            </a:extLst>
          </p:cNvPr>
          <p:cNvSpPr/>
          <p:nvPr/>
        </p:nvSpPr>
        <p:spPr>
          <a:xfrm>
            <a:off x="13599677" y="468908"/>
            <a:ext cx="964520" cy="94179"/>
          </a:xfrm>
          <a:prstGeom prst="roundRect">
            <a:avLst>
              <a:gd name="adj" fmla="val 50000"/>
            </a:avLst>
          </a:prstGeom>
          <a:solidFill>
            <a:srgbClr val="CA9DF5"/>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Rectangle: Rounded Corners 94">
            <a:extLst>
              <a:ext uri="{FF2B5EF4-FFF2-40B4-BE49-F238E27FC236}">
                <a16:creationId xmlns:a16="http://schemas.microsoft.com/office/drawing/2014/main" id="{3ADBE372-F0C1-45A2-81D9-EB621E963F7B}"/>
              </a:ext>
            </a:extLst>
          </p:cNvPr>
          <p:cNvSpPr/>
          <p:nvPr/>
        </p:nvSpPr>
        <p:spPr>
          <a:xfrm>
            <a:off x="3336527" y="473616"/>
            <a:ext cx="964520" cy="94179"/>
          </a:xfrm>
          <a:prstGeom prst="roundRect">
            <a:avLst>
              <a:gd name="adj" fmla="val 50000"/>
            </a:avLst>
          </a:prstGeom>
          <a:solidFill>
            <a:srgbClr val="CA9DF5"/>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 name="Picture 28">
            <a:extLst>
              <a:ext uri="{FF2B5EF4-FFF2-40B4-BE49-F238E27FC236}">
                <a16:creationId xmlns:a16="http://schemas.microsoft.com/office/drawing/2014/main" id="{AF9F9A33-2BB3-4D07-92A8-53BD666EB60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924428">
            <a:off x="20339882" y="1434355"/>
            <a:ext cx="3310844" cy="2672115"/>
          </a:xfrm>
          <a:prstGeom prst="rect">
            <a:avLst/>
          </a:prstGeom>
        </p:spPr>
      </p:pic>
      <p:pic>
        <p:nvPicPr>
          <p:cNvPr id="104" name="Picture 103">
            <a:extLst>
              <a:ext uri="{FF2B5EF4-FFF2-40B4-BE49-F238E27FC236}">
                <a16:creationId xmlns:a16="http://schemas.microsoft.com/office/drawing/2014/main" id="{670918A6-9276-4A05-9DA1-8F2D3F9B2727}"/>
              </a:ext>
            </a:extLst>
          </p:cNvPr>
          <p:cNvPicPr>
            <a:picLocks noChangeAspect="1"/>
          </p:cNvPicPr>
          <p:nvPr/>
        </p:nvPicPr>
        <p:blipFill>
          <a:blip r:embed="rId6"/>
          <a:stretch>
            <a:fillRect/>
          </a:stretch>
        </p:blipFill>
        <p:spPr>
          <a:xfrm rot="19733165" flipH="1">
            <a:off x="12915870" y="719948"/>
            <a:ext cx="832518" cy="832518"/>
          </a:xfrm>
          <a:prstGeom prst="rect">
            <a:avLst/>
          </a:prstGeom>
        </p:spPr>
      </p:pic>
      <p:sp>
        <p:nvSpPr>
          <p:cNvPr id="108" name="Freeform: Shape 107">
            <a:extLst>
              <a:ext uri="{FF2B5EF4-FFF2-40B4-BE49-F238E27FC236}">
                <a16:creationId xmlns:a16="http://schemas.microsoft.com/office/drawing/2014/main" id="{FE044538-E8D8-4CC0-B54E-B8952C2B12A3}"/>
              </a:ext>
            </a:extLst>
          </p:cNvPr>
          <p:cNvSpPr/>
          <p:nvPr/>
        </p:nvSpPr>
        <p:spPr>
          <a:xfrm rot="20700000">
            <a:off x="2146200" y="735885"/>
            <a:ext cx="3209150" cy="5556959"/>
          </a:xfrm>
          <a:custGeom>
            <a:avLst/>
            <a:gdLst>
              <a:gd name="connsiteX0" fmla="*/ 2298694 w 2462684"/>
              <a:gd name="connsiteY0" fmla="*/ 4048436 h 4051070"/>
              <a:gd name="connsiteX1" fmla="*/ 2251069 w 2462684"/>
              <a:gd name="connsiteY1" fmla="*/ 3248336 h 4051070"/>
              <a:gd name="connsiteX2" fmla="*/ 1231894 w 2462684"/>
              <a:gd name="connsiteY2" fmla="*/ 2876861 h 4051070"/>
              <a:gd name="connsiteX3" fmla="*/ 822319 w 2462684"/>
              <a:gd name="connsiteY3" fmla="*/ 1914836 h 4051070"/>
              <a:gd name="connsiteX4" fmla="*/ 136519 w 2462684"/>
              <a:gd name="connsiteY4" fmla="*/ 1057586 h 4051070"/>
              <a:gd name="connsiteX5" fmla="*/ 22219 w 2462684"/>
              <a:gd name="connsiteY5" fmla="*/ 419411 h 4051070"/>
              <a:gd name="connsiteX6" fmla="*/ 431794 w 2462684"/>
              <a:gd name="connsiteY6" fmla="*/ 9836 h 4051070"/>
              <a:gd name="connsiteX7" fmla="*/ 1212844 w 2462684"/>
              <a:gd name="connsiteY7" fmla="*/ 828986 h 4051070"/>
              <a:gd name="connsiteX8" fmla="*/ 1460494 w 2462684"/>
              <a:gd name="connsiteY8" fmla="*/ 1933886 h 4051070"/>
              <a:gd name="connsiteX9" fmla="*/ 1536694 w 2462684"/>
              <a:gd name="connsiteY9" fmla="*/ 2543486 h 4051070"/>
              <a:gd name="connsiteX10" fmla="*/ 2422519 w 2462684"/>
              <a:gd name="connsiteY10" fmla="*/ 2953061 h 4051070"/>
              <a:gd name="connsiteX11" fmla="*/ 2298694 w 2462684"/>
              <a:gd name="connsiteY11" fmla="*/ 4048436 h 405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62684" h="4051070">
                <a:moveTo>
                  <a:pt x="2298694" y="4048436"/>
                </a:moveTo>
                <a:cubicBezTo>
                  <a:pt x="2270119" y="4097649"/>
                  <a:pt x="2428869" y="3443598"/>
                  <a:pt x="2251069" y="3248336"/>
                </a:cubicBezTo>
                <a:cubicBezTo>
                  <a:pt x="2073269" y="3053074"/>
                  <a:pt x="1470019" y="3099111"/>
                  <a:pt x="1231894" y="2876861"/>
                </a:cubicBezTo>
                <a:cubicBezTo>
                  <a:pt x="993769" y="2654611"/>
                  <a:pt x="1004881" y="2218048"/>
                  <a:pt x="822319" y="1914836"/>
                </a:cubicBezTo>
                <a:cubicBezTo>
                  <a:pt x="639757" y="1611624"/>
                  <a:pt x="269869" y="1306823"/>
                  <a:pt x="136519" y="1057586"/>
                </a:cubicBezTo>
                <a:cubicBezTo>
                  <a:pt x="3169" y="808349"/>
                  <a:pt x="-26994" y="594036"/>
                  <a:pt x="22219" y="419411"/>
                </a:cubicBezTo>
                <a:cubicBezTo>
                  <a:pt x="71431" y="244786"/>
                  <a:pt x="233357" y="-58426"/>
                  <a:pt x="431794" y="9836"/>
                </a:cubicBezTo>
                <a:cubicBezTo>
                  <a:pt x="630231" y="78098"/>
                  <a:pt x="1041394" y="508311"/>
                  <a:pt x="1212844" y="828986"/>
                </a:cubicBezTo>
                <a:cubicBezTo>
                  <a:pt x="1384294" y="1149661"/>
                  <a:pt x="1406519" y="1648136"/>
                  <a:pt x="1460494" y="1933886"/>
                </a:cubicBezTo>
                <a:cubicBezTo>
                  <a:pt x="1514469" y="2219636"/>
                  <a:pt x="1376357" y="2373624"/>
                  <a:pt x="1536694" y="2543486"/>
                </a:cubicBezTo>
                <a:cubicBezTo>
                  <a:pt x="1697031" y="2713348"/>
                  <a:pt x="2292344" y="2703823"/>
                  <a:pt x="2422519" y="2953061"/>
                </a:cubicBezTo>
                <a:cubicBezTo>
                  <a:pt x="2552694" y="3202298"/>
                  <a:pt x="2327269" y="3999223"/>
                  <a:pt x="2298694" y="4048436"/>
                </a:cubicBezTo>
                <a:close/>
              </a:path>
            </a:pathLst>
          </a:custGeom>
          <a:gradFill flip="none" rotWithShape="1">
            <a:gsLst>
              <a:gs pos="0">
                <a:srgbClr val="F5736A"/>
              </a:gs>
              <a:gs pos="50000">
                <a:srgbClr val="FF9C5A"/>
              </a:gs>
              <a:gs pos="100000">
                <a:srgbClr val="FFCF38"/>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Freeform: Shape 109">
            <a:extLst>
              <a:ext uri="{FF2B5EF4-FFF2-40B4-BE49-F238E27FC236}">
                <a16:creationId xmlns:a16="http://schemas.microsoft.com/office/drawing/2014/main" id="{C4D704E5-9BEF-45F4-B0B8-8EE183968BE0}"/>
              </a:ext>
            </a:extLst>
          </p:cNvPr>
          <p:cNvSpPr/>
          <p:nvPr/>
        </p:nvSpPr>
        <p:spPr>
          <a:xfrm rot="225839">
            <a:off x="14124289" y="783867"/>
            <a:ext cx="1999863" cy="3675326"/>
          </a:xfrm>
          <a:custGeom>
            <a:avLst/>
            <a:gdLst>
              <a:gd name="connsiteX0" fmla="*/ 590747 w 1999863"/>
              <a:gd name="connsiteY0" fmla="*/ 3569683 h 3675326"/>
              <a:gd name="connsiteX1" fmla="*/ 197 w 1999863"/>
              <a:gd name="connsiteY1" fmla="*/ 2931508 h 3675326"/>
              <a:gd name="connsiteX2" fmla="*/ 524072 w 1999863"/>
              <a:gd name="connsiteY2" fmla="*/ 2007583 h 3675326"/>
              <a:gd name="connsiteX3" fmla="*/ 447872 w 1999863"/>
              <a:gd name="connsiteY3" fmla="*/ 1321783 h 3675326"/>
              <a:gd name="connsiteX4" fmla="*/ 1286072 w 1999863"/>
              <a:gd name="connsiteY4" fmla="*/ 7333 h 3675326"/>
              <a:gd name="connsiteX5" fmla="*/ 1924247 w 1999863"/>
              <a:gd name="connsiteY5" fmla="*/ 893158 h 3675326"/>
              <a:gd name="connsiteX6" fmla="*/ 1943297 w 1999863"/>
              <a:gd name="connsiteY6" fmla="*/ 2979133 h 3675326"/>
              <a:gd name="connsiteX7" fmla="*/ 1524197 w 1999863"/>
              <a:gd name="connsiteY7" fmla="*/ 3617308 h 3675326"/>
              <a:gd name="connsiteX8" fmla="*/ 590747 w 1999863"/>
              <a:gd name="connsiteY8" fmla="*/ 3569683 h 3675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9863" h="3675326">
                <a:moveTo>
                  <a:pt x="590747" y="3569683"/>
                </a:moveTo>
                <a:cubicBezTo>
                  <a:pt x="336747" y="3455383"/>
                  <a:pt x="11309" y="3191858"/>
                  <a:pt x="197" y="2931508"/>
                </a:cubicBezTo>
                <a:cubicBezTo>
                  <a:pt x="-10915" y="2671158"/>
                  <a:pt x="449459" y="2275871"/>
                  <a:pt x="524072" y="2007583"/>
                </a:cubicBezTo>
                <a:cubicBezTo>
                  <a:pt x="598685" y="1739295"/>
                  <a:pt x="320872" y="1655158"/>
                  <a:pt x="447872" y="1321783"/>
                </a:cubicBezTo>
                <a:cubicBezTo>
                  <a:pt x="574872" y="988408"/>
                  <a:pt x="1040010" y="78770"/>
                  <a:pt x="1286072" y="7333"/>
                </a:cubicBezTo>
                <a:cubicBezTo>
                  <a:pt x="1532135" y="-64105"/>
                  <a:pt x="1814710" y="397858"/>
                  <a:pt x="1924247" y="893158"/>
                </a:cubicBezTo>
                <a:cubicBezTo>
                  <a:pt x="2033784" y="1388458"/>
                  <a:pt x="2009972" y="2525108"/>
                  <a:pt x="1943297" y="2979133"/>
                </a:cubicBezTo>
                <a:cubicBezTo>
                  <a:pt x="1876622" y="3433158"/>
                  <a:pt x="1752797" y="3520470"/>
                  <a:pt x="1524197" y="3617308"/>
                </a:cubicBezTo>
                <a:cubicBezTo>
                  <a:pt x="1295597" y="3714146"/>
                  <a:pt x="844747" y="3683983"/>
                  <a:pt x="590747" y="3569683"/>
                </a:cubicBezTo>
                <a:close/>
              </a:path>
            </a:pathLst>
          </a:custGeom>
          <a:gradFill flip="none" rotWithShape="1">
            <a:gsLst>
              <a:gs pos="0">
                <a:srgbClr val="C8A7F1"/>
              </a:gs>
              <a:gs pos="35000">
                <a:srgbClr val="C7ACF1"/>
              </a:gs>
              <a:gs pos="100000">
                <a:srgbClr val="D99FC6"/>
              </a:gs>
            </a:gsLst>
            <a:path path="circle">
              <a:fillToRect l="50000" t="-80000" r="50000" b="18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6" name="Picture 35">
            <a:extLst>
              <a:ext uri="{FF2B5EF4-FFF2-40B4-BE49-F238E27FC236}">
                <a16:creationId xmlns:a16="http://schemas.microsoft.com/office/drawing/2014/main" id="{E48A735C-6406-43F1-A57C-64F3141639C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rot="20700000">
            <a:off x="23424439" y="2385650"/>
            <a:ext cx="2199281" cy="1344005"/>
          </a:xfrm>
          <a:prstGeom prst="rect">
            <a:avLst/>
          </a:prstGeom>
          <a:effectLst>
            <a:outerShdw blurRad="50800" dist="38100" dir="8100000" algn="tr" rotWithShape="0">
              <a:prstClr val="black">
                <a:alpha val="40000"/>
              </a:prstClr>
            </a:outerShdw>
          </a:effectLst>
        </p:spPr>
      </p:pic>
      <p:pic>
        <p:nvPicPr>
          <p:cNvPr id="103" name="Picture 102">
            <a:extLst>
              <a:ext uri="{FF2B5EF4-FFF2-40B4-BE49-F238E27FC236}">
                <a16:creationId xmlns:a16="http://schemas.microsoft.com/office/drawing/2014/main" id="{1377CCB7-C208-47D1-B6C8-7122CBD5B654}"/>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rot="900000">
            <a:off x="13329740" y="2737203"/>
            <a:ext cx="1166008" cy="1166008"/>
          </a:xfrm>
          <a:prstGeom prst="rect">
            <a:avLst/>
          </a:prstGeom>
          <a:effectLst>
            <a:outerShdw blurRad="50800" dist="38100" dir="8100000" algn="tr" rotWithShape="0">
              <a:prstClr val="black">
                <a:alpha val="40000"/>
              </a:prstClr>
            </a:outerShdw>
          </a:effectLst>
        </p:spPr>
      </p:pic>
      <p:pic>
        <p:nvPicPr>
          <p:cNvPr id="33" name="Picture 32">
            <a:extLst>
              <a:ext uri="{FF2B5EF4-FFF2-40B4-BE49-F238E27FC236}">
                <a16:creationId xmlns:a16="http://schemas.microsoft.com/office/drawing/2014/main" id="{3E17733C-4F88-4C3B-A4EC-91D09014AAD4}"/>
              </a:ext>
            </a:extLst>
          </p:cNvPr>
          <p:cNvPicPr>
            <a:picLocks noChangeAspect="1"/>
          </p:cNvPicPr>
          <p:nvPr/>
        </p:nvPicPr>
        <p:blipFill>
          <a:blip r:embed="rId6"/>
          <a:stretch>
            <a:fillRect/>
          </a:stretch>
        </p:blipFill>
        <p:spPr>
          <a:xfrm rot="1044862">
            <a:off x="15146087" y="3393699"/>
            <a:ext cx="1245442" cy="1245442"/>
          </a:xfrm>
          <a:prstGeom prst="rect">
            <a:avLst/>
          </a:prstGeom>
        </p:spPr>
      </p:pic>
      <p:sp>
        <p:nvSpPr>
          <p:cNvPr id="123" name="Rectangle: Rounded Corners 122">
            <a:extLst>
              <a:ext uri="{FF2B5EF4-FFF2-40B4-BE49-F238E27FC236}">
                <a16:creationId xmlns:a16="http://schemas.microsoft.com/office/drawing/2014/main" id="{50B35275-DC76-49D2-B16F-CDDDD144480E}"/>
              </a:ext>
            </a:extLst>
          </p:cNvPr>
          <p:cNvSpPr/>
          <p:nvPr/>
        </p:nvSpPr>
        <p:spPr>
          <a:xfrm>
            <a:off x="359404" y="4655580"/>
            <a:ext cx="471367" cy="449125"/>
          </a:xfrm>
          <a:prstGeom prst="roundRect">
            <a:avLst>
              <a:gd name="adj" fmla="val 50000"/>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4" name="Rectangle: Rounded Corners 123">
            <a:extLst>
              <a:ext uri="{FF2B5EF4-FFF2-40B4-BE49-F238E27FC236}">
                <a16:creationId xmlns:a16="http://schemas.microsoft.com/office/drawing/2014/main" id="{8DC03E30-B28A-490F-9363-F5725ED82CA4}"/>
              </a:ext>
            </a:extLst>
          </p:cNvPr>
          <p:cNvSpPr/>
          <p:nvPr/>
        </p:nvSpPr>
        <p:spPr>
          <a:xfrm>
            <a:off x="359404" y="5320609"/>
            <a:ext cx="471367" cy="449125"/>
          </a:xfrm>
          <a:prstGeom prst="roundRect">
            <a:avLst>
              <a:gd name="adj" fmla="val 50000"/>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5" name="Rectangle: Rounded Corners 124">
            <a:extLst>
              <a:ext uri="{FF2B5EF4-FFF2-40B4-BE49-F238E27FC236}">
                <a16:creationId xmlns:a16="http://schemas.microsoft.com/office/drawing/2014/main" id="{4A66C533-9E23-4D74-A382-040D008310BE}"/>
              </a:ext>
            </a:extLst>
          </p:cNvPr>
          <p:cNvSpPr/>
          <p:nvPr/>
        </p:nvSpPr>
        <p:spPr>
          <a:xfrm>
            <a:off x="355523" y="6008790"/>
            <a:ext cx="471367" cy="449125"/>
          </a:xfrm>
          <a:prstGeom prst="roundRect">
            <a:avLst>
              <a:gd name="adj" fmla="val 24551"/>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6" name="Graphic 125" descr="Home with solid fill">
            <a:extLst>
              <a:ext uri="{FF2B5EF4-FFF2-40B4-BE49-F238E27FC236}">
                <a16:creationId xmlns:a16="http://schemas.microsoft.com/office/drawing/2014/main" id="{74742216-BA44-4100-BF62-8157A407A54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30962" y="6053701"/>
            <a:ext cx="320489" cy="320489"/>
          </a:xfrm>
          <a:prstGeom prst="rect">
            <a:avLst/>
          </a:prstGeom>
        </p:spPr>
      </p:pic>
      <p:pic>
        <p:nvPicPr>
          <p:cNvPr id="127" name="Graphic 126" descr="Caret Up with solid fill">
            <a:extLst>
              <a:ext uri="{FF2B5EF4-FFF2-40B4-BE49-F238E27FC236}">
                <a16:creationId xmlns:a16="http://schemas.microsoft.com/office/drawing/2014/main" id="{531A3611-D8D4-4519-AEF3-2EDBEC7DE65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98917" y="4676085"/>
            <a:ext cx="392341" cy="392341"/>
          </a:xfrm>
          <a:prstGeom prst="rect">
            <a:avLst/>
          </a:prstGeom>
        </p:spPr>
      </p:pic>
      <p:pic>
        <p:nvPicPr>
          <p:cNvPr id="128" name="Graphic 127" descr="Caret Up with solid fill">
            <a:extLst>
              <a:ext uri="{FF2B5EF4-FFF2-40B4-BE49-F238E27FC236}">
                <a16:creationId xmlns:a16="http://schemas.microsoft.com/office/drawing/2014/main" id="{9016880B-C8B5-428D-B70B-D39FC5C29E3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flipV="1">
            <a:off x="398917" y="5359905"/>
            <a:ext cx="392341" cy="392341"/>
          </a:xfrm>
          <a:prstGeom prst="rect">
            <a:avLst/>
          </a:prstGeom>
        </p:spPr>
      </p:pic>
      <p:pic>
        <p:nvPicPr>
          <p:cNvPr id="131" name="Picture 130">
            <a:extLst>
              <a:ext uri="{FF2B5EF4-FFF2-40B4-BE49-F238E27FC236}">
                <a16:creationId xmlns:a16="http://schemas.microsoft.com/office/drawing/2014/main" id="{63E5C70E-26B6-4376-91E7-037C12349A96}"/>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rot="1471982">
            <a:off x="2217096" y="831172"/>
            <a:ext cx="2755544" cy="2743982"/>
          </a:xfrm>
          <a:prstGeom prst="rect">
            <a:avLst/>
          </a:prstGeom>
        </p:spPr>
      </p:pic>
      <p:sp>
        <p:nvSpPr>
          <p:cNvPr id="6" name="TextBox 5">
            <a:extLst>
              <a:ext uri="{FF2B5EF4-FFF2-40B4-BE49-F238E27FC236}">
                <a16:creationId xmlns:a16="http://schemas.microsoft.com/office/drawing/2014/main" id="{4727D27F-C0B8-0228-6E99-AFB1CD8E32E6}"/>
              </a:ext>
            </a:extLst>
          </p:cNvPr>
          <p:cNvSpPr txBox="1"/>
          <p:nvPr/>
        </p:nvSpPr>
        <p:spPr>
          <a:xfrm>
            <a:off x="6196486" y="781050"/>
            <a:ext cx="5596597" cy="5078313"/>
          </a:xfrm>
          <a:prstGeom prst="rect">
            <a:avLst/>
          </a:prstGeom>
          <a:noFill/>
        </p:spPr>
        <p:txBody>
          <a:bodyPr wrap="square" rtlCol="0">
            <a:spAutoFit/>
          </a:bodyPr>
          <a:lstStyle/>
          <a:p>
            <a:r>
              <a:rPr lang="en-US" b="1" dirty="0">
                <a:latin typeface="Poppins" panose="00000500000000000000" pitchFamily="2" charset="0"/>
                <a:cs typeface="Poppins" panose="00000500000000000000" pitchFamily="2" charset="0"/>
              </a:rPr>
              <a:t>Laravel</a:t>
            </a:r>
            <a:r>
              <a:rPr lang="en-US" dirty="0">
                <a:latin typeface="Poppins" panose="00000500000000000000" pitchFamily="2" charset="0"/>
                <a:cs typeface="Poppins" panose="00000500000000000000" pitchFamily="2" charset="0"/>
              </a:rPr>
              <a:t> is an open-source PHP framework, which is robust and easy to understand. It follows a </a:t>
            </a:r>
            <a:r>
              <a:rPr lang="en-US" b="1" dirty="0">
                <a:latin typeface="Poppins" panose="00000500000000000000" pitchFamily="2" charset="0"/>
                <a:cs typeface="Poppins" panose="00000500000000000000" pitchFamily="2" charset="0"/>
              </a:rPr>
              <a:t>model-view-controller</a:t>
            </a:r>
            <a:r>
              <a:rPr lang="en-US" dirty="0">
                <a:latin typeface="Poppins" panose="00000500000000000000" pitchFamily="2" charset="0"/>
                <a:cs typeface="Poppins" panose="00000500000000000000" pitchFamily="2" charset="0"/>
              </a:rPr>
              <a:t> design pattern. </a:t>
            </a:r>
          </a:p>
          <a:p>
            <a:endParaRPr lang="en-US" dirty="0">
              <a:latin typeface="Poppins" panose="00000500000000000000" pitchFamily="2" charset="0"/>
              <a:cs typeface="Poppins" panose="00000500000000000000" pitchFamily="2" charset="0"/>
            </a:endParaRPr>
          </a:p>
          <a:p>
            <a:r>
              <a:rPr lang="en-US" dirty="0">
                <a:latin typeface="Poppins" panose="00000500000000000000" pitchFamily="2" charset="0"/>
                <a:cs typeface="Poppins" panose="00000500000000000000" pitchFamily="2" charset="0"/>
              </a:rPr>
              <a:t>Laravel reuses the existing components of different frameworks which helps </a:t>
            </a:r>
          </a:p>
          <a:p>
            <a:r>
              <a:rPr lang="en-US" dirty="0">
                <a:latin typeface="Poppins" panose="00000500000000000000" pitchFamily="2" charset="0"/>
                <a:cs typeface="Poppins" panose="00000500000000000000" pitchFamily="2" charset="0"/>
              </a:rPr>
              <a:t>in creating a </a:t>
            </a:r>
            <a:r>
              <a:rPr lang="en-US" b="1" dirty="0">
                <a:latin typeface="Poppins" panose="00000500000000000000" pitchFamily="2" charset="0"/>
                <a:cs typeface="Poppins" panose="00000500000000000000" pitchFamily="2" charset="0"/>
              </a:rPr>
              <a:t>web application</a:t>
            </a:r>
            <a:r>
              <a:rPr lang="en-US" dirty="0">
                <a:latin typeface="Poppins" panose="00000500000000000000" pitchFamily="2" charset="0"/>
                <a:cs typeface="Poppins" panose="00000500000000000000" pitchFamily="2" charset="0"/>
              </a:rPr>
              <a:t>. The web </a:t>
            </a:r>
          </a:p>
          <a:p>
            <a:r>
              <a:rPr lang="en-US" dirty="0">
                <a:latin typeface="Poppins" panose="00000500000000000000" pitchFamily="2" charset="0"/>
                <a:cs typeface="Poppins" panose="00000500000000000000" pitchFamily="2" charset="0"/>
              </a:rPr>
              <a:t>application thus designed is more structured </a:t>
            </a:r>
          </a:p>
          <a:p>
            <a:r>
              <a:rPr lang="en-US" dirty="0">
                <a:latin typeface="Poppins" panose="00000500000000000000" pitchFamily="2" charset="0"/>
                <a:cs typeface="Poppins" panose="00000500000000000000" pitchFamily="2" charset="0"/>
              </a:rPr>
              <a:t>and pragmatic. </a:t>
            </a:r>
          </a:p>
          <a:p>
            <a:endParaRPr lang="en-US" dirty="0">
              <a:latin typeface="Poppins" panose="00000500000000000000" pitchFamily="2" charset="0"/>
              <a:cs typeface="Poppins" panose="00000500000000000000" pitchFamily="2" charset="0"/>
            </a:endParaRPr>
          </a:p>
          <a:p>
            <a:r>
              <a:rPr lang="en-US" dirty="0">
                <a:latin typeface="Poppins" panose="00000500000000000000" pitchFamily="2" charset="0"/>
                <a:cs typeface="Poppins" panose="00000500000000000000" pitchFamily="2" charset="0"/>
              </a:rPr>
              <a:t>If you are familiar with </a:t>
            </a:r>
            <a:r>
              <a:rPr lang="en-US" b="1" dirty="0">
                <a:latin typeface="Poppins" panose="00000500000000000000" pitchFamily="2" charset="0"/>
                <a:cs typeface="Poppins" panose="00000500000000000000" pitchFamily="2" charset="0"/>
              </a:rPr>
              <a:t>Core PHP</a:t>
            </a:r>
            <a:r>
              <a:rPr lang="en-US" dirty="0">
                <a:latin typeface="Poppins" panose="00000500000000000000" pitchFamily="2" charset="0"/>
                <a:cs typeface="Poppins" panose="00000500000000000000" pitchFamily="2" charset="0"/>
              </a:rPr>
              <a:t> and </a:t>
            </a:r>
            <a:r>
              <a:rPr lang="en-US" b="1" dirty="0">
                <a:latin typeface="Poppins" panose="00000500000000000000" pitchFamily="2" charset="0"/>
                <a:cs typeface="Poppins" panose="00000500000000000000" pitchFamily="2" charset="0"/>
              </a:rPr>
              <a:t>Advanced PHP</a:t>
            </a:r>
            <a:r>
              <a:rPr lang="en-US" dirty="0">
                <a:latin typeface="Poppins" panose="00000500000000000000" pitchFamily="2" charset="0"/>
                <a:cs typeface="Poppins" panose="00000500000000000000" pitchFamily="2" charset="0"/>
              </a:rPr>
              <a:t>, Laravel will make your task easier. It saves a lot of time if you are planning to develop a </a:t>
            </a:r>
          </a:p>
          <a:p>
            <a:r>
              <a:rPr lang="en-US" dirty="0">
                <a:latin typeface="Poppins" panose="00000500000000000000" pitchFamily="2" charset="0"/>
                <a:cs typeface="Poppins" panose="00000500000000000000" pitchFamily="2" charset="0"/>
              </a:rPr>
              <a:t>website from scratch. Moreover, a website built in Laravel is secure and prevents several web attacks.</a:t>
            </a:r>
            <a:endParaRPr lang="en-IN" dirty="0">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24687358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gradFill>
          <a:gsLst>
            <a:gs pos="0">
              <a:schemeClr val="bg1"/>
            </a:gs>
            <a:gs pos="50000">
              <a:srgbClr val="C371EB"/>
            </a:gs>
            <a:gs pos="100000">
              <a:srgbClr val="A577D7"/>
            </a:gs>
          </a:gsLst>
          <a:lin ang="10800000" scaled="1"/>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E8B9359-5B8D-42D8-8D71-381018F24C77}"/>
              </a:ext>
            </a:extLst>
          </p:cNvPr>
          <p:cNvPicPr>
            <a:picLocks noChangeAspect="1"/>
          </p:cNvPicPr>
          <p:nvPr/>
        </p:nvPicPr>
        <p:blipFill rotWithShape="1">
          <a:blip r:embed="rId2"/>
          <a:srcRect l="4818" t="13929" r="11068" b="15870"/>
          <a:stretch/>
        </p:blipFill>
        <p:spPr>
          <a:xfrm>
            <a:off x="0" y="1"/>
            <a:ext cx="12192000" cy="6857999"/>
          </a:xfrm>
          <a:prstGeom prst="rect">
            <a:avLst/>
          </a:prstGeom>
        </p:spPr>
      </p:pic>
      <p:pic>
        <p:nvPicPr>
          <p:cNvPr id="5" name="Picture 4">
            <a:extLst>
              <a:ext uri="{FF2B5EF4-FFF2-40B4-BE49-F238E27FC236}">
                <a16:creationId xmlns:a16="http://schemas.microsoft.com/office/drawing/2014/main" id="{59EC0469-F0EB-4FA6-A663-0F1171475995}"/>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1110" t="1548" r="91086" b="2540"/>
          <a:stretch/>
        </p:blipFill>
        <p:spPr>
          <a:xfrm>
            <a:off x="135166" y="106342"/>
            <a:ext cx="951535" cy="6577488"/>
          </a:xfrm>
          <a:prstGeom prst="roundRect">
            <a:avLst>
              <a:gd name="adj" fmla="val 33164"/>
            </a:avLst>
          </a:prstGeom>
          <a:noFill/>
          <a:ln>
            <a:noFill/>
          </a:ln>
          <a:effectLst>
            <a:outerShdw blurRad="635000" dist="215900" dir="7200000" algn="ctr" rotWithShape="0">
              <a:schemeClr val="tx1">
                <a:lumMod val="50000"/>
                <a:lumOff val="50000"/>
                <a:alpha val="43000"/>
              </a:schemeClr>
            </a:outerShdw>
          </a:effectLst>
        </p:spPr>
      </p:pic>
      <p:pic>
        <p:nvPicPr>
          <p:cNvPr id="37" name="Picture 36">
            <a:extLst>
              <a:ext uri="{FF2B5EF4-FFF2-40B4-BE49-F238E27FC236}">
                <a16:creationId xmlns:a16="http://schemas.microsoft.com/office/drawing/2014/main" id="{F4D43D9A-CA01-4EA3-9C34-9479F0A7004D}"/>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33493" t="-136676" r="-3966" b="113843"/>
          <a:stretch/>
        </p:blipFill>
        <p:spPr>
          <a:xfrm>
            <a:off x="4083528" y="-9372600"/>
            <a:ext cx="8592335" cy="8423605"/>
          </a:xfrm>
          <a:prstGeom prst="roundRect">
            <a:avLst>
              <a:gd name="adj" fmla="val 4648"/>
            </a:avLst>
          </a:prstGeom>
          <a:noFill/>
          <a:ln>
            <a:noFill/>
          </a:ln>
          <a:effectLst>
            <a:outerShdw blurRad="635000" dist="215900" dir="7200000" algn="ctr" rotWithShape="0">
              <a:schemeClr val="tx1">
                <a:lumMod val="50000"/>
                <a:lumOff val="50000"/>
                <a:alpha val="43000"/>
              </a:schemeClr>
            </a:outerShdw>
          </a:effectLst>
        </p:spPr>
      </p:pic>
      <p:sp>
        <p:nvSpPr>
          <p:cNvPr id="54" name="TextBox 53">
            <a:extLst>
              <a:ext uri="{FF2B5EF4-FFF2-40B4-BE49-F238E27FC236}">
                <a16:creationId xmlns:a16="http://schemas.microsoft.com/office/drawing/2014/main" id="{29B54383-2597-40B9-B80A-9986488CEA4A}"/>
              </a:ext>
            </a:extLst>
          </p:cNvPr>
          <p:cNvSpPr txBox="1"/>
          <p:nvPr/>
        </p:nvSpPr>
        <p:spPr>
          <a:xfrm rot="5400000">
            <a:off x="-394831" y="1947097"/>
            <a:ext cx="205617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800" b="1" i="0" u="none" strike="noStrike" kern="1200" cap="none" spc="0" normalizeH="0" baseline="0" noProof="0" dirty="0">
                <a:ln>
                  <a:noFill/>
                </a:ln>
                <a:solidFill>
                  <a:srgbClr val="A776D9"/>
                </a:solidFill>
                <a:effectLst/>
                <a:uLnTx/>
                <a:uFillTx/>
                <a:latin typeface="Century Gothic" panose="020B0502020202020204" pitchFamily="34" charset="0"/>
                <a:ea typeface="+mn-ea"/>
                <a:cs typeface="+mn-cs"/>
              </a:rPr>
              <a:t>Relax. </a:t>
            </a:r>
          </a:p>
        </p:txBody>
      </p:sp>
      <p:pic>
        <p:nvPicPr>
          <p:cNvPr id="46" name="oppo">
            <a:extLst>
              <a:ext uri="{FF2B5EF4-FFF2-40B4-BE49-F238E27FC236}">
                <a16:creationId xmlns:a16="http://schemas.microsoft.com/office/drawing/2014/main" id="{B346AF4A-3381-4BD7-9BDB-7032FEB6E9EA}"/>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164820" t="6551" r="-87820" b="6987"/>
          <a:stretch/>
        </p:blipFill>
        <p:spPr>
          <a:xfrm>
            <a:off x="20397083" y="377318"/>
            <a:ext cx="2877294" cy="6082834"/>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pic>
        <p:nvPicPr>
          <p:cNvPr id="45" name="samsung">
            <a:extLst>
              <a:ext uri="{FF2B5EF4-FFF2-40B4-BE49-F238E27FC236}">
                <a16:creationId xmlns:a16="http://schemas.microsoft.com/office/drawing/2014/main" id="{B361528D-29D6-42DE-BA45-22F10A33F8B0}"/>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106955" t="5498" r="-29340" b="5802"/>
          <a:stretch/>
        </p:blipFill>
        <p:spPr>
          <a:xfrm>
            <a:off x="13040938" y="377317"/>
            <a:ext cx="2729686" cy="6082835"/>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sp>
        <p:nvSpPr>
          <p:cNvPr id="67" name="TextBox 66">
            <a:extLst>
              <a:ext uri="{FF2B5EF4-FFF2-40B4-BE49-F238E27FC236}">
                <a16:creationId xmlns:a16="http://schemas.microsoft.com/office/drawing/2014/main" id="{6949D7E2-6FF0-4F2A-A0CC-32AF305940B8}"/>
              </a:ext>
            </a:extLst>
          </p:cNvPr>
          <p:cNvSpPr txBox="1"/>
          <p:nvPr/>
        </p:nvSpPr>
        <p:spPr>
          <a:xfrm>
            <a:off x="13276748" y="4377658"/>
            <a:ext cx="2184559"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Drop</a:t>
            </a:r>
            <a:endParaRPr kumimoji="0" lang="en-MY"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TextBox 68">
            <a:extLst>
              <a:ext uri="{FF2B5EF4-FFF2-40B4-BE49-F238E27FC236}">
                <a16:creationId xmlns:a16="http://schemas.microsoft.com/office/drawing/2014/main" id="{CF847EF9-1789-4C48-99AE-3A58281E6F8C}"/>
              </a:ext>
            </a:extLst>
          </p:cNvPr>
          <p:cNvSpPr txBox="1"/>
          <p:nvPr/>
        </p:nvSpPr>
        <p:spPr>
          <a:xfrm>
            <a:off x="13308426" y="4910216"/>
            <a:ext cx="2152881"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Some money</a:t>
            </a:r>
            <a:endParaRPr kumimoji="0" lang="en-MY" sz="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TextBox 69">
            <a:extLst>
              <a:ext uri="{FF2B5EF4-FFF2-40B4-BE49-F238E27FC236}">
                <a16:creationId xmlns:a16="http://schemas.microsoft.com/office/drawing/2014/main" id="{9A079DBA-C4FC-43E7-B4DB-B9BF2C6715EE}"/>
              </a:ext>
            </a:extLst>
          </p:cNvPr>
          <p:cNvSpPr txBox="1"/>
          <p:nvPr/>
        </p:nvSpPr>
        <p:spPr>
          <a:xfrm>
            <a:off x="13284561" y="5228153"/>
            <a:ext cx="2294642"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Lalisa</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in the house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yooooo</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Drop some money, dropping some money yeah…</a:t>
            </a:r>
          </a:p>
        </p:txBody>
      </p:sp>
      <p:sp>
        <p:nvSpPr>
          <p:cNvPr id="72" name="TextBox 71">
            <a:extLst>
              <a:ext uri="{FF2B5EF4-FFF2-40B4-BE49-F238E27FC236}">
                <a16:creationId xmlns:a16="http://schemas.microsoft.com/office/drawing/2014/main" id="{722DC1A7-94D5-4F66-B387-D765AFC82A68}"/>
              </a:ext>
            </a:extLst>
          </p:cNvPr>
          <p:cNvSpPr txBox="1"/>
          <p:nvPr/>
        </p:nvSpPr>
        <p:spPr>
          <a:xfrm>
            <a:off x="23604240" y="4474851"/>
            <a:ext cx="244440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36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Game On</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TextBox 72">
            <a:extLst>
              <a:ext uri="{FF2B5EF4-FFF2-40B4-BE49-F238E27FC236}">
                <a16:creationId xmlns:a16="http://schemas.microsoft.com/office/drawing/2014/main" id="{B21CF52B-E9F7-45B2-A896-9E8A7852CA7B}"/>
              </a:ext>
            </a:extLst>
          </p:cNvPr>
          <p:cNvSpPr txBox="1"/>
          <p:nvPr/>
        </p:nvSpPr>
        <p:spPr>
          <a:xfrm>
            <a:off x="23656756" y="4925605"/>
            <a:ext cx="263447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Glassmorphism</a:t>
            </a:r>
            <a:endParaRPr kumimoji="0" lang="en-MY"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TextBox 73">
            <a:extLst>
              <a:ext uri="{FF2B5EF4-FFF2-40B4-BE49-F238E27FC236}">
                <a16:creationId xmlns:a16="http://schemas.microsoft.com/office/drawing/2014/main" id="{349DD8A8-CE49-4389-9560-82F5328D35D9}"/>
              </a:ext>
            </a:extLst>
          </p:cNvPr>
          <p:cNvSpPr txBox="1"/>
          <p:nvPr/>
        </p:nvSpPr>
        <p:spPr>
          <a:xfrm>
            <a:off x="23679119" y="5229045"/>
            <a:ext cx="2294642"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Saya suka ikan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masin</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sekian</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terima</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kasih</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a:t>
            </a:r>
          </a:p>
        </p:txBody>
      </p:sp>
      <p:grpSp>
        <p:nvGrpSpPr>
          <p:cNvPr id="83" name="Group 82">
            <a:extLst>
              <a:ext uri="{FF2B5EF4-FFF2-40B4-BE49-F238E27FC236}">
                <a16:creationId xmlns:a16="http://schemas.microsoft.com/office/drawing/2014/main" id="{D4531BAF-8C94-4D9A-9C18-9C68761E7D75}"/>
              </a:ext>
            </a:extLst>
          </p:cNvPr>
          <p:cNvGrpSpPr/>
          <p:nvPr/>
        </p:nvGrpSpPr>
        <p:grpSpPr>
          <a:xfrm>
            <a:off x="13523884" y="5990204"/>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84" name="Rectangle: Rounded Corners 83">
              <a:extLst>
                <a:ext uri="{FF2B5EF4-FFF2-40B4-BE49-F238E27FC236}">
                  <a16:creationId xmlns:a16="http://schemas.microsoft.com/office/drawing/2014/main" id="{440C12BD-E605-43AF-8A3E-DED7A83F41F6}"/>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85" name="TextBox 84">
              <a:extLst>
                <a:ext uri="{FF2B5EF4-FFF2-40B4-BE49-F238E27FC236}">
                  <a16:creationId xmlns:a16="http://schemas.microsoft.com/office/drawing/2014/main" id="{308E08D7-0733-4FFF-AFF5-57A21B159451}"/>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86" name="Group 85">
            <a:extLst>
              <a:ext uri="{FF2B5EF4-FFF2-40B4-BE49-F238E27FC236}">
                <a16:creationId xmlns:a16="http://schemas.microsoft.com/office/drawing/2014/main" id="{1902AA37-DF08-4C67-8A1E-7261EA62742F}"/>
              </a:ext>
            </a:extLst>
          </p:cNvPr>
          <p:cNvGrpSpPr/>
          <p:nvPr/>
        </p:nvGrpSpPr>
        <p:grpSpPr>
          <a:xfrm>
            <a:off x="25343497" y="5990204"/>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87" name="Rectangle: Rounded Corners 86">
              <a:extLst>
                <a:ext uri="{FF2B5EF4-FFF2-40B4-BE49-F238E27FC236}">
                  <a16:creationId xmlns:a16="http://schemas.microsoft.com/office/drawing/2014/main" id="{A366AE2D-371B-4717-9F22-845F46BA1426}"/>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88" name="TextBox 87">
              <a:extLst>
                <a:ext uri="{FF2B5EF4-FFF2-40B4-BE49-F238E27FC236}">
                  <a16:creationId xmlns:a16="http://schemas.microsoft.com/office/drawing/2014/main" id="{5EC4DBBD-84FD-413F-BB9A-B226CC352BD5}"/>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93" name="Rectangle: Rounded Corners 92">
            <a:extLst>
              <a:ext uri="{FF2B5EF4-FFF2-40B4-BE49-F238E27FC236}">
                <a16:creationId xmlns:a16="http://schemas.microsoft.com/office/drawing/2014/main" id="{17F12720-6762-45C2-B94D-35A720133112}"/>
              </a:ext>
            </a:extLst>
          </p:cNvPr>
          <p:cNvSpPr/>
          <p:nvPr/>
        </p:nvSpPr>
        <p:spPr>
          <a:xfrm>
            <a:off x="21677525" y="465992"/>
            <a:ext cx="964520" cy="94179"/>
          </a:xfrm>
          <a:prstGeom prst="roundRect">
            <a:avLst>
              <a:gd name="adj" fmla="val 50000"/>
            </a:avLst>
          </a:prstGeom>
          <a:solidFill>
            <a:srgbClr val="B499EB"/>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Rectangle: Rounded Corners 93">
            <a:extLst>
              <a:ext uri="{FF2B5EF4-FFF2-40B4-BE49-F238E27FC236}">
                <a16:creationId xmlns:a16="http://schemas.microsoft.com/office/drawing/2014/main" id="{34630F59-9129-4383-B5FB-032087DCEC36}"/>
              </a:ext>
            </a:extLst>
          </p:cNvPr>
          <p:cNvSpPr/>
          <p:nvPr/>
        </p:nvSpPr>
        <p:spPr>
          <a:xfrm>
            <a:off x="13599677" y="468908"/>
            <a:ext cx="964520" cy="94179"/>
          </a:xfrm>
          <a:prstGeom prst="roundRect">
            <a:avLst>
              <a:gd name="adj" fmla="val 50000"/>
            </a:avLst>
          </a:prstGeom>
          <a:solidFill>
            <a:srgbClr val="CA9DF5"/>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 name="Picture 28">
            <a:extLst>
              <a:ext uri="{FF2B5EF4-FFF2-40B4-BE49-F238E27FC236}">
                <a16:creationId xmlns:a16="http://schemas.microsoft.com/office/drawing/2014/main" id="{AF9F9A33-2BB3-4D07-92A8-53BD666EB60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924428">
            <a:off x="20339882" y="1434355"/>
            <a:ext cx="3310844" cy="2672115"/>
          </a:xfrm>
          <a:prstGeom prst="rect">
            <a:avLst/>
          </a:prstGeom>
        </p:spPr>
      </p:pic>
      <p:pic>
        <p:nvPicPr>
          <p:cNvPr id="27" name="Picture 26">
            <a:extLst>
              <a:ext uri="{FF2B5EF4-FFF2-40B4-BE49-F238E27FC236}">
                <a16:creationId xmlns:a16="http://schemas.microsoft.com/office/drawing/2014/main" id="{C346F3FA-722A-4C2B-A0BD-468AA10D0B07}"/>
              </a:ext>
            </a:extLst>
          </p:cNvPr>
          <p:cNvPicPr>
            <a:picLocks noChangeAspect="1"/>
          </p:cNvPicPr>
          <p:nvPr/>
        </p:nvPicPr>
        <p:blipFill>
          <a:blip r:embed="rId6"/>
          <a:stretch>
            <a:fillRect/>
          </a:stretch>
        </p:blipFill>
        <p:spPr>
          <a:xfrm>
            <a:off x="22658584" y="1376908"/>
            <a:ext cx="2450839" cy="2450839"/>
          </a:xfrm>
          <a:prstGeom prst="rect">
            <a:avLst/>
          </a:prstGeom>
        </p:spPr>
      </p:pic>
      <p:pic>
        <p:nvPicPr>
          <p:cNvPr id="104" name="Picture 103">
            <a:extLst>
              <a:ext uri="{FF2B5EF4-FFF2-40B4-BE49-F238E27FC236}">
                <a16:creationId xmlns:a16="http://schemas.microsoft.com/office/drawing/2014/main" id="{670918A6-9276-4A05-9DA1-8F2D3F9B2727}"/>
              </a:ext>
            </a:extLst>
          </p:cNvPr>
          <p:cNvPicPr>
            <a:picLocks noChangeAspect="1"/>
          </p:cNvPicPr>
          <p:nvPr/>
        </p:nvPicPr>
        <p:blipFill>
          <a:blip r:embed="rId7"/>
          <a:stretch>
            <a:fillRect/>
          </a:stretch>
        </p:blipFill>
        <p:spPr>
          <a:xfrm rot="19733165" flipH="1">
            <a:off x="12915870" y="719948"/>
            <a:ext cx="832518" cy="832518"/>
          </a:xfrm>
          <a:prstGeom prst="rect">
            <a:avLst/>
          </a:prstGeom>
        </p:spPr>
      </p:pic>
      <p:sp>
        <p:nvSpPr>
          <p:cNvPr id="110" name="Freeform: Shape 109">
            <a:extLst>
              <a:ext uri="{FF2B5EF4-FFF2-40B4-BE49-F238E27FC236}">
                <a16:creationId xmlns:a16="http://schemas.microsoft.com/office/drawing/2014/main" id="{C4D704E5-9BEF-45F4-B0B8-8EE183968BE0}"/>
              </a:ext>
            </a:extLst>
          </p:cNvPr>
          <p:cNvSpPr/>
          <p:nvPr/>
        </p:nvSpPr>
        <p:spPr>
          <a:xfrm rot="225839">
            <a:off x="13342964" y="783867"/>
            <a:ext cx="1999863" cy="3675326"/>
          </a:xfrm>
          <a:custGeom>
            <a:avLst/>
            <a:gdLst>
              <a:gd name="connsiteX0" fmla="*/ 590747 w 1999863"/>
              <a:gd name="connsiteY0" fmla="*/ 3569683 h 3675326"/>
              <a:gd name="connsiteX1" fmla="*/ 197 w 1999863"/>
              <a:gd name="connsiteY1" fmla="*/ 2931508 h 3675326"/>
              <a:gd name="connsiteX2" fmla="*/ 524072 w 1999863"/>
              <a:gd name="connsiteY2" fmla="*/ 2007583 h 3675326"/>
              <a:gd name="connsiteX3" fmla="*/ 447872 w 1999863"/>
              <a:gd name="connsiteY3" fmla="*/ 1321783 h 3675326"/>
              <a:gd name="connsiteX4" fmla="*/ 1286072 w 1999863"/>
              <a:gd name="connsiteY4" fmla="*/ 7333 h 3675326"/>
              <a:gd name="connsiteX5" fmla="*/ 1924247 w 1999863"/>
              <a:gd name="connsiteY5" fmla="*/ 893158 h 3675326"/>
              <a:gd name="connsiteX6" fmla="*/ 1943297 w 1999863"/>
              <a:gd name="connsiteY6" fmla="*/ 2979133 h 3675326"/>
              <a:gd name="connsiteX7" fmla="*/ 1524197 w 1999863"/>
              <a:gd name="connsiteY7" fmla="*/ 3617308 h 3675326"/>
              <a:gd name="connsiteX8" fmla="*/ 590747 w 1999863"/>
              <a:gd name="connsiteY8" fmla="*/ 3569683 h 3675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9863" h="3675326">
                <a:moveTo>
                  <a:pt x="590747" y="3569683"/>
                </a:moveTo>
                <a:cubicBezTo>
                  <a:pt x="336747" y="3455383"/>
                  <a:pt x="11309" y="3191858"/>
                  <a:pt x="197" y="2931508"/>
                </a:cubicBezTo>
                <a:cubicBezTo>
                  <a:pt x="-10915" y="2671158"/>
                  <a:pt x="449459" y="2275871"/>
                  <a:pt x="524072" y="2007583"/>
                </a:cubicBezTo>
                <a:cubicBezTo>
                  <a:pt x="598685" y="1739295"/>
                  <a:pt x="320872" y="1655158"/>
                  <a:pt x="447872" y="1321783"/>
                </a:cubicBezTo>
                <a:cubicBezTo>
                  <a:pt x="574872" y="988408"/>
                  <a:pt x="1040010" y="78770"/>
                  <a:pt x="1286072" y="7333"/>
                </a:cubicBezTo>
                <a:cubicBezTo>
                  <a:pt x="1532135" y="-64105"/>
                  <a:pt x="1814710" y="397858"/>
                  <a:pt x="1924247" y="893158"/>
                </a:cubicBezTo>
                <a:cubicBezTo>
                  <a:pt x="2033784" y="1388458"/>
                  <a:pt x="2009972" y="2525108"/>
                  <a:pt x="1943297" y="2979133"/>
                </a:cubicBezTo>
                <a:cubicBezTo>
                  <a:pt x="1876622" y="3433158"/>
                  <a:pt x="1752797" y="3520470"/>
                  <a:pt x="1524197" y="3617308"/>
                </a:cubicBezTo>
                <a:cubicBezTo>
                  <a:pt x="1295597" y="3714146"/>
                  <a:pt x="844747" y="3683983"/>
                  <a:pt x="590747" y="3569683"/>
                </a:cubicBezTo>
                <a:close/>
              </a:path>
            </a:pathLst>
          </a:custGeom>
          <a:gradFill flip="none" rotWithShape="1">
            <a:gsLst>
              <a:gs pos="0">
                <a:srgbClr val="C8A7F1"/>
              </a:gs>
              <a:gs pos="35000">
                <a:srgbClr val="C7ACF1"/>
              </a:gs>
              <a:gs pos="100000">
                <a:srgbClr val="D99FC6"/>
              </a:gs>
            </a:gsLst>
            <a:path path="circle">
              <a:fillToRect l="50000" t="-80000" r="50000" b="18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6" name="Picture 35">
            <a:extLst>
              <a:ext uri="{FF2B5EF4-FFF2-40B4-BE49-F238E27FC236}">
                <a16:creationId xmlns:a16="http://schemas.microsoft.com/office/drawing/2014/main" id="{E48A735C-6406-43F1-A57C-64F3141639C4}"/>
              </a:ext>
            </a:extLst>
          </p:cNvPr>
          <p:cNvPicPr>
            <a:picLocks noChangeAspect="1"/>
          </p:cNvPicPr>
          <p:nvPr/>
        </p:nvPicPr>
        <p:blipFill>
          <a:blip r:embed="rId8"/>
          <a:stretch>
            <a:fillRect/>
          </a:stretch>
        </p:blipFill>
        <p:spPr>
          <a:xfrm rot="20700000">
            <a:off x="13269386" y="1538315"/>
            <a:ext cx="2199281" cy="1496022"/>
          </a:xfrm>
          <a:prstGeom prst="rect">
            <a:avLst/>
          </a:prstGeom>
          <a:effectLst>
            <a:outerShdw blurRad="50800" dist="38100" dir="8100000" algn="tr" rotWithShape="0">
              <a:prstClr val="black">
                <a:alpha val="40000"/>
              </a:prstClr>
            </a:outerShdw>
          </a:effectLst>
        </p:spPr>
      </p:pic>
      <p:pic>
        <p:nvPicPr>
          <p:cNvPr id="103" name="Picture 102">
            <a:extLst>
              <a:ext uri="{FF2B5EF4-FFF2-40B4-BE49-F238E27FC236}">
                <a16:creationId xmlns:a16="http://schemas.microsoft.com/office/drawing/2014/main" id="{1377CCB7-C208-47D1-B6C8-7122CBD5B654}"/>
              </a:ext>
            </a:extLst>
          </p:cNvPr>
          <p:cNvPicPr>
            <a:picLocks noChangeAspect="1"/>
          </p:cNvPicPr>
          <p:nvPr/>
        </p:nvPicPr>
        <p:blipFill>
          <a:blip r:embed="rId9"/>
          <a:stretch>
            <a:fillRect/>
          </a:stretch>
        </p:blipFill>
        <p:spPr>
          <a:xfrm rot="900000">
            <a:off x="13049034" y="2737203"/>
            <a:ext cx="1727420" cy="1166008"/>
          </a:xfrm>
          <a:prstGeom prst="rect">
            <a:avLst/>
          </a:prstGeom>
          <a:effectLst>
            <a:outerShdw blurRad="50800" dist="38100" dir="8100000" algn="tr" rotWithShape="0">
              <a:prstClr val="black">
                <a:alpha val="40000"/>
              </a:prstClr>
            </a:outerShdw>
          </a:effectLst>
        </p:spPr>
      </p:pic>
      <p:pic>
        <p:nvPicPr>
          <p:cNvPr id="33" name="Picture 32">
            <a:extLst>
              <a:ext uri="{FF2B5EF4-FFF2-40B4-BE49-F238E27FC236}">
                <a16:creationId xmlns:a16="http://schemas.microsoft.com/office/drawing/2014/main" id="{3E17733C-4F88-4C3B-A4EC-91D09014AAD4}"/>
              </a:ext>
            </a:extLst>
          </p:cNvPr>
          <p:cNvPicPr>
            <a:picLocks noChangeAspect="1"/>
          </p:cNvPicPr>
          <p:nvPr/>
        </p:nvPicPr>
        <p:blipFill>
          <a:blip r:embed="rId7"/>
          <a:stretch>
            <a:fillRect/>
          </a:stretch>
        </p:blipFill>
        <p:spPr>
          <a:xfrm rot="1044862">
            <a:off x="14231247" y="3393700"/>
            <a:ext cx="1245442" cy="1245442"/>
          </a:xfrm>
          <a:prstGeom prst="rect">
            <a:avLst/>
          </a:prstGeom>
        </p:spPr>
      </p:pic>
      <p:pic>
        <p:nvPicPr>
          <p:cNvPr id="75" name="box1">
            <a:extLst>
              <a:ext uri="{FF2B5EF4-FFF2-40B4-BE49-F238E27FC236}">
                <a16:creationId xmlns:a16="http://schemas.microsoft.com/office/drawing/2014/main" id="{5DF3BAF6-0B00-4554-BB5F-2C9A19B666F8}"/>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52721" t="5750" r="5327" b="71195"/>
          <a:stretch/>
        </p:blipFill>
        <p:spPr>
          <a:xfrm>
            <a:off x="6414848" y="377317"/>
            <a:ext cx="5115709" cy="1581049"/>
          </a:xfrm>
          <a:prstGeom prst="roundRect">
            <a:avLst>
              <a:gd name="adj" fmla="val 19182"/>
            </a:avLst>
          </a:prstGeom>
          <a:noFill/>
          <a:ln>
            <a:noFill/>
          </a:ln>
          <a:effectLst>
            <a:outerShdw blurRad="635000" dist="215900" dir="7200000" algn="ctr" rotWithShape="0">
              <a:schemeClr val="tx1">
                <a:lumMod val="50000"/>
                <a:lumOff val="50000"/>
                <a:alpha val="43000"/>
              </a:schemeClr>
            </a:outerShdw>
          </a:effectLst>
        </p:spPr>
      </p:pic>
      <p:pic>
        <p:nvPicPr>
          <p:cNvPr id="76" name="box2">
            <a:extLst>
              <a:ext uri="{FF2B5EF4-FFF2-40B4-BE49-F238E27FC236}">
                <a16:creationId xmlns:a16="http://schemas.microsoft.com/office/drawing/2014/main" id="{B7823FA7-FDEA-4847-B2E0-AF4B05F46A35}"/>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52722" t="35467" r="5400" b="41477"/>
          <a:stretch/>
        </p:blipFill>
        <p:spPr>
          <a:xfrm>
            <a:off x="6423768" y="2415252"/>
            <a:ext cx="5106789" cy="1581049"/>
          </a:xfrm>
          <a:prstGeom prst="roundRect">
            <a:avLst>
              <a:gd name="adj" fmla="val 15731"/>
            </a:avLst>
          </a:prstGeom>
          <a:noFill/>
          <a:ln>
            <a:noFill/>
          </a:ln>
          <a:effectLst>
            <a:outerShdw blurRad="635000" dist="215900" dir="7200000" algn="ctr" rotWithShape="0">
              <a:schemeClr val="tx1">
                <a:lumMod val="50000"/>
                <a:lumOff val="50000"/>
                <a:alpha val="43000"/>
              </a:schemeClr>
            </a:outerShdw>
          </a:effectLst>
        </p:spPr>
      </p:pic>
      <p:pic>
        <p:nvPicPr>
          <p:cNvPr id="77" name="box3">
            <a:extLst>
              <a:ext uri="{FF2B5EF4-FFF2-40B4-BE49-F238E27FC236}">
                <a16:creationId xmlns:a16="http://schemas.microsoft.com/office/drawing/2014/main" id="{32DD456D-0064-422A-8E6E-95C3C23DC889}"/>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52722" t="65471" r="5400" b="11474"/>
          <a:stretch/>
        </p:blipFill>
        <p:spPr>
          <a:xfrm>
            <a:off x="6414051" y="4472651"/>
            <a:ext cx="5106789" cy="1581049"/>
          </a:xfrm>
          <a:prstGeom prst="roundRect">
            <a:avLst>
              <a:gd name="adj" fmla="val 15731"/>
            </a:avLst>
          </a:prstGeom>
          <a:noFill/>
          <a:ln>
            <a:noFill/>
          </a:ln>
          <a:effectLst>
            <a:outerShdw blurRad="635000" dist="215900" dir="7200000" algn="ctr" rotWithShape="0">
              <a:schemeClr val="tx1">
                <a:lumMod val="50000"/>
                <a:lumOff val="50000"/>
                <a:alpha val="43000"/>
              </a:schemeClr>
            </a:outerShdw>
          </a:effectLst>
        </p:spPr>
      </p:pic>
      <p:sp>
        <p:nvSpPr>
          <p:cNvPr id="2" name="Rectangle: Rounded Corners 1">
            <a:extLst>
              <a:ext uri="{FF2B5EF4-FFF2-40B4-BE49-F238E27FC236}">
                <a16:creationId xmlns:a16="http://schemas.microsoft.com/office/drawing/2014/main" id="{A1D20ACD-8E6A-4681-B3DD-4E7C695C9CDA}"/>
              </a:ext>
            </a:extLst>
          </p:cNvPr>
          <p:cNvSpPr/>
          <p:nvPr/>
        </p:nvSpPr>
        <p:spPr>
          <a:xfrm>
            <a:off x="10803743" y="6210300"/>
            <a:ext cx="141235" cy="87529"/>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8" name="Rectangle: Rounded Corners 77">
            <a:extLst>
              <a:ext uri="{FF2B5EF4-FFF2-40B4-BE49-F238E27FC236}">
                <a16:creationId xmlns:a16="http://schemas.microsoft.com/office/drawing/2014/main" id="{F6CC5573-9B57-4894-8078-CB76BD7DCE7A}"/>
              </a:ext>
            </a:extLst>
          </p:cNvPr>
          <p:cNvSpPr/>
          <p:nvPr/>
        </p:nvSpPr>
        <p:spPr>
          <a:xfrm>
            <a:off x="10996867" y="6208638"/>
            <a:ext cx="523973" cy="87529"/>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13E8787B-51FF-48AC-A538-2FC01644491B}"/>
              </a:ext>
            </a:extLst>
          </p:cNvPr>
          <p:cNvSpPr txBox="1"/>
          <p:nvPr/>
        </p:nvSpPr>
        <p:spPr>
          <a:xfrm>
            <a:off x="8473559" y="2023005"/>
            <a:ext cx="83227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600" b="1" i="0" u="none" strike="noStrike" kern="1200" cap="none" spc="0" normalizeH="0" baseline="0" noProof="0" dirty="0">
                <a:ln>
                  <a:noFill/>
                </a:ln>
                <a:effectLst/>
                <a:uLnTx/>
                <a:uFillTx/>
                <a:latin typeface="Poppins" panose="00000500000000000000" pitchFamily="2" charset="0"/>
                <a:cs typeface="Poppins" panose="00000500000000000000" pitchFamily="2" charset="0"/>
              </a:rPr>
              <a:t>Model</a:t>
            </a:r>
          </a:p>
        </p:txBody>
      </p:sp>
      <p:sp>
        <p:nvSpPr>
          <p:cNvPr id="90" name="TextBox 89">
            <a:extLst>
              <a:ext uri="{FF2B5EF4-FFF2-40B4-BE49-F238E27FC236}">
                <a16:creationId xmlns:a16="http://schemas.microsoft.com/office/drawing/2014/main" id="{7614AAC3-49A4-4795-B9DC-31623B63773F}"/>
              </a:ext>
            </a:extLst>
          </p:cNvPr>
          <p:cNvSpPr txBox="1"/>
          <p:nvPr/>
        </p:nvSpPr>
        <p:spPr>
          <a:xfrm>
            <a:off x="8570925" y="4039052"/>
            <a:ext cx="69923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600" b="1" i="0" u="none" strike="noStrike" kern="1200" cap="none" spc="0" normalizeH="0" baseline="0" noProof="0" dirty="0">
                <a:ln>
                  <a:noFill/>
                </a:ln>
                <a:effectLst/>
                <a:uLnTx/>
                <a:uFillTx/>
                <a:latin typeface="Poppins" panose="00000500000000000000" pitchFamily="2" charset="0"/>
                <a:cs typeface="Poppins" panose="00000500000000000000" pitchFamily="2" charset="0"/>
              </a:rPr>
              <a:t>View</a:t>
            </a:r>
          </a:p>
        </p:txBody>
      </p:sp>
      <p:sp>
        <p:nvSpPr>
          <p:cNvPr id="91" name="TextBox 90">
            <a:extLst>
              <a:ext uri="{FF2B5EF4-FFF2-40B4-BE49-F238E27FC236}">
                <a16:creationId xmlns:a16="http://schemas.microsoft.com/office/drawing/2014/main" id="{50B44185-48AA-439D-A14E-CCA393F6BE4D}"/>
              </a:ext>
            </a:extLst>
          </p:cNvPr>
          <p:cNvSpPr txBox="1"/>
          <p:nvPr/>
        </p:nvSpPr>
        <p:spPr>
          <a:xfrm>
            <a:off x="8414479" y="6110958"/>
            <a:ext cx="125066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600" b="1" i="0" u="none" strike="noStrike" kern="1200" cap="none" spc="0" normalizeH="0" baseline="0" noProof="0" dirty="0">
                <a:ln>
                  <a:noFill/>
                </a:ln>
                <a:effectLst/>
                <a:uLnTx/>
                <a:uFillTx/>
                <a:latin typeface="Poppins" panose="00000500000000000000" pitchFamily="2" charset="0"/>
                <a:cs typeface="Poppins" panose="00000500000000000000" pitchFamily="2" charset="0"/>
              </a:rPr>
              <a:t>Controller</a:t>
            </a:r>
          </a:p>
        </p:txBody>
      </p:sp>
      <p:sp>
        <p:nvSpPr>
          <p:cNvPr id="98" name="TextBox 97">
            <a:extLst>
              <a:ext uri="{FF2B5EF4-FFF2-40B4-BE49-F238E27FC236}">
                <a16:creationId xmlns:a16="http://schemas.microsoft.com/office/drawing/2014/main" id="{88A7EA77-EDE2-41E7-A12D-402E872C851F}"/>
              </a:ext>
            </a:extLst>
          </p:cNvPr>
          <p:cNvSpPr txBox="1"/>
          <p:nvPr/>
        </p:nvSpPr>
        <p:spPr>
          <a:xfrm>
            <a:off x="6606165" y="2618326"/>
            <a:ext cx="3532017"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Ink Free" panose="03080402000500000000" pitchFamily="66" charset="0"/>
              </a:rPr>
              <a:t>The View component is used for all the UI logic of the application. It generates a user interface for the user.</a:t>
            </a:r>
            <a:endParaRPr kumimoji="0" lang="en-MY" sz="1800" b="0" i="0" u="none" strike="noStrike" kern="1200" cap="none" spc="0" normalizeH="0" baseline="0" noProof="0" dirty="0">
              <a:ln>
                <a:noFill/>
              </a:ln>
              <a:solidFill>
                <a:prstClr val="black"/>
              </a:solidFill>
              <a:effectLst/>
              <a:uLnTx/>
              <a:uFillTx/>
              <a:latin typeface="Ink Free" panose="03080402000500000000" pitchFamily="66" charset="0"/>
            </a:endParaRPr>
          </a:p>
        </p:txBody>
      </p:sp>
      <p:sp>
        <p:nvSpPr>
          <p:cNvPr id="99" name="TextBox 98">
            <a:extLst>
              <a:ext uri="{FF2B5EF4-FFF2-40B4-BE49-F238E27FC236}">
                <a16:creationId xmlns:a16="http://schemas.microsoft.com/office/drawing/2014/main" id="{7777CEB1-4592-417B-91AB-36841827C1A5}"/>
              </a:ext>
            </a:extLst>
          </p:cNvPr>
          <p:cNvSpPr txBox="1"/>
          <p:nvPr/>
        </p:nvSpPr>
        <p:spPr>
          <a:xfrm>
            <a:off x="7618676" y="4691640"/>
            <a:ext cx="3861904"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Ink Free" panose="03080402000500000000" pitchFamily="66" charset="0"/>
              </a:rPr>
              <a:t>The controller is the component that enables the interconnection between the views and the model so it acts as an intermediary.</a:t>
            </a:r>
            <a:endParaRPr kumimoji="0" lang="en-MY" sz="1800" b="0" i="0" u="none" strike="noStrike" kern="1200" cap="none" spc="0" normalizeH="0" baseline="0" noProof="0" dirty="0">
              <a:ln>
                <a:noFill/>
              </a:ln>
              <a:solidFill>
                <a:prstClr val="black">
                  <a:lumMod val="75000"/>
                  <a:lumOff val="25000"/>
                </a:prstClr>
              </a:solidFill>
              <a:effectLst/>
              <a:uLnTx/>
              <a:uFillTx/>
              <a:latin typeface="Ink Free" panose="03080402000500000000" pitchFamily="66" charset="0"/>
            </a:endParaRPr>
          </a:p>
        </p:txBody>
      </p:sp>
      <p:sp>
        <p:nvSpPr>
          <p:cNvPr id="68" name="Rectangle: Rounded Corners 67">
            <a:extLst>
              <a:ext uri="{FF2B5EF4-FFF2-40B4-BE49-F238E27FC236}">
                <a16:creationId xmlns:a16="http://schemas.microsoft.com/office/drawing/2014/main" id="{49A467A0-B52C-4823-BAC3-19AE3BAA458C}"/>
              </a:ext>
            </a:extLst>
          </p:cNvPr>
          <p:cNvSpPr/>
          <p:nvPr/>
        </p:nvSpPr>
        <p:spPr>
          <a:xfrm>
            <a:off x="359404" y="4655580"/>
            <a:ext cx="471367" cy="449125"/>
          </a:xfrm>
          <a:prstGeom prst="roundRect">
            <a:avLst>
              <a:gd name="adj" fmla="val 50000"/>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Rectangle: Rounded Corners 78">
            <a:extLst>
              <a:ext uri="{FF2B5EF4-FFF2-40B4-BE49-F238E27FC236}">
                <a16:creationId xmlns:a16="http://schemas.microsoft.com/office/drawing/2014/main" id="{0C14DA4F-E444-4D69-B88F-A67336D7A00F}"/>
              </a:ext>
            </a:extLst>
          </p:cNvPr>
          <p:cNvSpPr/>
          <p:nvPr/>
        </p:nvSpPr>
        <p:spPr>
          <a:xfrm>
            <a:off x="359404" y="5320609"/>
            <a:ext cx="471367" cy="449125"/>
          </a:xfrm>
          <a:prstGeom prst="roundRect">
            <a:avLst>
              <a:gd name="adj" fmla="val 50000"/>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7" name="Rectangle: Rounded Corners 96">
            <a:extLst>
              <a:ext uri="{FF2B5EF4-FFF2-40B4-BE49-F238E27FC236}">
                <a16:creationId xmlns:a16="http://schemas.microsoft.com/office/drawing/2014/main" id="{9E9D3718-3BFA-453C-8DE2-340E20EB86DB}"/>
              </a:ext>
            </a:extLst>
          </p:cNvPr>
          <p:cNvSpPr/>
          <p:nvPr/>
        </p:nvSpPr>
        <p:spPr>
          <a:xfrm>
            <a:off x="355523" y="6008790"/>
            <a:ext cx="471367" cy="449125"/>
          </a:xfrm>
          <a:prstGeom prst="roundRect">
            <a:avLst>
              <a:gd name="adj" fmla="val 23844"/>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0" name="Graphic 99" descr="Home with solid fill">
            <a:extLst>
              <a:ext uri="{FF2B5EF4-FFF2-40B4-BE49-F238E27FC236}">
                <a16:creationId xmlns:a16="http://schemas.microsoft.com/office/drawing/2014/main" id="{740A412F-E583-4855-8BE6-C3E97B4C942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30962" y="6053701"/>
            <a:ext cx="320489" cy="320489"/>
          </a:xfrm>
          <a:prstGeom prst="rect">
            <a:avLst/>
          </a:prstGeom>
        </p:spPr>
      </p:pic>
      <p:pic>
        <p:nvPicPr>
          <p:cNvPr id="101" name="Graphic 100" descr="Caret Up with solid fill">
            <a:extLst>
              <a:ext uri="{FF2B5EF4-FFF2-40B4-BE49-F238E27FC236}">
                <a16:creationId xmlns:a16="http://schemas.microsoft.com/office/drawing/2014/main" id="{3FEF0EF6-C728-4827-9A58-82176FF15CE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98917" y="4676085"/>
            <a:ext cx="392341" cy="392341"/>
          </a:xfrm>
          <a:prstGeom prst="rect">
            <a:avLst/>
          </a:prstGeom>
        </p:spPr>
      </p:pic>
      <p:pic>
        <p:nvPicPr>
          <p:cNvPr id="105" name="Graphic 104" descr="Caret Up with solid fill">
            <a:extLst>
              <a:ext uri="{FF2B5EF4-FFF2-40B4-BE49-F238E27FC236}">
                <a16:creationId xmlns:a16="http://schemas.microsoft.com/office/drawing/2014/main" id="{DCE5C4DB-FCDC-4459-AFBC-8E559B890C4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flipV="1">
            <a:off x="398917" y="5359905"/>
            <a:ext cx="392341" cy="392341"/>
          </a:xfrm>
          <a:prstGeom prst="rect">
            <a:avLst/>
          </a:prstGeom>
        </p:spPr>
      </p:pic>
      <p:sp>
        <p:nvSpPr>
          <p:cNvPr id="111" name="TextBox 110">
            <a:extLst>
              <a:ext uri="{FF2B5EF4-FFF2-40B4-BE49-F238E27FC236}">
                <a16:creationId xmlns:a16="http://schemas.microsoft.com/office/drawing/2014/main" id="{77EB5F2F-BC04-452C-A181-0E03CE9C9B80}"/>
              </a:ext>
            </a:extLst>
          </p:cNvPr>
          <p:cNvSpPr txBox="1"/>
          <p:nvPr/>
        </p:nvSpPr>
        <p:spPr>
          <a:xfrm>
            <a:off x="6024203" y="-7884386"/>
            <a:ext cx="7601964" cy="3154710"/>
          </a:xfrm>
          <a:prstGeom prst="rect">
            <a:avLst/>
          </a:prstGeom>
          <a:noFill/>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9900" b="1" i="0" u="none" strike="noStrike" kern="1200" cap="none" spc="0" normalizeH="0" baseline="0" noProof="0" dirty="0">
                <a:ln>
                  <a:noFill/>
                </a:ln>
                <a:solidFill>
                  <a:srgbClr val="A776D9"/>
                </a:solidFill>
                <a:effectLst/>
                <a:uLnTx/>
                <a:uFillTx/>
                <a:latin typeface="Century Gothic" panose="020B0502020202020204" pitchFamily="34" charset="0"/>
                <a:ea typeface="+mn-ea"/>
                <a:cs typeface="+mn-cs"/>
              </a:rPr>
              <a:t>BLUR</a:t>
            </a:r>
            <a:endParaRPr kumimoji="0" lang="en-MY" sz="1800" b="0" i="0" u="none" strike="noStrike" kern="1200" cap="none" spc="0" normalizeH="0" baseline="0" noProof="0" dirty="0">
              <a:ln>
                <a:noFill/>
              </a:ln>
              <a:solidFill>
                <a:srgbClr val="A776D9"/>
              </a:solidFill>
              <a:effectLst/>
              <a:uLnTx/>
              <a:uFillTx/>
              <a:latin typeface="Calibri" panose="020F0502020204030204"/>
              <a:ea typeface="+mn-ea"/>
              <a:cs typeface="+mn-cs"/>
            </a:endParaRPr>
          </a:p>
        </p:txBody>
      </p:sp>
      <p:sp>
        <p:nvSpPr>
          <p:cNvPr id="112" name="TextBox 111">
            <a:extLst>
              <a:ext uri="{FF2B5EF4-FFF2-40B4-BE49-F238E27FC236}">
                <a16:creationId xmlns:a16="http://schemas.microsoft.com/office/drawing/2014/main" id="{42ED8C22-7B1C-4FE5-B4FF-F41B458DFDC7}"/>
              </a:ext>
            </a:extLst>
          </p:cNvPr>
          <p:cNvSpPr txBox="1"/>
          <p:nvPr/>
        </p:nvSpPr>
        <p:spPr>
          <a:xfrm>
            <a:off x="6122038" y="-1415276"/>
            <a:ext cx="7601964" cy="1446550"/>
          </a:xfrm>
          <a:prstGeom prst="rect">
            <a:avLst/>
          </a:prstGeom>
          <a:noFill/>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8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GRADIENT</a:t>
            </a:r>
            <a:endParaRPr kumimoji="0" lang="en-MY"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D1690EA1-AA9C-FA9D-AD55-A597196756C6}"/>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14954" t="5497" r="52300" b="5802"/>
          <a:stretch/>
        </p:blipFill>
        <p:spPr>
          <a:xfrm>
            <a:off x="1673067" y="291354"/>
            <a:ext cx="3993031" cy="6082836"/>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sp>
        <p:nvSpPr>
          <p:cNvPr id="6" name="TextBox 5">
            <a:extLst>
              <a:ext uri="{FF2B5EF4-FFF2-40B4-BE49-F238E27FC236}">
                <a16:creationId xmlns:a16="http://schemas.microsoft.com/office/drawing/2014/main" id="{3B642C35-7EAD-E8A6-FB5B-D52991BD8AD2}"/>
              </a:ext>
            </a:extLst>
          </p:cNvPr>
          <p:cNvSpPr txBox="1"/>
          <p:nvPr/>
        </p:nvSpPr>
        <p:spPr>
          <a:xfrm>
            <a:off x="1786433" y="4377977"/>
            <a:ext cx="2184559"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MY" sz="4000" b="1" dirty="0">
                <a:solidFill>
                  <a:prstClr val="black">
                    <a:lumMod val="75000"/>
                    <a:lumOff val="25000"/>
                  </a:prstClr>
                </a:solidFill>
                <a:effectLst>
                  <a:outerShdw blurRad="50800" dist="38100" dir="5400000" algn="t" rotWithShape="0">
                    <a:prstClr val="black">
                      <a:alpha val="40000"/>
                    </a:prstClr>
                  </a:outerShdw>
                </a:effectLst>
                <a:latin typeface="Century Gothic" panose="020B0502020202020204" pitchFamily="34" charset="0"/>
              </a:rPr>
              <a:t>Laravel</a:t>
            </a:r>
            <a:r>
              <a:rPr kumimoji="0" lang="en-MY" sz="4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 </a:t>
            </a:r>
            <a:endParaRPr kumimoji="0" lang="en-MY"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F215DE1D-AEEA-39E9-EF70-C324F13B8701}"/>
              </a:ext>
            </a:extLst>
          </p:cNvPr>
          <p:cNvSpPr txBox="1"/>
          <p:nvPr/>
        </p:nvSpPr>
        <p:spPr>
          <a:xfrm>
            <a:off x="1830443" y="4891695"/>
            <a:ext cx="2240671"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PHP Framework</a:t>
            </a:r>
            <a:endParaRPr kumimoji="0" lang="en-MY" sz="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AF27821A-038B-4C34-4CD4-BEA7234AEB3D}"/>
              </a:ext>
            </a:extLst>
          </p:cNvPr>
          <p:cNvSpPr txBox="1"/>
          <p:nvPr/>
        </p:nvSpPr>
        <p:spPr>
          <a:xfrm>
            <a:off x="1820482" y="5201549"/>
            <a:ext cx="229464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Laravel is a PHP based backend framework. It based on MVC.</a:t>
            </a:r>
          </a:p>
        </p:txBody>
      </p:sp>
      <p:grpSp>
        <p:nvGrpSpPr>
          <p:cNvPr id="9" name="Group 8">
            <a:extLst>
              <a:ext uri="{FF2B5EF4-FFF2-40B4-BE49-F238E27FC236}">
                <a16:creationId xmlns:a16="http://schemas.microsoft.com/office/drawing/2014/main" id="{8136B70F-E241-C8AA-723A-620CCE41324D}"/>
              </a:ext>
            </a:extLst>
          </p:cNvPr>
          <p:cNvGrpSpPr/>
          <p:nvPr/>
        </p:nvGrpSpPr>
        <p:grpSpPr>
          <a:xfrm>
            <a:off x="2721845" y="5882812"/>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10" name="Rectangle: Rounded Corners 9">
              <a:extLst>
                <a:ext uri="{FF2B5EF4-FFF2-40B4-BE49-F238E27FC236}">
                  <a16:creationId xmlns:a16="http://schemas.microsoft.com/office/drawing/2014/main" id="{50F53A62-68D2-9741-3BEF-5A912022ACC0}"/>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11" name="TextBox 10">
              <a:extLst>
                <a:ext uri="{FF2B5EF4-FFF2-40B4-BE49-F238E27FC236}">
                  <a16:creationId xmlns:a16="http://schemas.microsoft.com/office/drawing/2014/main" id="{6D714924-E0D5-9CE3-B78F-F90B12F6B81E}"/>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2" name="Rectangle: Rounded Corners 11">
            <a:extLst>
              <a:ext uri="{FF2B5EF4-FFF2-40B4-BE49-F238E27FC236}">
                <a16:creationId xmlns:a16="http://schemas.microsoft.com/office/drawing/2014/main" id="{7201ECBF-0FB3-EB1A-8D29-CDBA993AB518}"/>
              </a:ext>
            </a:extLst>
          </p:cNvPr>
          <p:cNvSpPr/>
          <p:nvPr/>
        </p:nvSpPr>
        <p:spPr>
          <a:xfrm>
            <a:off x="3187322" y="387653"/>
            <a:ext cx="964520" cy="94179"/>
          </a:xfrm>
          <a:prstGeom prst="roundRect">
            <a:avLst>
              <a:gd name="adj" fmla="val 50000"/>
            </a:avLst>
          </a:prstGeom>
          <a:solidFill>
            <a:schemeClr val="bg1"/>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Freeform: Shape 12">
            <a:extLst>
              <a:ext uri="{FF2B5EF4-FFF2-40B4-BE49-F238E27FC236}">
                <a16:creationId xmlns:a16="http://schemas.microsoft.com/office/drawing/2014/main" id="{07B92889-6401-64F9-C7A2-EAB36D6CFA31}"/>
              </a:ext>
            </a:extLst>
          </p:cNvPr>
          <p:cNvSpPr/>
          <p:nvPr/>
        </p:nvSpPr>
        <p:spPr>
          <a:xfrm rot="20700000">
            <a:off x="1996995" y="649922"/>
            <a:ext cx="3209150" cy="5556959"/>
          </a:xfrm>
          <a:custGeom>
            <a:avLst/>
            <a:gdLst>
              <a:gd name="connsiteX0" fmla="*/ 2298694 w 2462684"/>
              <a:gd name="connsiteY0" fmla="*/ 4048436 h 4051070"/>
              <a:gd name="connsiteX1" fmla="*/ 2251069 w 2462684"/>
              <a:gd name="connsiteY1" fmla="*/ 3248336 h 4051070"/>
              <a:gd name="connsiteX2" fmla="*/ 1231894 w 2462684"/>
              <a:gd name="connsiteY2" fmla="*/ 2876861 h 4051070"/>
              <a:gd name="connsiteX3" fmla="*/ 822319 w 2462684"/>
              <a:gd name="connsiteY3" fmla="*/ 1914836 h 4051070"/>
              <a:gd name="connsiteX4" fmla="*/ 136519 w 2462684"/>
              <a:gd name="connsiteY4" fmla="*/ 1057586 h 4051070"/>
              <a:gd name="connsiteX5" fmla="*/ 22219 w 2462684"/>
              <a:gd name="connsiteY5" fmla="*/ 419411 h 4051070"/>
              <a:gd name="connsiteX6" fmla="*/ 431794 w 2462684"/>
              <a:gd name="connsiteY6" fmla="*/ 9836 h 4051070"/>
              <a:gd name="connsiteX7" fmla="*/ 1212844 w 2462684"/>
              <a:gd name="connsiteY7" fmla="*/ 828986 h 4051070"/>
              <a:gd name="connsiteX8" fmla="*/ 1460494 w 2462684"/>
              <a:gd name="connsiteY8" fmla="*/ 1933886 h 4051070"/>
              <a:gd name="connsiteX9" fmla="*/ 1536694 w 2462684"/>
              <a:gd name="connsiteY9" fmla="*/ 2543486 h 4051070"/>
              <a:gd name="connsiteX10" fmla="*/ 2422519 w 2462684"/>
              <a:gd name="connsiteY10" fmla="*/ 2953061 h 4051070"/>
              <a:gd name="connsiteX11" fmla="*/ 2298694 w 2462684"/>
              <a:gd name="connsiteY11" fmla="*/ 4048436 h 405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62684" h="4051070">
                <a:moveTo>
                  <a:pt x="2298694" y="4048436"/>
                </a:moveTo>
                <a:cubicBezTo>
                  <a:pt x="2270119" y="4097649"/>
                  <a:pt x="2428869" y="3443598"/>
                  <a:pt x="2251069" y="3248336"/>
                </a:cubicBezTo>
                <a:cubicBezTo>
                  <a:pt x="2073269" y="3053074"/>
                  <a:pt x="1470019" y="3099111"/>
                  <a:pt x="1231894" y="2876861"/>
                </a:cubicBezTo>
                <a:cubicBezTo>
                  <a:pt x="993769" y="2654611"/>
                  <a:pt x="1004881" y="2218048"/>
                  <a:pt x="822319" y="1914836"/>
                </a:cubicBezTo>
                <a:cubicBezTo>
                  <a:pt x="639757" y="1611624"/>
                  <a:pt x="269869" y="1306823"/>
                  <a:pt x="136519" y="1057586"/>
                </a:cubicBezTo>
                <a:cubicBezTo>
                  <a:pt x="3169" y="808349"/>
                  <a:pt x="-26994" y="594036"/>
                  <a:pt x="22219" y="419411"/>
                </a:cubicBezTo>
                <a:cubicBezTo>
                  <a:pt x="71431" y="244786"/>
                  <a:pt x="233357" y="-58426"/>
                  <a:pt x="431794" y="9836"/>
                </a:cubicBezTo>
                <a:cubicBezTo>
                  <a:pt x="630231" y="78098"/>
                  <a:pt x="1041394" y="508311"/>
                  <a:pt x="1212844" y="828986"/>
                </a:cubicBezTo>
                <a:cubicBezTo>
                  <a:pt x="1384294" y="1149661"/>
                  <a:pt x="1406519" y="1648136"/>
                  <a:pt x="1460494" y="1933886"/>
                </a:cubicBezTo>
                <a:cubicBezTo>
                  <a:pt x="1514469" y="2219636"/>
                  <a:pt x="1376357" y="2373624"/>
                  <a:pt x="1536694" y="2543486"/>
                </a:cubicBezTo>
                <a:cubicBezTo>
                  <a:pt x="1697031" y="2713348"/>
                  <a:pt x="2292344" y="2703823"/>
                  <a:pt x="2422519" y="2953061"/>
                </a:cubicBezTo>
                <a:cubicBezTo>
                  <a:pt x="2552694" y="3202298"/>
                  <a:pt x="2327269" y="3999223"/>
                  <a:pt x="2298694" y="4048436"/>
                </a:cubicBezTo>
                <a:close/>
              </a:path>
            </a:pathLst>
          </a:custGeom>
          <a:gradFill flip="none" rotWithShape="1">
            <a:gsLst>
              <a:gs pos="0">
                <a:srgbClr val="F5736A"/>
              </a:gs>
              <a:gs pos="50000">
                <a:srgbClr val="FF9C5A"/>
              </a:gs>
              <a:gs pos="100000">
                <a:srgbClr val="FFCF38"/>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Picture 17">
            <a:extLst>
              <a:ext uri="{FF2B5EF4-FFF2-40B4-BE49-F238E27FC236}">
                <a16:creationId xmlns:a16="http://schemas.microsoft.com/office/drawing/2014/main" id="{5D470833-5274-8AC5-D779-6318F10A0ACF}"/>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rot="20766835">
            <a:off x="2067891" y="745209"/>
            <a:ext cx="2755544" cy="2743982"/>
          </a:xfrm>
          <a:prstGeom prst="rect">
            <a:avLst/>
          </a:prstGeom>
        </p:spPr>
      </p:pic>
      <p:pic>
        <p:nvPicPr>
          <p:cNvPr id="19" name="Picture 2" descr="backpack green Illustration in PNG, SVG">
            <a:hlinkHover r:id="rId15" action="ppaction://hlinksldjump"/>
            <a:extLst>
              <a:ext uri="{FF2B5EF4-FFF2-40B4-BE49-F238E27FC236}">
                <a16:creationId xmlns:a16="http://schemas.microsoft.com/office/drawing/2014/main" id="{C90FF2FB-AD12-92AF-AD87-358DD6E15C1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78110" y="669584"/>
            <a:ext cx="890589" cy="918420"/>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67671696-7FE5-3E96-15CB-977805DDD4B8}"/>
              </a:ext>
            </a:extLst>
          </p:cNvPr>
          <p:cNvSpPr txBox="1"/>
          <p:nvPr/>
        </p:nvSpPr>
        <p:spPr>
          <a:xfrm>
            <a:off x="7604938" y="540322"/>
            <a:ext cx="3889380" cy="1200329"/>
          </a:xfrm>
          <a:prstGeom prst="rect">
            <a:avLst/>
          </a:prstGeom>
          <a:noFill/>
        </p:spPr>
        <p:txBody>
          <a:bodyPr wrap="square" rtlCol="0">
            <a:spAutoFit/>
          </a:bodyPr>
          <a:lstStyle/>
          <a:p>
            <a:r>
              <a:rPr lang="en-US" dirty="0">
                <a:latin typeface="Ink Free" panose="03080402000500000000" pitchFamily="66" charset="0"/>
              </a:rPr>
              <a:t>The Model component corresponds to all the data-related logic that the user works with. It can add or retrieve data from the database. </a:t>
            </a:r>
            <a:endParaRPr lang="en-IN" dirty="0">
              <a:latin typeface="Ink Free" panose="03080402000500000000" pitchFamily="66" charset="0"/>
            </a:endParaRPr>
          </a:p>
        </p:txBody>
      </p:sp>
      <p:pic>
        <p:nvPicPr>
          <p:cNvPr id="22" name="Picture 21">
            <a:hlinkHover r:id="rId17" action="ppaction://hlinksldjump"/>
            <a:extLst>
              <a:ext uri="{FF2B5EF4-FFF2-40B4-BE49-F238E27FC236}">
                <a16:creationId xmlns:a16="http://schemas.microsoft.com/office/drawing/2014/main" id="{0F7FB2CB-60B1-362B-E461-DF99862ED219}"/>
              </a:ext>
            </a:extLst>
          </p:cNvPr>
          <p:cNvPicPr>
            <a:picLocks noChangeAspect="1"/>
          </p:cNvPicPr>
          <p:nvPr/>
        </p:nvPicPr>
        <p:blipFill>
          <a:blip r:embed="rId18">
            <a:extLst>
              <a:ext uri="{BEBA8EAE-BF5A-486C-A8C5-ECC9F3942E4B}">
                <a14:imgProps xmlns:a14="http://schemas.microsoft.com/office/drawing/2010/main">
                  <a14:imgLayer r:embed="rId19">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0333692" y="2826179"/>
            <a:ext cx="763355" cy="759193"/>
          </a:xfrm>
          <a:prstGeom prst="rect">
            <a:avLst/>
          </a:prstGeom>
        </p:spPr>
      </p:pic>
      <p:pic>
        <p:nvPicPr>
          <p:cNvPr id="24" name="Picture 23">
            <a:extLst>
              <a:ext uri="{FF2B5EF4-FFF2-40B4-BE49-F238E27FC236}">
                <a16:creationId xmlns:a16="http://schemas.microsoft.com/office/drawing/2014/main" id="{7E526E95-E2FD-9974-9E17-C9F08B73A854}"/>
              </a:ext>
            </a:extLst>
          </p:cNvPr>
          <p:cNvPicPr>
            <a:picLocks noChangeAspect="1"/>
          </p:cNvPicPr>
          <p:nvPr/>
        </p:nvPicPr>
        <p:blipFill rotWithShape="1">
          <a:blip r:embed="rId20">
            <a:extLst>
              <a:ext uri="{28A0092B-C50C-407E-A947-70E740481C1C}">
                <a14:useLocalDpi xmlns:a14="http://schemas.microsoft.com/office/drawing/2010/main" val="0"/>
              </a:ext>
            </a:extLst>
          </a:blip>
          <a:srcRect r="25073" b="10759"/>
          <a:stretch/>
        </p:blipFill>
        <p:spPr>
          <a:xfrm>
            <a:off x="6556541" y="4769376"/>
            <a:ext cx="1107416" cy="987597"/>
          </a:xfrm>
          <a:prstGeom prst="rect">
            <a:avLst/>
          </a:prstGeom>
        </p:spPr>
      </p:pic>
    </p:spTree>
    <p:extLst>
      <p:ext uri="{BB962C8B-B14F-4D97-AF65-F5344CB8AC3E}">
        <p14:creationId xmlns:p14="http://schemas.microsoft.com/office/powerpoint/2010/main" val="18557313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E8B9359-5B8D-42D8-8D71-381018F24C77}"/>
              </a:ext>
            </a:extLst>
          </p:cNvPr>
          <p:cNvPicPr>
            <a:picLocks noChangeAspect="1"/>
          </p:cNvPicPr>
          <p:nvPr/>
        </p:nvPicPr>
        <p:blipFill rotWithShape="1">
          <a:blip r:embed="rId2"/>
          <a:srcRect l="4818" t="13929" r="11068" b="15870"/>
          <a:stretch/>
        </p:blipFill>
        <p:spPr>
          <a:xfrm>
            <a:off x="0" y="1"/>
            <a:ext cx="12192000" cy="6857999"/>
          </a:xfrm>
          <a:prstGeom prst="rect">
            <a:avLst/>
          </a:prstGeom>
        </p:spPr>
      </p:pic>
      <p:sp>
        <p:nvSpPr>
          <p:cNvPr id="75" name="TextBox 74">
            <a:extLst>
              <a:ext uri="{FF2B5EF4-FFF2-40B4-BE49-F238E27FC236}">
                <a16:creationId xmlns:a16="http://schemas.microsoft.com/office/drawing/2014/main" id="{41B47E12-308B-480D-BB8F-4FB2CD8CED76}"/>
              </a:ext>
            </a:extLst>
          </p:cNvPr>
          <p:cNvSpPr txBox="1"/>
          <p:nvPr/>
        </p:nvSpPr>
        <p:spPr>
          <a:xfrm>
            <a:off x="6024203" y="8996260"/>
            <a:ext cx="7601964" cy="3154710"/>
          </a:xfrm>
          <a:prstGeom prst="rect">
            <a:avLst/>
          </a:prstGeom>
          <a:noFill/>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9900" b="1" i="0" u="none" strike="noStrike" kern="1200" cap="none" spc="0" normalizeH="0" baseline="0" noProof="0" dirty="0">
                <a:ln>
                  <a:noFill/>
                </a:ln>
                <a:solidFill>
                  <a:srgbClr val="A776D9"/>
                </a:solidFill>
                <a:effectLst/>
                <a:uLnTx/>
                <a:uFillTx/>
                <a:latin typeface="Century Gothic" panose="020B0502020202020204" pitchFamily="34" charset="0"/>
                <a:ea typeface="+mn-ea"/>
                <a:cs typeface="+mn-cs"/>
              </a:rPr>
              <a:t>BLUR</a:t>
            </a:r>
            <a:endParaRPr kumimoji="0" lang="en-MY" sz="1800" b="0" i="0" u="none" strike="noStrike" kern="1200" cap="none" spc="0" normalizeH="0" baseline="0" noProof="0" dirty="0">
              <a:ln>
                <a:noFill/>
              </a:ln>
              <a:solidFill>
                <a:srgbClr val="A776D9"/>
              </a:solidFill>
              <a:effectLst/>
              <a:uLnTx/>
              <a:uFillTx/>
              <a:latin typeface="Calibri" panose="020F0502020204030204"/>
              <a:ea typeface="+mn-ea"/>
              <a:cs typeface="+mn-cs"/>
            </a:endParaRPr>
          </a:p>
        </p:txBody>
      </p:sp>
      <p:sp>
        <p:nvSpPr>
          <p:cNvPr id="79" name="TextBox 78">
            <a:extLst>
              <a:ext uri="{FF2B5EF4-FFF2-40B4-BE49-F238E27FC236}">
                <a16:creationId xmlns:a16="http://schemas.microsoft.com/office/drawing/2014/main" id="{79E89506-1CBD-4E16-9F74-6A235509CAFB}"/>
              </a:ext>
            </a:extLst>
          </p:cNvPr>
          <p:cNvSpPr txBox="1"/>
          <p:nvPr/>
        </p:nvSpPr>
        <p:spPr>
          <a:xfrm>
            <a:off x="6122038" y="15895843"/>
            <a:ext cx="7601964" cy="1446550"/>
          </a:xfrm>
          <a:prstGeom prst="rect">
            <a:avLst/>
          </a:prstGeom>
          <a:noFill/>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8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GRADIENT</a:t>
            </a:r>
            <a:endParaRPr kumimoji="0" lang="en-MY"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7" name="Picture 36">
            <a:extLst>
              <a:ext uri="{FF2B5EF4-FFF2-40B4-BE49-F238E27FC236}">
                <a16:creationId xmlns:a16="http://schemas.microsoft.com/office/drawing/2014/main" id="{F4D43D9A-CA01-4EA3-9C34-9479F0A7004D}"/>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33493" t="-192131" r="-3966" b="151980"/>
          <a:stretch/>
        </p:blipFill>
        <p:spPr>
          <a:xfrm>
            <a:off x="4083528" y="-13175513"/>
            <a:ext cx="8592335" cy="9610969"/>
          </a:xfrm>
          <a:prstGeom prst="roundRect">
            <a:avLst>
              <a:gd name="adj" fmla="val 4648"/>
            </a:avLst>
          </a:prstGeom>
          <a:noFill/>
          <a:ln>
            <a:noFill/>
          </a:ln>
          <a:effectLst>
            <a:outerShdw blurRad="635000" dist="215900" dir="7200000" algn="ctr" rotWithShape="0">
              <a:schemeClr val="tx1">
                <a:lumMod val="50000"/>
                <a:lumOff val="50000"/>
                <a:alpha val="43000"/>
              </a:schemeClr>
            </a:outerShdw>
          </a:effectLst>
        </p:spPr>
      </p:pic>
      <p:pic>
        <p:nvPicPr>
          <p:cNvPr id="5" name="Picture 4">
            <a:extLst>
              <a:ext uri="{FF2B5EF4-FFF2-40B4-BE49-F238E27FC236}">
                <a16:creationId xmlns:a16="http://schemas.microsoft.com/office/drawing/2014/main" id="{59EC0469-F0EB-4FA6-A663-0F1171475995}"/>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1110" t="1548" r="91086" b="2540"/>
          <a:stretch/>
        </p:blipFill>
        <p:spPr>
          <a:xfrm>
            <a:off x="135166" y="106342"/>
            <a:ext cx="951535" cy="6577488"/>
          </a:xfrm>
          <a:prstGeom prst="roundRect">
            <a:avLst>
              <a:gd name="adj" fmla="val 33164"/>
            </a:avLst>
          </a:prstGeom>
          <a:noFill/>
          <a:ln>
            <a:noFill/>
          </a:ln>
          <a:effectLst>
            <a:outerShdw blurRad="635000" dist="215900" dir="7200000" algn="ctr" rotWithShape="0">
              <a:schemeClr val="tx1">
                <a:lumMod val="50000"/>
                <a:lumOff val="50000"/>
                <a:alpha val="43000"/>
              </a:schemeClr>
            </a:outerShdw>
          </a:effectLst>
        </p:spPr>
      </p:pic>
      <p:sp>
        <p:nvSpPr>
          <p:cNvPr id="7" name="TextBox 6">
            <a:extLst>
              <a:ext uri="{FF2B5EF4-FFF2-40B4-BE49-F238E27FC236}">
                <a16:creationId xmlns:a16="http://schemas.microsoft.com/office/drawing/2014/main" id="{78290698-34CB-4705-B9AF-BB16F1EA9026}"/>
              </a:ext>
            </a:extLst>
          </p:cNvPr>
          <p:cNvSpPr txBox="1"/>
          <p:nvPr/>
        </p:nvSpPr>
        <p:spPr>
          <a:xfrm>
            <a:off x="-12575020" y="3698513"/>
            <a:ext cx="2984500" cy="184665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hmppt</a:t>
            </a:r>
            <a:r>
              <a:rPr kumimoji="0" lang="en-MY" sz="4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4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8" name="TextBox 7">
            <a:extLst>
              <a:ext uri="{FF2B5EF4-FFF2-40B4-BE49-F238E27FC236}">
                <a16:creationId xmlns:a16="http://schemas.microsoft.com/office/drawing/2014/main" id="{D6DD4C71-14E6-49ED-8568-B7921D041CD4}"/>
              </a:ext>
            </a:extLst>
          </p:cNvPr>
          <p:cNvSpPr txBox="1"/>
          <p:nvPr/>
        </p:nvSpPr>
        <p:spPr>
          <a:xfrm>
            <a:off x="-10409670" y="2973303"/>
            <a:ext cx="2984500"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7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Hello</a:t>
            </a:r>
            <a:r>
              <a:rPr kumimoji="0" lang="en-MY" sz="4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4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pSp>
        <p:nvGrpSpPr>
          <p:cNvPr id="13" name="Group 12">
            <a:extLst>
              <a:ext uri="{FF2B5EF4-FFF2-40B4-BE49-F238E27FC236}">
                <a16:creationId xmlns:a16="http://schemas.microsoft.com/office/drawing/2014/main" id="{E2ED9B0F-37B7-403E-8DA5-4C5F549FC7CB}"/>
              </a:ext>
            </a:extLst>
          </p:cNvPr>
          <p:cNvGrpSpPr/>
          <p:nvPr/>
        </p:nvGrpSpPr>
        <p:grpSpPr>
          <a:xfrm>
            <a:off x="-12218456" y="5753100"/>
            <a:ext cx="1432560" cy="441960"/>
            <a:chOff x="1588770" y="5753100"/>
            <a:chExt cx="1432560" cy="441960"/>
          </a:xfrm>
          <a:effectLst>
            <a:outerShdw blurRad="165100" dist="76200" dir="7200000" algn="t" rotWithShape="0">
              <a:prstClr val="black">
                <a:alpha val="40000"/>
              </a:prstClr>
            </a:outerShdw>
          </a:effectLst>
        </p:grpSpPr>
        <p:sp>
          <p:nvSpPr>
            <p:cNvPr id="6" name="Rectangle: Rounded Corners 5">
              <a:extLst>
                <a:ext uri="{FF2B5EF4-FFF2-40B4-BE49-F238E27FC236}">
                  <a16:creationId xmlns:a16="http://schemas.microsoft.com/office/drawing/2014/main" id="{7A9D66CD-933F-47F2-88AE-8A6390E5BD43}"/>
                </a:ext>
              </a:extLst>
            </p:cNvPr>
            <p:cNvSpPr/>
            <p:nvPr/>
          </p:nvSpPr>
          <p:spPr>
            <a:xfrm>
              <a:off x="1588770" y="5753100"/>
              <a:ext cx="1432560" cy="44196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12" name="TextBox 11">
              <a:extLst>
                <a:ext uri="{FF2B5EF4-FFF2-40B4-BE49-F238E27FC236}">
                  <a16:creationId xmlns:a16="http://schemas.microsoft.com/office/drawing/2014/main" id="{F43E55E4-DB0F-4412-9DAE-8E90604C281D}"/>
                </a:ext>
              </a:extLst>
            </p:cNvPr>
            <p:cNvSpPr txBox="1"/>
            <p:nvPr/>
          </p:nvSpPr>
          <p:spPr>
            <a:xfrm>
              <a:off x="1978025" y="5789414"/>
              <a:ext cx="7493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rPr>
                <a:t>Start</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9" name="TextBox 18">
            <a:extLst>
              <a:ext uri="{FF2B5EF4-FFF2-40B4-BE49-F238E27FC236}">
                <a16:creationId xmlns:a16="http://schemas.microsoft.com/office/drawing/2014/main" id="{E56AD6B4-1375-43DF-89AE-B8D7781E3496}"/>
              </a:ext>
            </a:extLst>
          </p:cNvPr>
          <p:cNvSpPr txBox="1"/>
          <p:nvPr/>
        </p:nvSpPr>
        <p:spPr>
          <a:xfrm>
            <a:off x="-11108792" y="4792813"/>
            <a:ext cx="2775137"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4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with custom layouts animation and many more…</a:t>
            </a:r>
          </a:p>
        </p:txBody>
      </p:sp>
      <p:sp>
        <p:nvSpPr>
          <p:cNvPr id="43" name="TextBox 42">
            <a:extLst>
              <a:ext uri="{FF2B5EF4-FFF2-40B4-BE49-F238E27FC236}">
                <a16:creationId xmlns:a16="http://schemas.microsoft.com/office/drawing/2014/main" id="{EEBFCA88-B9B7-4337-B1DE-E458FB10229A}"/>
              </a:ext>
            </a:extLst>
          </p:cNvPr>
          <p:cNvSpPr txBox="1"/>
          <p:nvPr/>
        </p:nvSpPr>
        <p:spPr>
          <a:xfrm>
            <a:off x="7741816" y="-17966407"/>
            <a:ext cx="2557110" cy="15081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Gla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4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42" name="TextBox 41">
            <a:extLst>
              <a:ext uri="{FF2B5EF4-FFF2-40B4-BE49-F238E27FC236}">
                <a16:creationId xmlns:a16="http://schemas.microsoft.com/office/drawing/2014/main" id="{55394D7A-694C-49E5-90AE-A77F4B795C99}"/>
              </a:ext>
            </a:extLst>
          </p:cNvPr>
          <p:cNvSpPr txBox="1"/>
          <p:nvPr/>
        </p:nvSpPr>
        <p:spPr>
          <a:xfrm>
            <a:off x="4237438" y="-16894215"/>
            <a:ext cx="449025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Build</a:t>
            </a:r>
          </a:p>
        </p:txBody>
      </p:sp>
      <p:sp>
        <p:nvSpPr>
          <p:cNvPr id="56" name="TextBox 55">
            <a:extLst>
              <a:ext uri="{FF2B5EF4-FFF2-40B4-BE49-F238E27FC236}">
                <a16:creationId xmlns:a16="http://schemas.microsoft.com/office/drawing/2014/main" id="{AE6A9755-4FAA-4021-8896-F5C28FD4AD62}"/>
              </a:ext>
            </a:extLst>
          </p:cNvPr>
          <p:cNvSpPr txBox="1"/>
          <p:nvPr/>
        </p:nvSpPr>
        <p:spPr>
          <a:xfrm>
            <a:off x="-10409670" y="278483"/>
            <a:ext cx="2660009"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4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About me                 </a:t>
            </a:r>
            <a:r>
              <a:rPr kumimoji="0" lang="en-MY" sz="44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 . .</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TextBox 57">
            <a:extLst>
              <a:ext uri="{FF2B5EF4-FFF2-40B4-BE49-F238E27FC236}">
                <a16:creationId xmlns:a16="http://schemas.microsoft.com/office/drawing/2014/main" id="{CBE1F75E-37B9-426A-BCDF-AF68B0DB20CB}"/>
              </a:ext>
            </a:extLst>
          </p:cNvPr>
          <p:cNvSpPr txBox="1"/>
          <p:nvPr/>
        </p:nvSpPr>
        <p:spPr>
          <a:xfrm>
            <a:off x="8406071" y="-17020662"/>
            <a:ext cx="255711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morphism</a:t>
            </a:r>
            <a:endParaRPr kumimoji="0" lang="en-MY" sz="18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11946AE7-72A0-456F-881A-6887EEC193B8}"/>
              </a:ext>
            </a:extLst>
          </p:cNvPr>
          <p:cNvSpPr txBox="1"/>
          <p:nvPr/>
        </p:nvSpPr>
        <p:spPr>
          <a:xfrm>
            <a:off x="7299536" y="-17961658"/>
            <a:ext cx="69056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The</a:t>
            </a:r>
            <a:endParaRPr kumimoji="0" lang="en-MY" sz="18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endParaRPr>
          </a:p>
        </p:txBody>
      </p:sp>
      <p:pic>
        <p:nvPicPr>
          <p:cNvPr id="61" name="Picture 60">
            <a:extLst>
              <a:ext uri="{FF2B5EF4-FFF2-40B4-BE49-F238E27FC236}">
                <a16:creationId xmlns:a16="http://schemas.microsoft.com/office/drawing/2014/main" id="{5BA86A40-18CE-42EC-AD81-4A05821D684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70880" y="-3999321"/>
            <a:ext cx="572825" cy="572825"/>
          </a:xfrm>
          <a:prstGeom prst="rect">
            <a:avLst/>
          </a:prstGeom>
        </p:spPr>
      </p:pic>
      <p:pic>
        <p:nvPicPr>
          <p:cNvPr id="62" name="Picture 61">
            <a:extLst>
              <a:ext uri="{FF2B5EF4-FFF2-40B4-BE49-F238E27FC236}">
                <a16:creationId xmlns:a16="http://schemas.microsoft.com/office/drawing/2014/main" id="{27F6497D-FBF1-4A61-9AF2-233D868A4BE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35351" y="-4685067"/>
            <a:ext cx="560011" cy="560011"/>
          </a:xfrm>
          <a:prstGeom prst="rect">
            <a:avLst/>
          </a:prstGeom>
        </p:spPr>
      </p:pic>
      <p:pic>
        <p:nvPicPr>
          <p:cNvPr id="63" name="Picture 62">
            <a:extLst>
              <a:ext uri="{FF2B5EF4-FFF2-40B4-BE49-F238E27FC236}">
                <a16:creationId xmlns:a16="http://schemas.microsoft.com/office/drawing/2014/main" id="{FBA2EC96-D5AD-4E50-84C2-BAAA425994E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89410" y="-5378279"/>
            <a:ext cx="590146" cy="590146"/>
          </a:xfrm>
          <a:prstGeom prst="rect">
            <a:avLst/>
          </a:prstGeom>
        </p:spPr>
      </p:pic>
      <p:pic>
        <p:nvPicPr>
          <p:cNvPr id="64" name="Picture 63">
            <a:extLst>
              <a:ext uri="{FF2B5EF4-FFF2-40B4-BE49-F238E27FC236}">
                <a16:creationId xmlns:a16="http://schemas.microsoft.com/office/drawing/2014/main" id="{0740FCD6-A340-462C-9E89-C3A2768FD5A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37438" y="-6063431"/>
            <a:ext cx="590146" cy="590146"/>
          </a:xfrm>
          <a:prstGeom prst="rect">
            <a:avLst/>
          </a:prstGeom>
        </p:spPr>
      </p:pic>
      <p:pic>
        <p:nvPicPr>
          <p:cNvPr id="68" name="Picture 67" descr="Icon&#10;&#10;Description automatically generated">
            <a:extLst>
              <a:ext uri="{FF2B5EF4-FFF2-40B4-BE49-F238E27FC236}">
                <a16:creationId xmlns:a16="http://schemas.microsoft.com/office/drawing/2014/main" id="{0F4F5DAE-E464-4F62-B350-87111A82A25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7100000">
            <a:off x="7916487" y="-7410221"/>
            <a:ext cx="2465296" cy="2465296"/>
          </a:xfrm>
          <a:prstGeom prst="rect">
            <a:avLst/>
          </a:prstGeom>
        </p:spPr>
      </p:pic>
      <p:sp>
        <p:nvSpPr>
          <p:cNvPr id="51" name="TextBox 50">
            <a:extLst>
              <a:ext uri="{FF2B5EF4-FFF2-40B4-BE49-F238E27FC236}">
                <a16:creationId xmlns:a16="http://schemas.microsoft.com/office/drawing/2014/main" id="{70DF611E-DC74-418B-B17F-81AD39CC02F1}"/>
              </a:ext>
            </a:extLst>
          </p:cNvPr>
          <p:cNvSpPr txBox="1"/>
          <p:nvPr/>
        </p:nvSpPr>
        <p:spPr>
          <a:xfrm>
            <a:off x="4275514" y="-7408646"/>
            <a:ext cx="3024021"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Lately I really like to do this glass look. Matching modern UI look..</a:t>
            </a:r>
          </a:p>
        </p:txBody>
      </p:sp>
      <p:sp>
        <p:nvSpPr>
          <p:cNvPr id="54" name="TextBox 53">
            <a:extLst>
              <a:ext uri="{FF2B5EF4-FFF2-40B4-BE49-F238E27FC236}">
                <a16:creationId xmlns:a16="http://schemas.microsoft.com/office/drawing/2014/main" id="{29B54383-2597-40B9-B80A-9986488CEA4A}"/>
              </a:ext>
            </a:extLst>
          </p:cNvPr>
          <p:cNvSpPr txBox="1"/>
          <p:nvPr/>
        </p:nvSpPr>
        <p:spPr>
          <a:xfrm rot="5400000">
            <a:off x="-394831" y="2307600"/>
            <a:ext cx="205617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800" b="1" i="0" u="none" strike="noStrike" kern="1200" cap="none" spc="0" normalizeH="0" baseline="0" noProof="0" dirty="0">
                <a:ln>
                  <a:noFill/>
                </a:ln>
                <a:solidFill>
                  <a:srgbClr val="A776D9"/>
                </a:solidFill>
                <a:effectLst/>
                <a:uLnTx/>
                <a:uFillTx/>
                <a:latin typeface="Century Gothic" panose="020B0502020202020204" pitchFamily="34" charset="0"/>
                <a:ea typeface="+mn-ea"/>
                <a:cs typeface="+mn-cs"/>
              </a:rPr>
              <a:t>Relax. </a:t>
            </a:r>
          </a:p>
        </p:txBody>
      </p:sp>
      <p:sp>
        <p:nvSpPr>
          <p:cNvPr id="59" name="TextBox 58">
            <a:extLst>
              <a:ext uri="{FF2B5EF4-FFF2-40B4-BE49-F238E27FC236}">
                <a16:creationId xmlns:a16="http://schemas.microsoft.com/office/drawing/2014/main" id="{4D2A0DD2-DB95-49AB-A250-70AF9BA15D04}"/>
              </a:ext>
            </a:extLst>
          </p:cNvPr>
          <p:cNvSpPr txBox="1"/>
          <p:nvPr/>
        </p:nvSpPr>
        <p:spPr>
          <a:xfrm>
            <a:off x="4236215" y="-13173867"/>
            <a:ext cx="3527584"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R</a:t>
            </a:r>
            <a:r>
              <a:rPr kumimoji="0" lang="en-MY" sz="6000" b="1" i="0" u="none" strike="noStrike" kern="1200" cap="none" spc="0" normalizeH="0" baseline="0" noProof="0" dirty="0" err="1">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ecords</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TextBox 64">
            <a:extLst>
              <a:ext uri="{FF2B5EF4-FFF2-40B4-BE49-F238E27FC236}">
                <a16:creationId xmlns:a16="http://schemas.microsoft.com/office/drawing/2014/main" id="{1E583B80-6FD4-4009-A8F6-2A7A9C0687E9}"/>
              </a:ext>
            </a:extLst>
          </p:cNvPr>
          <p:cNvSpPr txBox="1"/>
          <p:nvPr/>
        </p:nvSpPr>
        <p:spPr>
          <a:xfrm>
            <a:off x="4275515" y="-10462313"/>
            <a:ext cx="4497809"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more easily </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Rectangle: Rounded Corners 52">
            <a:extLst>
              <a:ext uri="{FF2B5EF4-FFF2-40B4-BE49-F238E27FC236}">
                <a16:creationId xmlns:a16="http://schemas.microsoft.com/office/drawing/2014/main" id="{FFB135C8-D5F0-49A8-A0F9-48F7E92A346F}"/>
              </a:ext>
            </a:extLst>
          </p:cNvPr>
          <p:cNvSpPr/>
          <p:nvPr/>
        </p:nvSpPr>
        <p:spPr>
          <a:xfrm>
            <a:off x="8107260" y="-20615547"/>
            <a:ext cx="678657" cy="73695"/>
          </a:xfrm>
          <a:prstGeom prst="roundRect">
            <a:avLst>
              <a:gd name="adj" fmla="val 50000"/>
            </a:avLst>
          </a:prstGeom>
          <a:solidFill>
            <a:srgbClr val="A776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6" name="oppo">
            <a:extLst>
              <a:ext uri="{FF2B5EF4-FFF2-40B4-BE49-F238E27FC236}">
                <a16:creationId xmlns:a16="http://schemas.microsoft.com/office/drawing/2014/main" id="{B346AF4A-3381-4BD7-9BDB-7032FEB6E9EA}"/>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65664" t="6551" r="14868" b="6987"/>
          <a:stretch/>
        </p:blipFill>
        <p:spPr>
          <a:xfrm>
            <a:off x="7993273" y="377318"/>
            <a:ext cx="2435336" cy="6082834"/>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pic>
        <p:nvPicPr>
          <p:cNvPr id="45" name="samsung">
            <a:extLst>
              <a:ext uri="{FF2B5EF4-FFF2-40B4-BE49-F238E27FC236}">
                <a16:creationId xmlns:a16="http://schemas.microsoft.com/office/drawing/2014/main" id="{B361528D-29D6-42DE-BA45-22F10A33F8B0}"/>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42898" t="5498" r="37057" b="5802"/>
          <a:stretch/>
        </p:blipFill>
        <p:spPr>
          <a:xfrm>
            <a:off x="5229792" y="377317"/>
            <a:ext cx="2444400" cy="6082835"/>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pic>
        <p:nvPicPr>
          <p:cNvPr id="71" name="Picture 70">
            <a:extLst>
              <a:ext uri="{FF2B5EF4-FFF2-40B4-BE49-F238E27FC236}">
                <a16:creationId xmlns:a16="http://schemas.microsoft.com/office/drawing/2014/main" id="{75CF27DD-3E20-45B8-A828-9CE14A072F53}"/>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20120" t="5497" r="59828" b="5802"/>
          <a:stretch/>
        </p:blipFill>
        <p:spPr>
          <a:xfrm>
            <a:off x="2452241" y="377317"/>
            <a:ext cx="2445074" cy="6082836"/>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sp>
        <p:nvSpPr>
          <p:cNvPr id="67" name="TextBox 66">
            <a:extLst>
              <a:ext uri="{FF2B5EF4-FFF2-40B4-BE49-F238E27FC236}">
                <a16:creationId xmlns:a16="http://schemas.microsoft.com/office/drawing/2014/main" id="{6949D7E2-6FF0-4F2A-A0CC-32AF305940B8}"/>
              </a:ext>
            </a:extLst>
          </p:cNvPr>
          <p:cNvSpPr txBox="1"/>
          <p:nvPr/>
        </p:nvSpPr>
        <p:spPr>
          <a:xfrm>
            <a:off x="5257119" y="4377658"/>
            <a:ext cx="2184559"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MySQL</a:t>
            </a:r>
            <a:endParaRPr kumimoji="0" lang="en-MY"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TextBox 68">
            <a:extLst>
              <a:ext uri="{FF2B5EF4-FFF2-40B4-BE49-F238E27FC236}">
                <a16:creationId xmlns:a16="http://schemas.microsoft.com/office/drawing/2014/main" id="{CF847EF9-1789-4C48-99AE-3A58281E6F8C}"/>
              </a:ext>
            </a:extLst>
          </p:cNvPr>
          <p:cNvSpPr txBox="1"/>
          <p:nvPr/>
        </p:nvSpPr>
        <p:spPr>
          <a:xfrm>
            <a:off x="5288797" y="4910216"/>
            <a:ext cx="2244515"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Database Driver</a:t>
            </a:r>
            <a:endParaRPr kumimoji="0" lang="en-MY" sz="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TextBox 69">
            <a:extLst>
              <a:ext uri="{FF2B5EF4-FFF2-40B4-BE49-F238E27FC236}">
                <a16:creationId xmlns:a16="http://schemas.microsoft.com/office/drawing/2014/main" id="{9A079DBA-C4FC-43E7-B4DB-B9BF2C6715EE}"/>
              </a:ext>
            </a:extLst>
          </p:cNvPr>
          <p:cNvSpPr txBox="1"/>
          <p:nvPr/>
        </p:nvSpPr>
        <p:spPr>
          <a:xfrm>
            <a:off x="5264932" y="5228153"/>
            <a:ext cx="2294642"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MysSQL</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is a database driver for storing the data and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ru</a:t>
            </a:r>
            <a:r>
              <a:rPr lang="en-MY" sz="1100" dirty="0">
                <a:solidFill>
                  <a:prstClr val="black">
                    <a:lumMod val="50000"/>
                    <a:lumOff val="50000"/>
                  </a:prstClr>
                </a:solidFill>
                <a:latin typeface="Calibri Light" panose="020F0302020204030204"/>
              </a:rPr>
              <a:t>n on web-server.</a:t>
            </a:r>
            <a:endPar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endParaRPr>
          </a:p>
        </p:txBody>
      </p:sp>
      <p:sp>
        <p:nvSpPr>
          <p:cNvPr id="72" name="TextBox 71">
            <a:extLst>
              <a:ext uri="{FF2B5EF4-FFF2-40B4-BE49-F238E27FC236}">
                <a16:creationId xmlns:a16="http://schemas.microsoft.com/office/drawing/2014/main" id="{722DC1A7-94D5-4F66-B387-D765AFC82A68}"/>
              </a:ext>
            </a:extLst>
          </p:cNvPr>
          <p:cNvSpPr txBox="1"/>
          <p:nvPr/>
        </p:nvSpPr>
        <p:spPr>
          <a:xfrm>
            <a:off x="7988741" y="4474851"/>
            <a:ext cx="2444400"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MY" sz="3300" b="1" dirty="0" err="1">
                <a:solidFill>
                  <a:prstClr val="black">
                    <a:lumMod val="75000"/>
                    <a:lumOff val="25000"/>
                  </a:prstClr>
                </a:solidFill>
                <a:effectLst>
                  <a:outerShdw blurRad="50800" dist="38100" dir="5400000" algn="t" rotWithShape="0">
                    <a:prstClr val="black">
                      <a:alpha val="40000"/>
                    </a:prstClr>
                  </a:outerShdw>
                </a:effectLst>
                <a:latin typeface="Century Gothic" panose="020B0502020202020204" pitchFamily="34" charset="0"/>
              </a:rPr>
              <a:t>Tailwindcss</a:t>
            </a:r>
            <a:endParaRPr kumimoji="0" lang="en-MY" sz="3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TextBox 72">
            <a:extLst>
              <a:ext uri="{FF2B5EF4-FFF2-40B4-BE49-F238E27FC236}">
                <a16:creationId xmlns:a16="http://schemas.microsoft.com/office/drawing/2014/main" id="{B21CF52B-E9F7-45B2-A896-9E8A7852CA7B}"/>
              </a:ext>
            </a:extLst>
          </p:cNvPr>
          <p:cNvSpPr txBox="1"/>
          <p:nvPr/>
        </p:nvSpPr>
        <p:spPr>
          <a:xfrm>
            <a:off x="8041257" y="4925605"/>
            <a:ext cx="263447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CSS Utility</a:t>
            </a:r>
            <a:endParaRPr kumimoji="0" lang="en-MY"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TextBox 73">
            <a:extLst>
              <a:ext uri="{FF2B5EF4-FFF2-40B4-BE49-F238E27FC236}">
                <a16:creationId xmlns:a16="http://schemas.microsoft.com/office/drawing/2014/main" id="{349DD8A8-CE49-4389-9560-82F5328D35D9}"/>
              </a:ext>
            </a:extLst>
          </p:cNvPr>
          <p:cNvSpPr txBox="1"/>
          <p:nvPr/>
        </p:nvSpPr>
        <p:spPr>
          <a:xfrm>
            <a:off x="8063620" y="5229045"/>
            <a:ext cx="2294642"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Tailwindcss</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is a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css</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utility framework which has so many classes and attribute to make designing easy.</a:t>
            </a:r>
          </a:p>
        </p:txBody>
      </p:sp>
      <p:grpSp>
        <p:nvGrpSpPr>
          <p:cNvPr id="83" name="Group 82">
            <a:extLst>
              <a:ext uri="{FF2B5EF4-FFF2-40B4-BE49-F238E27FC236}">
                <a16:creationId xmlns:a16="http://schemas.microsoft.com/office/drawing/2014/main" id="{D4531BAF-8C94-4D9A-9C18-9C68761E7D75}"/>
              </a:ext>
            </a:extLst>
          </p:cNvPr>
          <p:cNvGrpSpPr/>
          <p:nvPr/>
        </p:nvGrpSpPr>
        <p:grpSpPr>
          <a:xfrm>
            <a:off x="5504255" y="5990204"/>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84" name="Rectangle: Rounded Corners 83">
              <a:extLst>
                <a:ext uri="{FF2B5EF4-FFF2-40B4-BE49-F238E27FC236}">
                  <a16:creationId xmlns:a16="http://schemas.microsoft.com/office/drawing/2014/main" id="{440C12BD-E605-43AF-8A3E-DED7A83F41F6}"/>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85" name="TextBox 84">
              <a:extLst>
                <a:ext uri="{FF2B5EF4-FFF2-40B4-BE49-F238E27FC236}">
                  <a16:creationId xmlns:a16="http://schemas.microsoft.com/office/drawing/2014/main" id="{308E08D7-0733-4FFF-AFF5-57A21B159451}"/>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86" name="Group 85">
            <a:extLst>
              <a:ext uri="{FF2B5EF4-FFF2-40B4-BE49-F238E27FC236}">
                <a16:creationId xmlns:a16="http://schemas.microsoft.com/office/drawing/2014/main" id="{1902AA37-DF08-4C67-8A1E-7261EA62742F}"/>
              </a:ext>
            </a:extLst>
          </p:cNvPr>
          <p:cNvGrpSpPr/>
          <p:nvPr/>
        </p:nvGrpSpPr>
        <p:grpSpPr>
          <a:xfrm>
            <a:off x="8263204" y="5990204"/>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87" name="Rectangle: Rounded Corners 86">
              <a:extLst>
                <a:ext uri="{FF2B5EF4-FFF2-40B4-BE49-F238E27FC236}">
                  <a16:creationId xmlns:a16="http://schemas.microsoft.com/office/drawing/2014/main" id="{A366AE2D-371B-4717-9F22-845F46BA1426}"/>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88" name="TextBox 87">
              <a:extLst>
                <a:ext uri="{FF2B5EF4-FFF2-40B4-BE49-F238E27FC236}">
                  <a16:creationId xmlns:a16="http://schemas.microsoft.com/office/drawing/2014/main" id="{5EC4DBBD-84FD-413F-BB9A-B226CC352BD5}"/>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50" name="TextBox 49">
            <a:extLst>
              <a:ext uri="{FF2B5EF4-FFF2-40B4-BE49-F238E27FC236}">
                <a16:creationId xmlns:a16="http://schemas.microsoft.com/office/drawing/2014/main" id="{4AE84F63-2E09-4BA3-8452-32B260CAF7FB}"/>
              </a:ext>
            </a:extLst>
          </p:cNvPr>
          <p:cNvSpPr txBox="1"/>
          <p:nvPr/>
        </p:nvSpPr>
        <p:spPr>
          <a:xfrm>
            <a:off x="2532617" y="4463940"/>
            <a:ext cx="2184559"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36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Laravel </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TextBox 51">
            <a:extLst>
              <a:ext uri="{FF2B5EF4-FFF2-40B4-BE49-F238E27FC236}">
                <a16:creationId xmlns:a16="http://schemas.microsoft.com/office/drawing/2014/main" id="{E5BDFD78-2F93-4419-9F7B-845A4431D4BB}"/>
              </a:ext>
            </a:extLst>
          </p:cNvPr>
          <p:cNvSpPr txBox="1"/>
          <p:nvPr/>
        </p:nvSpPr>
        <p:spPr>
          <a:xfrm>
            <a:off x="2548452" y="4915456"/>
            <a:ext cx="2240671"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PHP Framework</a:t>
            </a:r>
            <a:endParaRPr kumimoji="0" lang="en-MY" sz="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TextBox 65">
            <a:extLst>
              <a:ext uri="{FF2B5EF4-FFF2-40B4-BE49-F238E27FC236}">
                <a16:creationId xmlns:a16="http://schemas.microsoft.com/office/drawing/2014/main" id="{0576673A-6031-4FAF-9899-FD6B6CF3F52D}"/>
              </a:ext>
            </a:extLst>
          </p:cNvPr>
          <p:cNvSpPr txBox="1"/>
          <p:nvPr/>
        </p:nvSpPr>
        <p:spPr>
          <a:xfrm>
            <a:off x="2527458" y="5232864"/>
            <a:ext cx="2095058"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Laravel is a PHP based backend framework. It based on MVC.</a:t>
            </a:r>
          </a:p>
        </p:txBody>
      </p:sp>
      <p:grpSp>
        <p:nvGrpSpPr>
          <p:cNvPr id="80" name="Group 79">
            <a:extLst>
              <a:ext uri="{FF2B5EF4-FFF2-40B4-BE49-F238E27FC236}">
                <a16:creationId xmlns:a16="http://schemas.microsoft.com/office/drawing/2014/main" id="{DEE947F0-A076-48AA-BC32-D455DE7B36BA}"/>
              </a:ext>
            </a:extLst>
          </p:cNvPr>
          <p:cNvGrpSpPr/>
          <p:nvPr/>
        </p:nvGrpSpPr>
        <p:grpSpPr>
          <a:xfrm>
            <a:off x="2727041" y="5968775"/>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81" name="Rectangle: Rounded Corners 80">
              <a:extLst>
                <a:ext uri="{FF2B5EF4-FFF2-40B4-BE49-F238E27FC236}">
                  <a16:creationId xmlns:a16="http://schemas.microsoft.com/office/drawing/2014/main" id="{0274C5AA-9F89-4B8A-81E7-CD0CF52CDCB7}"/>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82" name="TextBox 81">
              <a:extLst>
                <a:ext uri="{FF2B5EF4-FFF2-40B4-BE49-F238E27FC236}">
                  <a16:creationId xmlns:a16="http://schemas.microsoft.com/office/drawing/2014/main" id="{593FA130-E895-471C-9534-7A2041ABB43B}"/>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93" name="Rectangle: Rounded Corners 92">
            <a:extLst>
              <a:ext uri="{FF2B5EF4-FFF2-40B4-BE49-F238E27FC236}">
                <a16:creationId xmlns:a16="http://schemas.microsoft.com/office/drawing/2014/main" id="{17F12720-6762-45C2-B94D-35A720133112}"/>
              </a:ext>
            </a:extLst>
          </p:cNvPr>
          <p:cNvSpPr/>
          <p:nvPr/>
        </p:nvSpPr>
        <p:spPr>
          <a:xfrm>
            <a:off x="8728681" y="465992"/>
            <a:ext cx="964520" cy="94179"/>
          </a:xfrm>
          <a:prstGeom prst="roundRect">
            <a:avLst>
              <a:gd name="adj" fmla="val 50000"/>
            </a:avLst>
          </a:prstGeom>
          <a:solidFill>
            <a:srgbClr val="B499EB"/>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Rectangle: Rounded Corners 93">
            <a:extLst>
              <a:ext uri="{FF2B5EF4-FFF2-40B4-BE49-F238E27FC236}">
                <a16:creationId xmlns:a16="http://schemas.microsoft.com/office/drawing/2014/main" id="{34630F59-9129-4383-B5FB-032087DCEC36}"/>
              </a:ext>
            </a:extLst>
          </p:cNvPr>
          <p:cNvSpPr/>
          <p:nvPr/>
        </p:nvSpPr>
        <p:spPr>
          <a:xfrm>
            <a:off x="5969732" y="468908"/>
            <a:ext cx="964520" cy="94179"/>
          </a:xfrm>
          <a:prstGeom prst="roundRect">
            <a:avLst>
              <a:gd name="adj" fmla="val 50000"/>
            </a:avLst>
          </a:prstGeom>
          <a:solidFill>
            <a:srgbClr val="CA9DF5"/>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Rectangle: Rounded Corners 94">
            <a:extLst>
              <a:ext uri="{FF2B5EF4-FFF2-40B4-BE49-F238E27FC236}">
                <a16:creationId xmlns:a16="http://schemas.microsoft.com/office/drawing/2014/main" id="{3ADBE372-F0C1-45A2-81D9-EB621E963F7B}"/>
              </a:ext>
            </a:extLst>
          </p:cNvPr>
          <p:cNvSpPr/>
          <p:nvPr/>
        </p:nvSpPr>
        <p:spPr>
          <a:xfrm>
            <a:off x="3192518" y="473616"/>
            <a:ext cx="964520" cy="94179"/>
          </a:xfrm>
          <a:prstGeom prst="roundRect">
            <a:avLst>
              <a:gd name="adj" fmla="val 50000"/>
            </a:avLst>
          </a:prstGeom>
          <a:solidFill>
            <a:srgbClr val="CA9DF5"/>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 name="Picture 28">
            <a:extLst>
              <a:ext uri="{FF2B5EF4-FFF2-40B4-BE49-F238E27FC236}">
                <a16:creationId xmlns:a16="http://schemas.microsoft.com/office/drawing/2014/main" id="{AF9F9A33-2BB3-4D07-92A8-53BD666EB60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924428">
            <a:off x="7990098" y="1434355"/>
            <a:ext cx="3310844" cy="2672115"/>
          </a:xfrm>
          <a:prstGeom prst="rect">
            <a:avLst/>
          </a:prstGeom>
        </p:spPr>
      </p:pic>
      <p:pic>
        <p:nvPicPr>
          <p:cNvPr id="27" name="Picture 26">
            <a:extLst>
              <a:ext uri="{FF2B5EF4-FFF2-40B4-BE49-F238E27FC236}">
                <a16:creationId xmlns:a16="http://schemas.microsoft.com/office/drawing/2014/main" id="{C346F3FA-722A-4C2B-A0BD-468AA10D0B0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8055278" y="1853460"/>
            <a:ext cx="2450839" cy="1497734"/>
          </a:xfrm>
          <a:prstGeom prst="rect">
            <a:avLst/>
          </a:prstGeom>
        </p:spPr>
      </p:pic>
      <p:pic>
        <p:nvPicPr>
          <p:cNvPr id="104" name="Picture 103">
            <a:extLst>
              <a:ext uri="{FF2B5EF4-FFF2-40B4-BE49-F238E27FC236}">
                <a16:creationId xmlns:a16="http://schemas.microsoft.com/office/drawing/2014/main" id="{670918A6-9276-4A05-9DA1-8F2D3F9B2727}"/>
              </a:ext>
            </a:extLst>
          </p:cNvPr>
          <p:cNvPicPr>
            <a:picLocks noChangeAspect="1"/>
          </p:cNvPicPr>
          <p:nvPr/>
        </p:nvPicPr>
        <p:blipFill>
          <a:blip r:embed="rId13"/>
          <a:stretch>
            <a:fillRect/>
          </a:stretch>
        </p:blipFill>
        <p:spPr>
          <a:xfrm rot="19733165" flipH="1">
            <a:off x="5387952" y="719948"/>
            <a:ext cx="832518" cy="832518"/>
          </a:xfrm>
          <a:prstGeom prst="rect">
            <a:avLst/>
          </a:prstGeom>
        </p:spPr>
      </p:pic>
      <p:sp>
        <p:nvSpPr>
          <p:cNvPr id="108" name="Freeform: Shape 107">
            <a:extLst>
              <a:ext uri="{FF2B5EF4-FFF2-40B4-BE49-F238E27FC236}">
                <a16:creationId xmlns:a16="http://schemas.microsoft.com/office/drawing/2014/main" id="{FE044538-E8D8-4CC0-B54E-B8952C2B12A3}"/>
              </a:ext>
            </a:extLst>
          </p:cNvPr>
          <p:cNvSpPr/>
          <p:nvPr/>
        </p:nvSpPr>
        <p:spPr>
          <a:xfrm rot="20700000">
            <a:off x="2007522" y="841391"/>
            <a:ext cx="2546439" cy="4398090"/>
          </a:xfrm>
          <a:custGeom>
            <a:avLst/>
            <a:gdLst>
              <a:gd name="connsiteX0" fmla="*/ 2298694 w 2462684"/>
              <a:gd name="connsiteY0" fmla="*/ 4048436 h 4051070"/>
              <a:gd name="connsiteX1" fmla="*/ 2251069 w 2462684"/>
              <a:gd name="connsiteY1" fmla="*/ 3248336 h 4051070"/>
              <a:gd name="connsiteX2" fmla="*/ 1231894 w 2462684"/>
              <a:gd name="connsiteY2" fmla="*/ 2876861 h 4051070"/>
              <a:gd name="connsiteX3" fmla="*/ 822319 w 2462684"/>
              <a:gd name="connsiteY3" fmla="*/ 1914836 h 4051070"/>
              <a:gd name="connsiteX4" fmla="*/ 136519 w 2462684"/>
              <a:gd name="connsiteY4" fmla="*/ 1057586 h 4051070"/>
              <a:gd name="connsiteX5" fmla="*/ 22219 w 2462684"/>
              <a:gd name="connsiteY5" fmla="*/ 419411 h 4051070"/>
              <a:gd name="connsiteX6" fmla="*/ 431794 w 2462684"/>
              <a:gd name="connsiteY6" fmla="*/ 9836 h 4051070"/>
              <a:gd name="connsiteX7" fmla="*/ 1212844 w 2462684"/>
              <a:gd name="connsiteY7" fmla="*/ 828986 h 4051070"/>
              <a:gd name="connsiteX8" fmla="*/ 1460494 w 2462684"/>
              <a:gd name="connsiteY8" fmla="*/ 1933886 h 4051070"/>
              <a:gd name="connsiteX9" fmla="*/ 1536694 w 2462684"/>
              <a:gd name="connsiteY9" fmla="*/ 2543486 h 4051070"/>
              <a:gd name="connsiteX10" fmla="*/ 2422519 w 2462684"/>
              <a:gd name="connsiteY10" fmla="*/ 2953061 h 4051070"/>
              <a:gd name="connsiteX11" fmla="*/ 2298694 w 2462684"/>
              <a:gd name="connsiteY11" fmla="*/ 4048436 h 405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62684" h="4051070">
                <a:moveTo>
                  <a:pt x="2298694" y="4048436"/>
                </a:moveTo>
                <a:cubicBezTo>
                  <a:pt x="2270119" y="4097649"/>
                  <a:pt x="2428869" y="3443598"/>
                  <a:pt x="2251069" y="3248336"/>
                </a:cubicBezTo>
                <a:cubicBezTo>
                  <a:pt x="2073269" y="3053074"/>
                  <a:pt x="1470019" y="3099111"/>
                  <a:pt x="1231894" y="2876861"/>
                </a:cubicBezTo>
                <a:cubicBezTo>
                  <a:pt x="993769" y="2654611"/>
                  <a:pt x="1004881" y="2218048"/>
                  <a:pt x="822319" y="1914836"/>
                </a:cubicBezTo>
                <a:cubicBezTo>
                  <a:pt x="639757" y="1611624"/>
                  <a:pt x="269869" y="1306823"/>
                  <a:pt x="136519" y="1057586"/>
                </a:cubicBezTo>
                <a:cubicBezTo>
                  <a:pt x="3169" y="808349"/>
                  <a:pt x="-26994" y="594036"/>
                  <a:pt x="22219" y="419411"/>
                </a:cubicBezTo>
                <a:cubicBezTo>
                  <a:pt x="71431" y="244786"/>
                  <a:pt x="233357" y="-58426"/>
                  <a:pt x="431794" y="9836"/>
                </a:cubicBezTo>
                <a:cubicBezTo>
                  <a:pt x="630231" y="78098"/>
                  <a:pt x="1041394" y="508311"/>
                  <a:pt x="1212844" y="828986"/>
                </a:cubicBezTo>
                <a:cubicBezTo>
                  <a:pt x="1384294" y="1149661"/>
                  <a:pt x="1406519" y="1648136"/>
                  <a:pt x="1460494" y="1933886"/>
                </a:cubicBezTo>
                <a:cubicBezTo>
                  <a:pt x="1514469" y="2219636"/>
                  <a:pt x="1376357" y="2373624"/>
                  <a:pt x="1536694" y="2543486"/>
                </a:cubicBezTo>
                <a:cubicBezTo>
                  <a:pt x="1697031" y="2713348"/>
                  <a:pt x="2292344" y="2703823"/>
                  <a:pt x="2422519" y="2953061"/>
                </a:cubicBezTo>
                <a:cubicBezTo>
                  <a:pt x="2552694" y="3202298"/>
                  <a:pt x="2327269" y="3999223"/>
                  <a:pt x="2298694" y="4048436"/>
                </a:cubicBezTo>
                <a:close/>
              </a:path>
            </a:pathLst>
          </a:custGeom>
          <a:gradFill flip="none" rotWithShape="1">
            <a:gsLst>
              <a:gs pos="0">
                <a:srgbClr val="F5736A"/>
              </a:gs>
              <a:gs pos="50000">
                <a:srgbClr val="FF9C5A"/>
              </a:gs>
              <a:gs pos="100000">
                <a:srgbClr val="FFCF38"/>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Freeform: Shape 109">
            <a:extLst>
              <a:ext uri="{FF2B5EF4-FFF2-40B4-BE49-F238E27FC236}">
                <a16:creationId xmlns:a16="http://schemas.microsoft.com/office/drawing/2014/main" id="{C4D704E5-9BEF-45F4-B0B8-8EE183968BE0}"/>
              </a:ext>
            </a:extLst>
          </p:cNvPr>
          <p:cNvSpPr/>
          <p:nvPr/>
        </p:nvSpPr>
        <p:spPr>
          <a:xfrm rot="225839">
            <a:off x="5558764" y="783867"/>
            <a:ext cx="1999863" cy="3675326"/>
          </a:xfrm>
          <a:custGeom>
            <a:avLst/>
            <a:gdLst>
              <a:gd name="connsiteX0" fmla="*/ 590747 w 1999863"/>
              <a:gd name="connsiteY0" fmla="*/ 3569683 h 3675326"/>
              <a:gd name="connsiteX1" fmla="*/ 197 w 1999863"/>
              <a:gd name="connsiteY1" fmla="*/ 2931508 h 3675326"/>
              <a:gd name="connsiteX2" fmla="*/ 524072 w 1999863"/>
              <a:gd name="connsiteY2" fmla="*/ 2007583 h 3675326"/>
              <a:gd name="connsiteX3" fmla="*/ 447872 w 1999863"/>
              <a:gd name="connsiteY3" fmla="*/ 1321783 h 3675326"/>
              <a:gd name="connsiteX4" fmla="*/ 1286072 w 1999863"/>
              <a:gd name="connsiteY4" fmla="*/ 7333 h 3675326"/>
              <a:gd name="connsiteX5" fmla="*/ 1924247 w 1999863"/>
              <a:gd name="connsiteY5" fmla="*/ 893158 h 3675326"/>
              <a:gd name="connsiteX6" fmla="*/ 1943297 w 1999863"/>
              <a:gd name="connsiteY6" fmla="*/ 2979133 h 3675326"/>
              <a:gd name="connsiteX7" fmla="*/ 1524197 w 1999863"/>
              <a:gd name="connsiteY7" fmla="*/ 3617308 h 3675326"/>
              <a:gd name="connsiteX8" fmla="*/ 590747 w 1999863"/>
              <a:gd name="connsiteY8" fmla="*/ 3569683 h 3675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9863" h="3675326">
                <a:moveTo>
                  <a:pt x="590747" y="3569683"/>
                </a:moveTo>
                <a:cubicBezTo>
                  <a:pt x="336747" y="3455383"/>
                  <a:pt x="11309" y="3191858"/>
                  <a:pt x="197" y="2931508"/>
                </a:cubicBezTo>
                <a:cubicBezTo>
                  <a:pt x="-10915" y="2671158"/>
                  <a:pt x="449459" y="2275871"/>
                  <a:pt x="524072" y="2007583"/>
                </a:cubicBezTo>
                <a:cubicBezTo>
                  <a:pt x="598685" y="1739295"/>
                  <a:pt x="320872" y="1655158"/>
                  <a:pt x="447872" y="1321783"/>
                </a:cubicBezTo>
                <a:cubicBezTo>
                  <a:pt x="574872" y="988408"/>
                  <a:pt x="1040010" y="78770"/>
                  <a:pt x="1286072" y="7333"/>
                </a:cubicBezTo>
                <a:cubicBezTo>
                  <a:pt x="1532135" y="-64105"/>
                  <a:pt x="1814710" y="397858"/>
                  <a:pt x="1924247" y="893158"/>
                </a:cubicBezTo>
                <a:cubicBezTo>
                  <a:pt x="2033784" y="1388458"/>
                  <a:pt x="2009972" y="2525108"/>
                  <a:pt x="1943297" y="2979133"/>
                </a:cubicBezTo>
                <a:cubicBezTo>
                  <a:pt x="1876622" y="3433158"/>
                  <a:pt x="1752797" y="3520470"/>
                  <a:pt x="1524197" y="3617308"/>
                </a:cubicBezTo>
                <a:cubicBezTo>
                  <a:pt x="1295597" y="3714146"/>
                  <a:pt x="844747" y="3683983"/>
                  <a:pt x="590747" y="3569683"/>
                </a:cubicBezTo>
                <a:close/>
              </a:path>
            </a:pathLst>
          </a:custGeom>
          <a:gradFill flip="none" rotWithShape="1">
            <a:gsLst>
              <a:gs pos="0">
                <a:srgbClr val="C8A7F1"/>
              </a:gs>
              <a:gs pos="35000">
                <a:srgbClr val="C7ACF1"/>
              </a:gs>
              <a:gs pos="100000">
                <a:srgbClr val="D99FC6"/>
              </a:gs>
            </a:gsLst>
            <a:path path="circle">
              <a:fillToRect l="50000" t="-80000" r="50000" b="18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6" name="Picture 35">
            <a:extLst>
              <a:ext uri="{FF2B5EF4-FFF2-40B4-BE49-F238E27FC236}">
                <a16:creationId xmlns:a16="http://schemas.microsoft.com/office/drawing/2014/main" id="{E48A735C-6406-43F1-A57C-64F3141639C4}"/>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rot="1427628">
            <a:off x="5735324" y="1490395"/>
            <a:ext cx="1823403" cy="1823403"/>
          </a:xfrm>
          <a:prstGeom prst="rect">
            <a:avLst/>
          </a:prstGeom>
          <a:effectLst>
            <a:outerShdw blurRad="50800" dist="38100" dir="8100000" algn="tr" rotWithShape="0">
              <a:prstClr val="black">
                <a:alpha val="40000"/>
              </a:prstClr>
            </a:outerShdw>
          </a:effectLst>
        </p:spPr>
      </p:pic>
      <p:pic>
        <p:nvPicPr>
          <p:cNvPr id="33" name="Picture 32">
            <a:extLst>
              <a:ext uri="{FF2B5EF4-FFF2-40B4-BE49-F238E27FC236}">
                <a16:creationId xmlns:a16="http://schemas.microsoft.com/office/drawing/2014/main" id="{3E17733C-4F88-4C3B-A4EC-91D09014AAD4}"/>
              </a:ext>
            </a:extLst>
          </p:cNvPr>
          <p:cNvPicPr>
            <a:picLocks noChangeAspect="1"/>
          </p:cNvPicPr>
          <p:nvPr/>
        </p:nvPicPr>
        <p:blipFill>
          <a:blip r:embed="rId13"/>
          <a:stretch>
            <a:fillRect/>
          </a:stretch>
        </p:blipFill>
        <p:spPr>
          <a:xfrm rot="1044862">
            <a:off x="6420984" y="3393700"/>
            <a:ext cx="1245442" cy="1245442"/>
          </a:xfrm>
          <a:prstGeom prst="rect">
            <a:avLst/>
          </a:prstGeom>
        </p:spPr>
      </p:pic>
      <p:sp>
        <p:nvSpPr>
          <p:cNvPr id="112" name="Rectangle: Rounded Corners 111">
            <a:extLst>
              <a:ext uri="{FF2B5EF4-FFF2-40B4-BE49-F238E27FC236}">
                <a16:creationId xmlns:a16="http://schemas.microsoft.com/office/drawing/2014/main" id="{E23BAAC4-8054-4F35-9F15-A815F1A05132}"/>
              </a:ext>
            </a:extLst>
          </p:cNvPr>
          <p:cNvSpPr/>
          <p:nvPr/>
        </p:nvSpPr>
        <p:spPr>
          <a:xfrm>
            <a:off x="359404" y="4350975"/>
            <a:ext cx="471367" cy="449125"/>
          </a:xfrm>
          <a:prstGeom prst="roundRect">
            <a:avLst>
              <a:gd name="adj" fmla="val 50000"/>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Rectangle: Rounded Corners 112">
            <a:extLst>
              <a:ext uri="{FF2B5EF4-FFF2-40B4-BE49-F238E27FC236}">
                <a16:creationId xmlns:a16="http://schemas.microsoft.com/office/drawing/2014/main" id="{089C133F-FC53-4196-A648-EBC70B672CC1}"/>
              </a:ext>
            </a:extLst>
          </p:cNvPr>
          <p:cNvSpPr/>
          <p:nvPr/>
        </p:nvSpPr>
        <p:spPr>
          <a:xfrm>
            <a:off x="359404" y="5016004"/>
            <a:ext cx="471367" cy="449125"/>
          </a:xfrm>
          <a:prstGeom prst="roundRect">
            <a:avLst>
              <a:gd name="adj" fmla="val 50000"/>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Rectangle: Rounded Corners 113">
            <a:extLst>
              <a:ext uri="{FF2B5EF4-FFF2-40B4-BE49-F238E27FC236}">
                <a16:creationId xmlns:a16="http://schemas.microsoft.com/office/drawing/2014/main" id="{DCC282A2-C224-4775-A850-BED7A03FBAF5}"/>
              </a:ext>
            </a:extLst>
          </p:cNvPr>
          <p:cNvSpPr/>
          <p:nvPr/>
        </p:nvSpPr>
        <p:spPr>
          <a:xfrm>
            <a:off x="355523" y="5659932"/>
            <a:ext cx="471367" cy="797983"/>
          </a:xfrm>
          <a:prstGeom prst="roundRect">
            <a:avLst>
              <a:gd name="adj" fmla="val 34094"/>
            </a:avLst>
          </a:prstGeom>
          <a:solidFill>
            <a:srgbClr val="A776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5" name="Graphic 114" descr="Home with solid fill">
            <a:extLst>
              <a:ext uri="{FF2B5EF4-FFF2-40B4-BE49-F238E27FC236}">
                <a16:creationId xmlns:a16="http://schemas.microsoft.com/office/drawing/2014/main" id="{75BE31BD-D8B3-479E-8E39-A104CDA6FE0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30962" y="6053701"/>
            <a:ext cx="320489" cy="320489"/>
          </a:xfrm>
          <a:prstGeom prst="rect">
            <a:avLst/>
          </a:prstGeom>
        </p:spPr>
      </p:pic>
      <p:pic>
        <p:nvPicPr>
          <p:cNvPr id="116" name="Graphic 115" descr="Caret Up with solid fill">
            <a:extLst>
              <a:ext uri="{FF2B5EF4-FFF2-40B4-BE49-F238E27FC236}">
                <a16:creationId xmlns:a16="http://schemas.microsoft.com/office/drawing/2014/main" id="{70BAFC51-902A-4E7D-B2C3-2CB0B32889D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98917" y="4371480"/>
            <a:ext cx="392341" cy="392341"/>
          </a:xfrm>
          <a:prstGeom prst="rect">
            <a:avLst/>
          </a:prstGeom>
        </p:spPr>
      </p:pic>
      <p:pic>
        <p:nvPicPr>
          <p:cNvPr id="117" name="Graphic 116" descr="Caret Up with solid fill">
            <a:extLst>
              <a:ext uri="{FF2B5EF4-FFF2-40B4-BE49-F238E27FC236}">
                <a16:creationId xmlns:a16="http://schemas.microsoft.com/office/drawing/2014/main" id="{D08D556C-ABC4-4606-B93C-2D6E2ECA01A2}"/>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flipV="1">
            <a:off x="398917" y="5055300"/>
            <a:ext cx="392341" cy="392341"/>
          </a:xfrm>
          <a:prstGeom prst="rect">
            <a:avLst/>
          </a:prstGeom>
        </p:spPr>
      </p:pic>
      <p:pic>
        <p:nvPicPr>
          <p:cNvPr id="78" name="Picture 77">
            <a:extLst>
              <a:ext uri="{FF2B5EF4-FFF2-40B4-BE49-F238E27FC236}">
                <a16:creationId xmlns:a16="http://schemas.microsoft.com/office/drawing/2014/main" id="{E1F13F60-5EA2-4167-80BE-C378C44D76F7}"/>
              </a:ext>
            </a:extLst>
          </p:cNvPr>
          <p:cNvPicPr>
            <a:picLocks noChangeAspect="1"/>
          </p:cNvPicPr>
          <p:nvPr/>
        </p:nvPicPr>
        <p:blipFill>
          <a:blip r:embed="rId19">
            <a:extLst>
              <a:ext uri="{28A0092B-C50C-407E-A947-70E740481C1C}">
                <a14:useLocalDpi xmlns:a14="http://schemas.microsoft.com/office/drawing/2010/main" val="0"/>
              </a:ext>
            </a:extLst>
          </a:blip>
          <a:srcRect/>
          <a:stretch/>
        </p:blipFill>
        <p:spPr>
          <a:xfrm rot="20700000">
            <a:off x="2641407" y="1430369"/>
            <a:ext cx="2099885" cy="2091074"/>
          </a:xfrm>
          <a:prstGeom prst="rect">
            <a:avLst/>
          </a:prstGeom>
        </p:spPr>
      </p:pic>
    </p:spTree>
    <p:extLst>
      <p:ext uri="{BB962C8B-B14F-4D97-AF65-F5344CB8AC3E}">
        <p14:creationId xmlns:p14="http://schemas.microsoft.com/office/powerpoint/2010/main" val="8336630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E8B9359-5B8D-42D8-8D71-381018F24C77}"/>
              </a:ext>
            </a:extLst>
          </p:cNvPr>
          <p:cNvPicPr>
            <a:picLocks noChangeAspect="1"/>
          </p:cNvPicPr>
          <p:nvPr/>
        </p:nvPicPr>
        <p:blipFill rotWithShape="1">
          <a:blip r:embed="rId2"/>
          <a:srcRect l="4818" t="13929" r="11068" b="15870"/>
          <a:stretch/>
        </p:blipFill>
        <p:spPr>
          <a:xfrm>
            <a:off x="0" y="1"/>
            <a:ext cx="12192000" cy="6857999"/>
          </a:xfrm>
          <a:prstGeom prst="rect">
            <a:avLst/>
          </a:prstGeom>
        </p:spPr>
      </p:pic>
      <p:pic>
        <p:nvPicPr>
          <p:cNvPr id="5" name="Picture 4">
            <a:extLst>
              <a:ext uri="{FF2B5EF4-FFF2-40B4-BE49-F238E27FC236}">
                <a16:creationId xmlns:a16="http://schemas.microsoft.com/office/drawing/2014/main" id="{59EC0469-F0EB-4FA6-A663-0F1171475995}"/>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1110" t="1548" r="91086" b="2540"/>
          <a:stretch/>
        </p:blipFill>
        <p:spPr>
          <a:xfrm>
            <a:off x="135166" y="106342"/>
            <a:ext cx="951535" cy="6577488"/>
          </a:xfrm>
          <a:prstGeom prst="roundRect">
            <a:avLst>
              <a:gd name="adj" fmla="val 33164"/>
            </a:avLst>
          </a:prstGeom>
          <a:noFill/>
          <a:ln>
            <a:noFill/>
          </a:ln>
          <a:effectLst>
            <a:outerShdw blurRad="635000" dist="215900" dir="7200000" algn="ctr" rotWithShape="0">
              <a:schemeClr val="tx1">
                <a:lumMod val="50000"/>
                <a:lumOff val="50000"/>
                <a:alpha val="43000"/>
              </a:schemeClr>
            </a:outerShdw>
          </a:effectLst>
        </p:spPr>
      </p:pic>
      <p:pic>
        <p:nvPicPr>
          <p:cNvPr id="37" name="Picture 36">
            <a:extLst>
              <a:ext uri="{FF2B5EF4-FFF2-40B4-BE49-F238E27FC236}">
                <a16:creationId xmlns:a16="http://schemas.microsoft.com/office/drawing/2014/main" id="{F4D43D9A-CA01-4EA3-9C34-9479F0A7004D}"/>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33493" t="-136676" r="-3966" b="113843"/>
          <a:stretch/>
        </p:blipFill>
        <p:spPr>
          <a:xfrm>
            <a:off x="4083528" y="-9372600"/>
            <a:ext cx="8592335" cy="8423605"/>
          </a:xfrm>
          <a:prstGeom prst="roundRect">
            <a:avLst>
              <a:gd name="adj" fmla="val 4648"/>
            </a:avLst>
          </a:prstGeom>
          <a:noFill/>
          <a:ln>
            <a:noFill/>
          </a:ln>
          <a:effectLst>
            <a:outerShdw blurRad="635000" dist="215900" dir="7200000" algn="ctr" rotWithShape="0">
              <a:schemeClr val="tx1">
                <a:lumMod val="50000"/>
                <a:lumOff val="50000"/>
                <a:alpha val="43000"/>
              </a:schemeClr>
            </a:outerShdw>
          </a:effectLst>
        </p:spPr>
      </p:pic>
      <p:sp>
        <p:nvSpPr>
          <p:cNvPr id="54" name="TextBox 53">
            <a:extLst>
              <a:ext uri="{FF2B5EF4-FFF2-40B4-BE49-F238E27FC236}">
                <a16:creationId xmlns:a16="http://schemas.microsoft.com/office/drawing/2014/main" id="{29B54383-2597-40B9-B80A-9986488CEA4A}"/>
              </a:ext>
            </a:extLst>
          </p:cNvPr>
          <p:cNvSpPr txBox="1"/>
          <p:nvPr/>
        </p:nvSpPr>
        <p:spPr>
          <a:xfrm rot="5400000">
            <a:off x="-394831" y="1947097"/>
            <a:ext cx="205617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800" b="1" i="0" u="none" strike="noStrike" kern="1200" cap="none" spc="0" normalizeH="0" baseline="0" noProof="0" dirty="0">
                <a:ln>
                  <a:noFill/>
                </a:ln>
                <a:solidFill>
                  <a:srgbClr val="A776D9"/>
                </a:solidFill>
                <a:effectLst/>
                <a:uLnTx/>
                <a:uFillTx/>
                <a:latin typeface="Century Gothic" panose="020B0502020202020204" pitchFamily="34" charset="0"/>
                <a:ea typeface="+mn-ea"/>
                <a:cs typeface="+mn-cs"/>
              </a:rPr>
              <a:t>Relax. </a:t>
            </a:r>
          </a:p>
        </p:txBody>
      </p:sp>
      <p:pic>
        <p:nvPicPr>
          <p:cNvPr id="46" name="oppo">
            <a:extLst>
              <a:ext uri="{FF2B5EF4-FFF2-40B4-BE49-F238E27FC236}">
                <a16:creationId xmlns:a16="http://schemas.microsoft.com/office/drawing/2014/main" id="{B346AF4A-3381-4BD7-9BDB-7032FEB6E9EA}"/>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164820" t="6551" r="-87820" b="6987"/>
          <a:stretch/>
        </p:blipFill>
        <p:spPr>
          <a:xfrm>
            <a:off x="20397083" y="377318"/>
            <a:ext cx="2877294" cy="6082834"/>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pic>
        <p:nvPicPr>
          <p:cNvPr id="45" name="samsung">
            <a:extLst>
              <a:ext uri="{FF2B5EF4-FFF2-40B4-BE49-F238E27FC236}">
                <a16:creationId xmlns:a16="http://schemas.microsoft.com/office/drawing/2014/main" id="{B361528D-29D6-42DE-BA45-22F10A33F8B0}"/>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121712" t="5498" r="-44048" b="5802"/>
          <a:stretch/>
        </p:blipFill>
        <p:spPr>
          <a:xfrm>
            <a:off x="14840428" y="377317"/>
            <a:ext cx="2723672" cy="6082835"/>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pic>
        <p:nvPicPr>
          <p:cNvPr id="71" name="Picture 70">
            <a:extLst>
              <a:ext uri="{FF2B5EF4-FFF2-40B4-BE49-F238E27FC236}">
                <a16:creationId xmlns:a16="http://schemas.microsoft.com/office/drawing/2014/main" id="{75CF27DD-3E20-45B8-A828-9CE14A072F53}"/>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14954" t="5497" r="52300" b="5802"/>
          <a:stretch/>
        </p:blipFill>
        <p:spPr>
          <a:xfrm>
            <a:off x="1822272" y="377317"/>
            <a:ext cx="3993031" cy="6082836"/>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sp>
        <p:nvSpPr>
          <p:cNvPr id="67" name="TextBox 66">
            <a:extLst>
              <a:ext uri="{FF2B5EF4-FFF2-40B4-BE49-F238E27FC236}">
                <a16:creationId xmlns:a16="http://schemas.microsoft.com/office/drawing/2014/main" id="{6949D7E2-6FF0-4F2A-A0CC-32AF305940B8}"/>
              </a:ext>
            </a:extLst>
          </p:cNvPr>
          <p:cNvSpPr txBox="1"/>
          <p:nvPr/>
        </p:nvSpPr>
        <p:spPr>
          <a:xfrm>
            <a:off x="13276748" y="4377658"/>
            <a:ext cx="2184559"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MySQL</a:t>
            </a:r>
            <a:endParaRPr kumimoji="0" lang="en-MY"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TextBox 68">
            <a:extLst>
              <a:ext uri="{FF2B5EF4-FFF2-40B4-BE49-F238E27FC236}">
                <a16:creationId xmlns:a16="http://schemas.microsoft.com/office/drawing/2014/main" id="{CF847EF9-1789-4C48-99AE-3A58281E6F8C}"/>
              </a:ext>
            </a:extLst>
          </p:cNvPr>
          <p:cNvSpPr txBox="1"/>
          <p:nvPr/>
        </p:nvSpPr>
        <p:spPr>
          <a:xfrm>
            <a:off x="13308426" y="4910216"/>
            <a:ext cx="2152881"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Some money</a:t>
            </a:r>
            <a:endParaRPr kumimoji="0" lang="en-MY" sz="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TextBox 69">
            <a:extLst>
              <a:ext uri="{FF2B5EF4-FFF2-40B4-BE49-F238E27FC236}">
                <a16:creationId xmlns:a16="http://schemas.microsoft.com/office/drawing/2014/main" id="{9A079DBA-C4FC-43E7-B4DB-B9BF2C6715EE}"/>
              </a:ext>
            </a:extLst>
          </p:cNvPr>
          <p:cNvSpPr txBox="1"/>
          <p:nvPr/>
        </p:nvSpPr>
        <p:spPr>
          <a:xfrm>
            <a:off x="13284561" y="5228153"/>
            <a:ext cx="2294642"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Lalisa</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in the house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yooooo</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Drop some money, dropping some money yeah…</a:t>
            </a:r>
          </a:p>
        </p:txBody>
      </p:sp>
      <p:sp>
        <p:nvSpPr>
          <p:cNvPr id="72" name="TextBox 71">
            <a:extLst>
              <a:ext uri="{FF2B5EF4-FFF2-40B4-BE49-F238E27FC236}">
                <a16:creationId xmlns:a16="http://schemas.microsoft.com/office/drawing/2014/main" id="{722DC1A7-94D5-4F66-B387-D765AFC82A68}"/>
              </a:ext>
            </a:extLst>
          </p:cNvPr>
          <p:cNvSpPr txBox="1"/>
          <p:nvPr/>
        </p:nvSpPr>
        <p:spPr>
          <a:xfrm>
            <a:off x="23604240" y="4474851"/>
            <a:ext cx="2444400" cy="1754326"/>
          </a:xfrm>
          <a:prstGeom prst="rect">
            <a:avLst/>
          </a:prstGeom>
          <a:noFill/>
        </p:spPr>
        <p:txBody>
          <a:bodyPr wrap="square">
            <a:spAutoFit/>
          </a:bodyPr>
          <a:lstStyle/>
          <a:p>
            <a:r>
              <a:rPr lang="en-MY" sz="3600" b="1" dirty="0" err="1">
                <a:solidFill>
                  <a:prstClr val="black">
                    <a:lumMod val="75000"/>
                    <a:lumOff val="25000"/>
                  </a:prstClr>
                </a:solidFill>
                <a:effectLst>
                  <a:outerShdw blurRad="50800" dist="38100" dir="5400000" algn="t" rotWithShape="0">
                    <a:prstClr val="black">
                      <a:alpha val="40000"/>
                    </a:prstClr>
                  </a:outerShdw>
                </a:effectLst>
                <a:latin typeface="Century Gothic" panose="020B0502020202020204" pitchFamily="34" charset="0"/>
              </a:rPr>
              <a:t>Tailwindcss</a:t>
            </a:r>
            <a:endParaRPr kumimoji="0" lang="en-MY" sz="3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36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 On</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TextBox 72">
            <a:extLst>
              <a:ext uri="{FF2B5EF4-FFF2-40B4-BE49-F238E27FC236}">
                <a16:creationId xmlns:a16="http://schemas.microsoft.com/office/drawing/2014/main" id="{B21CF52B-E9F7-45B2-A896-9E8A7852CA7B}"/>
              </a:ext>
            </a:extLst>
          </p:cNvPr>
          <p:cNvSpPr txBox="1"/>
          <p:nvPr/>
        </p:nvSpPr>
        <p:spPr>
          <a:xfrm>
            <a:off x="23656756" y="4925605"/>
            <a:ext cx="263447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Glassmorphism</a:t>
            </a:r>
            <a:endParaRPr kumimoji="0" lang="en-MY"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TextBox 73">
            <a:extLst>
              <a:ext uri="{FF2B5EF4-FFF2-40B4-BE49-F238E27FC236}">
                <a16:creationId xmlns:a16="http://schemas.microsoft.com/office/drawing/2014/main" id="{349DD8A8-CE49-4389-9560-82F5328D35D9}"/>
              </a:ext>
            </a:extLst>
          </p:cNvPr>
          <p:cNvSpPr txBox="1"/>
          <p:nvPr/>
        </p:nvSpPr>
        <p:spPr>
          <a:xfrm>
            <a:off x="23679119" y="5229045"/>
            <a:ext cx="2294642"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Saya suka ikan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masin</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sekian</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terima</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kasih</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a:t>
            </a:r>
          </a:p>
        </p:txBody>
      </p:sp>
      <p:grpSp>
        <p:nvGrpSpPr>
          <p:cNvPr id="83" name="Group 82">
            <a:extLst>
              <a:ext uri="{FF2B5EF4-FFF2-40B4-BE49-F238E27FC236}">
                <a16:creationId xmlns:a16="http://schemas.microsoft.com/office/drawing/2014/main" id="{D4531BAF-8C94-4D9A-9C18-9C68761E7D75}"/>
              </a:ext>
            </a:extLst>
          </p:cNvPr>
          <p:cNvGrpSpPr/>
          <p:nvPr/>
        </p:nvGrpSpPr>
        <p:grpSpPr>
          <a:xfrm>
            <a:off x="13523884" y="5990204"/>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84" name="Rectangle: Rounded Corners 83">
              <a:extLst>
                <a:ext uri="{FF2B5EF4-FFF2-40B4-BE49-F238E27FC236}">
                  <a16:creationId xmlns:a16="http://schemas.microsoft.com/office/drawing/2014/main" id="{440C12BD-E605-43AF-8A3E-DED7A83F41F6}"/>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85" name="TextBox 84">
              <a:extLst>
                <a:ext uri="{FF2B5EF4-FFF2-40B4-BE49-F238E27FC236}">
                  <a16:creationId xmlns:a16="http://schemas.microsoft.com/office/drawing/2014/main" id="{308E08D7-0733-4FFF-AFF5-57A21B159451}"/>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86" name="Group 85">
            <a:extLst>
              <a:ext uri="{FF2B5EF4-FFF2-40B4-BE49-F238E27FC236}">
                <a16:creationId xmlns:a16="http://schemas.microsoft.com/office/drawing/2014/main" id="{1902AA37-DF08-4C67-8A1E-7261EA62742F}"/>
              </a:ext>
            </a:extLst>
          </p:cNvPr>
          <p:cNvGrpSpPr/>
          <p:nvPr/>
        </p:nvGrpSpPr>
        <p:grpSpPr>
          <a:xfrm>
            <a:off x="25343497" y="5990204"/>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87" name="Rectangle: Rounded Corners 86">
              <a:extLst>
                <a:ext uri="{FF2B5EF4-FFF2-40B4-BE49-F238E27FC236}">
                  <a16:creationId xmlns:a16="http://schemas.microsoft.com/office/drawing/2014/main" id="{A366AE2D-371B-4717-9F22-845F46BA1426}"/>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88" name="TextBox 87">
              <a:extLst>
                <a:ext uri="{FF2B5EF4-FFF2-40B4-BE49-F238E27FC236}">
                  <a16:creationId xmlns:a16="http://schemas.microsoft.com/office/drawing/2014/main" id="{5EC4DBBD-84FD-413F-BB9A-B226CC352BD5}"/>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50" name="TextBox 49">
            <a:extLst>
              <a:ext uri="{FF2B5EF4-FFF2-40B4-BE49-F238E27FC236}">
                <a16:creationId xmlns:a16="http://schemas.microsoft.com/office/drawing/2014/main" id="{4AE84F63-2E09-4BA3-8452-32B260CAF7FB}"/>
              </a:ext>
            </a:extLst>
          </p:cNvPr>
          <p:cNvSpPr txBox="1"/>
          <p:nvPr/>
        </p:nvSpPr>
        <p:spPr>
          <a:xfrm>
            <a:off x="1935638" y="4463940"/>
            <a:ext cx="2184559"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MySQL </a:t>
            </a:r>
            <a:endParaRPr kumimoji="0" lang="en-MY"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TextBox 51">
            <a:extLst>
              <a:ext uri="{FF2B5EF4-FFF2-40B4-BE49-F238E27FC236}">
                <a16:creationId xmlns:a16="http://schemas.microsoft.com/office/drawing/2014/main" id="{E5BDFD78-2F93-4419-9F7B-845A4431D4BB}"/>
              </a:ext>
            </a:extLst>
          </p:cNvPr>
          <p:cNvSpPr txBox="1"/>
          <p:nvPr/>
        </p:nvSpPr>
        <p:spPr>
          <a:xfrm>
            <a:off x="1979648" y="4977658"/>
            <a:ext cx="2240671"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Database Driver</a:t>
            </a:r>
            <a:endParaRPr kumimoji="0" lang="en-MY" sz="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TextBox 65">
            <a:extLst>
              <a:ext uri="{FF2B5EF4-FFF2-40B4-BE49-F238E27FC236}">
                <a16:creationId xmlns:a16="http://schemas.microsoft.com/office/drawing/2014/main" id="{0576673A-6031-4FAF-9899-FD6B6CF3F52D}"/>
              </a:ext>
            </a:extLst>
          </p:cNvPr>
          <p:cNvSpPr txBox="1"/>
          <p:nvPr/>
        </p:nvSpPr>
        <p:spPr>
          <a:xfrm>
            <a:off x="1969687" y="5287512"/>
            <a:ext cx="229464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MysSQL</a:t>
            </a:r>
            <a:r>
              <a:rPr kumimoji="0" lang="en-MY" sz="12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is a database driver for storing the data and </a:t>
            </a:r>
            <a:r>
              <a:rPr kumimoji="0" lang="en-MY" sz="12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ru</a:t>
            </a:r>
            <a:r>
              <a:rPr lang="en-MY" sz="1200" dirty="0">
                <a:solidFill>
                  <a:prstClr val="black">
                    <a:lumMod val="50000"/>
                    <a:lumOff val="50000"/>
                  </a:prstClr>
                </a:solidFill>
                <a:latin typeface="Calibri Light" panose="020F0302020204030204"/>
              </a:rPr>
              <a:t>n on web-server.</a:t>
            </a:r>
            <a:endParaRPr kumimoji="0" lang="en-MY" sz="12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endParaRPr>
          </a:p>
        </p:txBody>
      </p:sp>
      <p:grpSp>
        <p:nvGrpSpPr>
          <p:cNvPr id="80" name="Group 79">
            <a:extLst>
              <a:ext uri="{FF2B5EF4-FFF2-40B4-BE49-F238E27FC236}">
                <a16:creationId xmlns:a16="http://schemas.microsoft.com/office/drawing/2014/main" id="{DEE947F0-A076-48AA-BC32-D455DE7B36BA}"/>
              </a:ext>
            </a:extLst>
          </p:cNvPr>
          <p:cNvGrpSpPr/>
          <p:nvPr/>
        </p:nvGrpSpPr>
        <p:grpSpPr>
          <a:xfrm>
            <a:off x="2871050" y="5968775"/>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81" name="Rectangle: Rounded Corners 80">
              <a:extLst>
                <a:ext uri="{FF2B5EF4-FFF2-40B4-BE49-F238E27FC236}">
                  <a16:creationId xmlns:a16="http://schemas.microsoft.com/office/drawing/2014/main" id="{0274C5AA-9F89-4B8A-81E7-CD0CF52CDCB7}"/>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82" name="TextBox 81">
              <a:extLst>
                <a:ext uri="{FF2B5EF4-FFF2-40B4-BE49-F238E27FC236}">
                  <a16:creationId xmlns:a16="http://schemas.microsoft.com/office/drawing/2014/main" id="{593FA130-E895-471C-9534-7A2041ABB43B}"/>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93" name="Rectangle: Rounded Corners 92">
            <a:extLst>
              <a:ext uri="{FF2B5EF4-FFF2-40B4-BE49-F238E27FC236}">
                <a16:creationId xmlns:a16="http://schemas.microsoft.com/office/drawing/2014/main" id="{17F12720-6762-45C2-B94D-35A720133112}"/>
              </a:ext>
            </a:extLst>
          </p:cNvPr>
          <p:cNvSpPr/>
          <p:nvPr/>
        </p:nvSpPr>
        <p:spPr>
          <a:xfrm>
            <a:off x="21677525" y="465992"/>
            <a:ext cx="964520" cy="94179"/>
          </a:xfrm>
          <a:prstGeom prst="roundRect">
            <a:avLst>
              <a:gd name="adj" fmla="val 50000"/>
            </a:avLst>
          </a:prstGeom>
          <a:solidFill>
            <a:srgbClr val="B499EB"/>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Rectangle: Rounded Corners 93">
            <a:extLst>
              <a:ext uri="{FF2B5EF4-FFF2-40B4-BE49-F238E27FC236}">
                <a16:creationId xmlns:a16="http://schemas.microsoft.com/office/drawing/2014/main" id="{34630F59-9129-4383-B5FB-032087DCEC36}"/>
              </a:ext>
            </a:extLst>
          </p:cNvPr>
          <p:cNvSpPr/>
          <p:nvPr/>
        </p:nvSpPr>
        <p:spPr>
          <a:xfrm>
            <a:off x="13599677" y="468908"/>
            <a:ext cx="964520" cy="94179"/>
          </a:xfrm>
          <a:prstGeom prst="roundRect">
            <a:avLst>
              <a:gd name="adj" fmla="val 50000"/>
            </a:avLst>
          </a:prstGeom>
          <a:solidFill>
            <a:srgbClr val="CA9DF5"/>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Rectangle: Rounded Corners 94">
            <a:extLst>
              <a:ext uri="{FF2B5EF4-FFF2-40B4-BE49-F238E27FC236}">
                <a16:creationId xmlns:a16="http://schemas.microsoft.com/office/drawing/2014/main" id="{3ADBE372-F0C1-45A2-81D9-EB621E963F7B}"/>
              </a:ext>
            </a:extLst>
          </p:cNvPr>
          <p:cNvSpPr/>
          <p:nvPr/>
        </p:nvSpPr>
        <p:spPr>
          <a:xfrm>
            <a:off x="3336527" y="473616"/>
            <a:ext cx="964520" cy="94179"/>
          </a:xfrm>
          <a:prstGeom prst="roundRect">
            <a:avLst>
              <a:gd name="adj" fmla="val 50000"/>
            </a:avLst>
          </a:prstGeom>
          <a:solidFill>
            <a:srgbClr val="CA9DF5"/>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 name="Picture 28">
            <a:extLst>
              <a:ext uri="{FF2B5EF4-FFF2-40B4-BE49-F238E27FC236}">
                <a16:creationId xmlns:a16="http://schemas.microsoft.com/office/drawing/2014/main" id="{AF9F9A33-2BB3-4D07-92A8-53BD666EB60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924428">
            <a:off x="20339882" y="1434355"/>
            <a:ext cx="3310844" cy="2672115"/>
          </a:xfrm>
          <a:prstGeom prst="rect">
            <a:avLst/>
          </a:prstGeom>
        </p:spPr>
      </p:pic>
      <p:pic>
        <p:nvPicPr>
          <p:cNvPr id="104" name="Picture 103">
            <a:extLst>
              <a:ext uri="{FF2B5EF4-FFF2-40B4-BE49-F238E27FC236}">
                <a16:creationId xmlns:a16="http://schemas.microsoft.com/office/drawing/2014/main" id="{670918A6-9276-4A05-9DA1-8F2D3F9B2727}"/>
              </a:ext>
            </a:extLst>
          </p:cNvPr>
          <p:cNvPicPr>
            <a:picLocks noChangeAspect="1"/>
          </p:cNvPicPr>
          <p:nvPr/>
        </p:nvPicPr>
        <p:blipFill>
          <a:blip r:embed="rId6"/>
          <a:stretch>
            <a:fillRect/>
          </a:stretch>
        </p:blipFill>
        <p:spPr>
          <a:xfrm rot="19733165" flipH="1">
            <a:off x="12915870" y="719948"/>
            <a:ext cx="832518" cy="832518"/>
          </a:xfrm>
          <a:prstGeom prst="rect">
            <a:avLst/>
          </a:prstGeom>
        </p:spPr>
      </p:pic>
      <p:sp>
        <p:nvSpPr>
          <p:cNvPr id="108" name="Freeform: Shape 107">
            <a:extLst>
              <a:ext uri="{FF2B5EF4-FFF2-40B4-BE49-F238E27FC236}">
                <a16:creationId xmlns:a16="http://schemas.microsoft.com/office/drawing/2014/main" id="{FE044538-E8D8-4CC0-B54E-B8952C2B12A3}"/>
              </a:ext>
            </a:extLst>
          </p:cNvPr>
          <p:cNvSpPr/>
          <p:nvPr/>
        </p:nvSpPr>
        <p:spPr>
          <a:xfrm rot="20700000">
            <a:off x="2146200" y="735885"/>
            <a:ext cx="3209150" cy="5556959"/>
          </a:xfrm>
          <a:custGeom>
            <a:avLst/>
            <a:gdLst>
              <a:gd name="connsiteX0" fmla="*/ 2298694 w 2462684"/>
              <a:gd name="connsiteY0" fmla="*/ 4048436 h 4051070"/>
              <a:gd name="connsiteX1" fmla="*/ 2251069 w 2462684"/>
              <a:gd name="connsiteY1" fmla="*/ 3248336 h 4051070"/>
              <a:gd name="connsiteX2" fmla="*/ 1231894 w 2462684"/>
              <a:gd name="connsiteY2" fmla="*/ 2876861 h 4051070"/>
              <a:gd name="connsiteX3" fmla="*/ 822319 w 2462684"/>
              <a:gd name="connsiteY3" fmla="*/ 1914836 h 4051070"/>
              <a:gd name="connsiteX4" fmla="*/ 136519 w 2462684"/>
              <a:gd name="connsiteY4" fmla="*/ 1057586 h 4051070"/>
              <a:gd name="connsiteX5" fmla="*/ 22219 w 2462684"/>
              <a:gd name="connsiteY5" fmla="*/ 419411 h 4051070"/>
              <a:gd name="connsiteX6" fmla="*/ 431794 w 2462684"/>
              <a:gd name="connsiteY6" fmla="*/ 9836 h 4051070"/>
              <a:gd name="connsiteX7" fmla="*/ 1212844 w 2462684"/>
              <a:gd name="connsiteY7" fmla="*/ 828986 h 4051070"/>
              <a:gd name="connsiteX8" fmla="*/ 1460494 w 2462684"/>
              <a:gd name="connsiteY8" fmla="*/ 1933886 h 4051070"/>
              <a:gd name="connsiteX9" fmla="*/ 1536694 w 2462684"/>
              <a:gd name="connsiteY9" fmla="*/ 2543486 h 4051070"/>
              <a:gd name="connsiteX10" fmla="*/ 2422519 w 2462684"/>
              <a:gd name="connsiteY10" fmla="*/ 2953061 h 4051070"/>
              <a:gd name="connsiteX11" fmla="*/ 2298694 w 2462684"/>
              <a:gd name="connsiteY11" fmla="*/ 4048436 h 405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62684" h="4051070">
                <a:moveTo>
                  <a:pt x="2298694" y="4048436"/>
                </a:moveTo>
                <a:cubicBezTo>
                  <a:pt x="2270119" y="4097649"/>
                  <a:pt x="2428869" y="3443598"/>
                  <a:pt x="2251069" y="3248336"/>
                </a:cubicBezTo>
                <a:cubicBezTo>
                  <a:pt x="2073269" y="3053074"/>
                  <a:pt x="1470019" y="3099111"/>
                  <a:pt x="1231894" y="2876861"/>
                </a:cubicBezTo>
                <a:cubicBezTo>
                  <a:pt x="993769" y="2654611"/>
                  <a:pt x="1004881" y="2218048"/>
                  <a:pt x="822319" y="1914836"/>
                </a:cubicBezTo>
                <a:cubicBezTo>
                  <a:pt x="639757" y="1611624"/>
                  <a:pt x="269869" y="1306823"/>
                  <a:pt x="136519" y="1057586"/>
                </a:cubicBezTo>
                <a:cubicBezTo>
                  <a:pt x="3169" y="808349"/>
                  <a:pt x="-26994" y="594036"/>
                  <a:pt x="22219" y="419411"/>
                </a:cubicBezTo>
                <a:cubicBezTo>
                  <a:pt x="71431" y="244786"/>
                  <a:pt x="233357" y="-58426"/>
                  <a:pt x="431794" y="9836"/>
                </a:cubicBezTo>
                <a:cubicBezTo>
                  <a:pt x="630231" y="78098"/>
                  <a:pt x="1041394" y="508311"/>
                  <a:pt x="1212844" y="828986"/>
                </a:cubicBezTo>
                <a:cubicBezTo>
                  <a:pt x="1384294" y="1149661"/>
                  <a:pt x="1406519" y="1648136"/>
                  <a:pt x="1460494" y="1933886"/>
                </a:cubicBezTo>
                <a:cubicBezTo>
                  <a:pt x="1514469" y="2219636"/>
                  <a:pt x="1376357" y="2373624"/>
                  <a:pt x="1536694" y="2543486"/>
                </a:cubicBezTo>
                <a:cubicBezTo>
                  <a:pt x="1697031" y="2713348"/>
                  <a:pt x="2292344" y="2703823"/>
                  <a:pt x="2422519" y="2953061"/>
                </a:cubicBezTo>
                <a:cubicBezTo>
                  <a:pt x="2552694" y="3202298"/>
                  <a:pt x="2327269" y="3999223"/>
                  <a:pt x="2298694" y="4048436"/>
                </a:cubicBezTo>
                <a:close/>
              </a:path>
            </a:pathLst>
          </a:custGeom>
          <a:gradFill flip="none" rotWithShape="1">
            <a:gsLst>
              <a:gs pos="0">
                <a:srgbClr val="F5736A"/>
              </a:gs>
              <a:gs pos="50000">
                <a:srgbClr val="FF9C5A"/>
              </a:gs>
              <a:gs pos="100000">
                <a:srgbClr val="FFCF38"/>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Freeform: Shape 109">
            <a:extLst>
              <a:ext uri="{FF2B5EF4-FFF2-40B4-BE49-F238E27FC236}">
                <a16:creationId xmlns:a16="http://schemas.microsoft.com/office/drawing/2014/main" id="{C4D704E5-9BEF-45F4-B0B8-8EE183968BE0}"/>
              </a:ext>
            </a:extLst>
          </p:cNvPr>
          <p:cNvSpPr/>
          <p:nvPr/>
        </p:nvSpPr>
        <p:spPr>
          <a:xfrm rot="225839">
            <a:off x="14124289" y="783867"/>
            <a:ext cx="1999863" cy="3675326"/>
          </a:xfrm>
          <a:custGeom>
            <a:avLst/>
            <a:gdLst>
              <a:gd name="connsiteX0" fmla="*/ 590747 w 1999863"/>
              <a:gd name="connsiteY0" fmla="*/ 3569683 h 3675326"/>
              <a:gd name="connsiteX1" fmla="*/ 197 w 1999863"/>
              <a:gd name="connsiteY1" fmla="*/ 2931508 h 3675326"/>
              <a:gd name="connsiteX2" fmla="*/ 524072 w 1999863"/>
              <a:gd name="connsiteY2" fmla="*/ 2007583 h 3675326"/>
              <a:gd name="connsiteX3" fmla="*/ 447872 w 1999863"/>
              <a:gd name="connsiteY3" fmla="*/ 1321783 h 3675326"/>
              <a:gd name="connsiteX4" fmla="*/ 1286072 w 1999863"/>
              <a:gd name="connsiteY4" fmla="*/ 7333 h 3675326"/>
              <a:gd name="connsiteX5" fmla="*/ 1924247 w 1999863"/>
              <a:gd name="connsiteY5" fmla="*/ 893158 h 3675326"/>
              <a:gd name="connsiteX6" fmla="*/ 1943297 w 1999863"/>
              <a:gd name="connsiteY6" fmla="*/ 2979133 h 3675326"/>
              <a:gd name="connsiteX7" fmla="*/ 1524197 w 1999863"/>
              <a:gd name="connsiteY7" fmla="*/ 3617308 h 3675326"/>
              <a:gd name="connsiteX8" fmla="*/ 590747 w 1999863"/>
              <a:gd name="connsiteY8" fmla="*/ 3569683 h 3675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9863" h="3675326">
                <a:moveTo>
                  <a:pt x="590747" y="3569683"/>
                </a:moveTo>
                <a:cubicBezTo>
                  <a:pt x="336747" y="3455383"/>
                  <a:pt x="11309" y="3191858"/>
                  <a:pt x="197" y="2931508"/>
                </a:cubicBezTo>
                <a:cubicBezTo>
                  <a:pt x="-10915" y="2671158"/>
                  <a:pt x="449459" y="2275871"/>
                  <a:pt x="524072" y="2007583"/>
                </a:cubicBezTo>
                <a:cubicBezTo>
                  <a:pt x="598685" y="1739295"/>
                  <a:pt x="320872" y="1655158"/>
                  <a:pt x="447872" y="1321783"/>
                </a:cubicBezTo>
                <a:cubicBezTo>
                  <a:pt x="574872" y="988408"/>
                  <a:pt x="1040010" y="78770"/>
                  <a:pt x="1286072" y="7333"/>
                </a:cubicBezTo>
                <a:cubicBezTo>
                  <a:pt x="1532135" y="-64105"/>
                  <a:pt x="1814710" y="397858"/>
                  <a:pt x="1924247" y="893158"/>
                </a:cubicBezTo>
                <a:cubicBezTo>
                  <a:pt x="2033784" y="1388458"/>
                  <a:pt x="2009972" y="2525108"/>
                  <a:pt x="1943297" y="2979133"/>
                </a:cubicBezTo>
                <a:cubicBezTo>
                  <a:pt x="1876622" y="3433158"/>
                  <a:pt x="1752797" y="3520470"/>
                  <a:pt x="1524197" y="3617308"/>
                </a:cubicBezTo>
                <a:cubicBezTo>
                  <a:pt x="1295597" y="3714146"/>
                  <a:pt x="844747" y="3683983"/>
                  <a:pt x="590747" y="3569683"/>
                </a:cubicBezTo>
                <a:close/>
              </a:path>
            </a:pathLst>
          </a:custGeom>
          <a:gradFill flip="none" rotWithShape="1">
            <a:gsLst>
              <a:gs pos="0">
                <a:srgbClr val="C8A7F1"/>
              </a:gs>
              <a:gs pos="35000">
                <a:srgbClr val="C7ACF1"/>
              </a:gs>
              <a:gs pos="100000">
                <a:srgbClr val="D99FC6"/>
              </a:gs>
            </a:gsLst>
            <a:path path="circle">
              <a:fillToRect l="50000" t="-80000" r="50000" b="18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6" name="Picture 35">
            <a:extLst>
              <a:ext uri="{FF2B5EF4-FFF2-40B4-BE49-F238E27FC236}">
                <a16:creationId xmlns:a16="http://schemas.microsoft.com/office/drawing/2014/main" id="{E48A735C-6406-43F1-A57C-64F3141639C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rot="20700000">
            <a:off x="23424439" y="2385650"/>
            <a:ext cx="2199281" cy="1344005"/>
          </a:xfrm>
          <a:prstGeom prst="rect">
            <a:avLst/>
          </a:prstGeom>
          <a:effectLst>
            <a:outerShdw blurRad="50800" dist="38100" dir="8100000" algn="tr" rotWithShape="0">
              <a:prstClr val="black">
                <a:alpha val="40000"/>
              </a:prstClr>
            </a:outerShdw>
          </a:effectLst>
        </p:spPr>
      </p:pic>
      <p:pic>
        <p:nvPicPr>
          <p:cNvPr id="103" name="Picture 102">
            <a:extLst>
              <a:ext uri="{FF2B5EF4-FFF2-40B4-BE49-F238E27FC236}">
                <a16:creationId xmlns:a16="http://schemas.microsoft.com/office/drawing/2014/main" id="{1377CCB7-C208-47D1-B6C8-7122CBD5B654}"/>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rot="900000">
            <a:off x="13329740" y="2739649"/>
            <a:ext cx="1166008" cy="1161115"/>
          </a:xfrm>
          <a:prstGeom prst="rect">
            <a:avLst/>
          </a:prstGeom>
          <a:effectLst>
            <a:outerShdw blurRad="50800" dist="38100" dir="8100000" algn="tr" rotWithShape="0">
              <a:prstClr val="black">
                <a:alpha val="40000"/>
              </a:prstClr>
            </a:outerShdw>
          </a:effectLst>
        </p:spPr>
      </p:pic>
      <p:pic>
        <p:nvPicPr>
          <p:cNvPr id="33" name="Picture 32">
            <a:extLst>
              <a:ext uri="{FF2B5EF4-FFF2-40B4-BE49-F238E27FC236}">
                <a16:creationId xmlns:a16="http://schemas.microsoft.com/office/drawing/2014/main" id="{3E17733C-4F88-4C3B-A4EC-91D09014AAD4}"/>
              </a:ext>
            </a:extLst>
          </p:cNvPr>
          <p:cNvPicPr>
            <a:picLocks noChangeAspect="1"/>
          </p:cNvPicPr>
          <p:nvPr/>
        </p:nvPicPr>
        <p:blipFill>
          <a:blip r:embed="rId6"/>
          <a:stretch>
            <a:fillRect/>
          </a:stretch>
        </p:blipFill>
        <p:spPr>
          <a:xfrm rot="1044862">
            <a:off x="15146087" y="3393699"/>
            <a:ext cx="1245442" cy="1245442"/>
          </a:xfrm>
          <a:prstGeom prst="rect">
            <a:avLst/>
          </a:prstGeom>
        </p:spPr>
      </p:pic>
      <p:sp>
        <p:nvSpPr>
          <p:cNvPr id="123" name="Rectangle: Rounded Corners 122">
            <a:extLst>
              <a:ext uri="{FF2B5EF4-FFF2-40B4-BE49-F238E27FC236}">
                <a16:creationId xmlns:a16="http://schemas.microsoft.com/office/drawing/2014/main" id="{50B35275-DC76-49D2-B16F-CDDDD144480E}"/>
              </a:ext>
            </a:extLst>
          </p:cNvPr>
          <p:cNvSpPr/>
          <p:nvPr/>
        </p:nvSpPr>
        <p:spPr>
          <a:xfrm>
            <a:off x="359404" y="4655580"/>
            <a:ext cx="471367" cy="449125"/>
          </a:xfrm>
          <a:prstGeom prst="roundRect">
            <a:avLst>
              <a:gd name="adj" fmla="val 50000"/>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4" name="Rectangle: Rounded Corners 123">
            <a:extLst>
              <a:ext uri="{FF2B5EF4-FFF2-40B4-BE49-F238E27FC236}">
                <a16:creationId xmlns:a16="http://schemas.microsoft.com/office/drawing/2014/main" id="{8DC03E30-B28A-490F-9363-F5725ED82CA4}"/>
              </a:ext>
            </a:extLst>
          </p:cNvPr>
          <p:cNvSpPr/>
          <p:nvPr/>
        </p:nvSpPr>
        <p:spPr>
          <a:xfrm>
            <a:off x="359404" y="5320609"/>
            <a:ext cx="471367" cy="449125"/>
          </a:xfrm>
          <a:prstGeom prst="roundRect">
            <a:avLst>
              <a:gd name="adj" fmla="val 50000"/>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5" name="Rectangle: Rounded Corners 124">
            <a:extLst>
              <a:ext uri="{FF2B5EF4-FFF2-40B4-BE49-F238E27FC236}">
                <a16:creationId xmlns:a16="http://schemas.microsoft.com/office/drawing/2014/main" id="{4A66C533-9E23-4D74-A382-040D008310BE}"/>
              </a:ext>
            </a:extLst>
          </p:cNvPr>
          <p:cNvSpPr/>
          <p:nvPr/>
        </p:nvSpPr>
        <p:spPr>
          <a:xfrm>
            <a:off x="355523" y="6008790"/>
            <a:ext cx="471367" cy="449125"/>
          </a:xfrm>
          <a:prstGeom prst="roundRect">
            <a:avLst>
              <a:gd name="adj" fmla="val 24551"/>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6" name="Graphic 125" descr="Home with solid fill">
            <a:extLst>
              <a:ext uri="{FF2B5EF4-FFF2-40B4-BE49-F238E27FC236}">
                <a16:creationId xmlns:a16="http://schemas.microsoft.com/office/drawing/2014/main" id="{74742216-BA44-4100-BF62-8157A407A54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30962" y="6053701"/>
            <a:ext cx="320489" cy="320489"/>
          </a:xfrm>
          <a:prstGeom prst="rect">
            <a:avLst/>
          </a:prstGeom>
        </p:spPr>
      </p:pic>
      <p:pic>
        <p:nvPicPr>
          <p:cNvPr id="127" name="Graphic 126" descr="Caret Up with solid fill">
            <a:extLst>
              <a:ext uri="{FF2B5EF4-FFF2-40B4-BE49-F238E27FC236}">
                <a16:creationId xmlns:a16="http://schemas.microsoft.com/office/drawing/2014/main" id="{531A3611-D8D4-4519-AEF3-2EDBEC7DE65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98917" y="4676085"/>
            <a:ext cx="392341" cy="392341"/>
          </a:xfrm>
          <a:prstGeom prst="rect">
            <a:avLst/>
          </a:prstGeom>
        </p:spPr>
      </p:pic>
      <p:pic>
        <p:nvPicPr>
          <p:cNvPr id="128" name="Graphic 127" descr="Caret Up with solid fill">
            <a:extLst>
              <a:ext uri="{FF2B5EF4-FFF2-40B4-BE49-F238E27FC236}">
                <a16:creationId xmlns:a16="http://schemas.microsoft.com/office/drawing/2014/main" id="{9016880B-C8B5-428D-B70B-D39FC5C29E3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flipV="1">
            <a:off x="398917" y="5359905"/>
            <a:ext cx="392341" cy="392341"/>
          </a:xfrm>
          <a:prstGeom prst="rect">
            <a:avLst/>
          </a:prstGeom>
        </p:spPr>
      </p:pic>
      <p:pic>
        <p:nvPicPr>
          <p:cNvPr id="131" name="Picture 130">
            <a:extLst>
              <a:ext uri="{FF2B5EF4-FFF2-40B4-BE49-F238E27FC236}">
                <a16:creationId xmlns:a16="http://schemas.microsoft.com/office/drawing/2014/main" id="{63E5C70E-26B6-4376-91E7-037C12349A96}"/>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rot="20860442">
            <a:off x="2288216" y="821428"/>
            <a:ext cx="2743982" cy="2743982"/>
          </a:xfrm>
          <a:prstGeom prst="rect">
            <a:avLst/>
          </a:prstGeom>
        </p:spPr>
      </p:pic>
      <p:sp>
        <p:nvSpPr>
          <p:cNvPr id="6" name="TextBox 5">
            <a:extLst>
              <a:ext uri="{FF2B5EF4-FFF2-40B4-BE49-F238E27FC236}">
                <a16:creationId xmlns:a16="http://schemas.microsoft.com/office/drawing/2014/main" id="{4727D27F-C0B8-0228-6E99-AFB1CD8E32E6}"/>
              </a:ext>
            </a:extLst>
          </p:cNvPr>
          <p:cNvSpPr txBox="1"/>
          <p:nvPr/>
        </p:nvSpPr>
        <p:spPr>
          <a:xfrm>
            <a:off x="6196486" y="781050"/>
            <a:ext cx="5596597" cy="5454570"/>
          </a:xfrm>
          <a:prstGeom prst="rect">
            <a:avLst/>
          </a:prstGeom>
          <a:noFill/>
        </p:spPr>
        <p:txBody>
          <a:bodyPr wrap="square" rtlCol="0">
            <a:spAutoFit/>
          </a:bodyPr>
          <a:lstStyle/>
          <a:p>
            <a:pPr>
              <a:lnSpc>
                <a:spcPct val="150000"/>
              </a:lnSpc>
            </a:pPr>
            <a:r>
              <a:rPr lang="en-US" b="1" dirty="0">
                <a:latin typeface="Poppins" panose="00000500000000000000" pitchFamily="2" charset="0"/>
                <a:cs typeface="Poppins" panose="00000500000000000000" pitchFamily="2" charset="0"/>
              </a:rPr>
              <a:t>MySQL</a:t>
            </a:r>
            <a:r>
              <a:rPr lang="en-US" dirty="0">
                <a:latin typeface="Poppins" panose="00000500000000000000" pitchFamily="2" charset="0"/>
                <a:cs typeface="Poppins" panose="00000500000000000000" pitchFamily="2" charset="0"/>
              </a:rPr>
              <a:t> is integral to many of the most popular software stacks for building and maintaining everything from customer-facing web applications to powerful, data-driven </a:t>
            </a:r>
          </a:p>
          <a:p>
            <a:pPr>
              <a:lnSpc>
                <a:spcPct val="150000"/>
              </a:lnSpc>
            </a:pPr>
            <a:r>
              <a:rPr lang="en-US" b="1" dirty="0">
                <a:latin typeface="Poppins" panose="00000500000000000000" pitchFamily="2" charset="0"/>
                <a:cs typeface="Poppins" panose="00000500000000000000" pitchFamily="2" charset="0"/>
              </a:rPr>
              <a:t>B2B</a:t>
            </a:r>
            <a:r>
              <a:rPr lang="en-US" dirty="0">
                <a:latin typeface="Poppins" panose="00000500000000000000" pitchFamily="2" charset="0"/>
                <a:cs typeface="Poppins" panose="00000500000000000000" pitchFamily="2" charset="0"/>
              </a:rPr>
              <a:t> services.</a:t>
            </a:r>
          </a:p>
          <a:p>
            <a:pPr>
              <a:lnSpc>
                <a:spcPct val="150000"/>
              </a:lnSpc>
            </a:pPr>
            <a:endParaRPr lang="en-US" dirty="0">
              <a:latin typeface="Poppins" panose="00000500000000000000" pitchFamily="2" charset="0"/>
              <a:cs typeface="Poppins" panose="00000500000000000000" pitchFamily="2" charset="0"/>
            </a:endParaRPr>
          </a:p>
          <a:p>
            <a:pPr>
              <a:lnSpc>
                <a:spcPct val="150000"/>
              </a:lnSpc>
            </a:pPr>
            <a:r>
              <a:rPr lang="en-US" dirty="0">
                <a:latin typeface="Poppins" panose="00000500000000000000" pitchFamily="2" charset="0"/>
                <a:cs typeface="Poppins" panose="00000500000000000000" pitchFamily="2" charset="0"/>
              </a:rPr>
              <a:t> Its open-source nature, stability, and rich feature set, paired with ongoing development and support from Oracle, have meant that internet-critical organizations such as Facebook, Flickr, Twitter, Wikipedia, and YouTube all employ MySQL </a:t>
            </a:r>
          </a:p>
          <a:p>
            <a:pPr>
              <a:lnSpc>
                <a:spcPct val="150000"/>
              </a:lnSpc>
            </a:pPr>
            <a:r>
              <a:rPr lang="en-US" dirty="0">
                <a:latin typeface="Poppins" panose="00000500000000000000" pitchFamily="2" charset="0"/>
                <a:cs typeface="Poppins" panose="00000500000000000000" pitchFamily="2" charset="0"/>
              </a:rPr>
              <a:t>backends. </a:t>
            </a:r>
            <a:endParaRPr lang="en-IN" dirty="0">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11947871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E8B9359-5B8D-42D8-8D71-381018F24C77}"/>
              </a:ext>
            </a:extLst>
          </p:cNvPr>
          <p:cNvPicPr>
            <a:picLocks noChangeAspect="1"/>
          </p:cNvPicPr>
          <p:nvPr/>
        </p:nvPicPr>
        <p:blipFill rotWithShape="1">
          <a:blip r:embed="rId2"/>
          <a:srcRect l="4818" t="13929" r="11068" b="15870"/>
          <a:stretch/>
        </p:blipFill>
        <p:spPr>
          <a:xfrm>
            <a:off x="0" y="1"/>
            <a:ext cx="12192000" cy="6857999"/>
          </a:xfrm>
          <a:prstGeom prst="rect">
            <a:avLst/>
          </a:prstGeom>
        </p:spPr>
      </p:pic>
      <p:sp>
        <p:nvSpPr>
          <p:cNvPr id="75" name="TextBox 74">
            <a:extLst>
              <a:ext uri="{FF2B5EF4-FFF2-40B4-BE49-F238E27FC236}">
                <a16:creationId xmlns:a16="http://schemas.microsoft.com/office/drawing/2014/main" id="{41B47E12-308B-480D-BB8F-4FB2CD8CED76}"/>
              </a:ext>
            </a:extLst>
          </p:cNvPr>
          <p:cNvSpPr txBox="1"/>
          <p:nvPr/>
        </p:nvSpPr>
        <p:spPr>
          <a:xfrm>
            <a:off x="6024203" y="8996260"/>
            <a:ext cx="7601964" cy="3154710"/>
          </a:xfrm>
          <a:prstGeom prst="rect">
            <a:avLst/>
          </a:prstGeom>
          <a:noFill/>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9900" b="1" i="0" u="none" strike="noStrike" kern="1200" cap="none" spc="0" normalizeH="0" baseline="0" noProof="0" dirty="0">
                <a:ln>
                  <a:noFill/>
                </a:ln>
                <a:solidFill>
                  <a:srgbClr val="A776D9"/>
                </a:solidFill>
                <a:effectLst/>
                <a:uLnTx/>
                <a:uFillTx/>
                <a:latin typeface="Century Gothic" panose="020B0502020202020204" pitchFamily="34" charset="0"/>
                <a:ea typeface="+mn-ea"/>
                <a:cs typeface="+mn-cs"/>
              </a:rPr>
              <a:t>BLUR</a:t>
            </a:r>
            <a:endParaRPr kumimoji="0" lang="en-MY" sz="1800" b="0" i="0" u="none" strike="noStrike" kern="1200" cap="none" spc="0" normalizeH="0" baseline="0" noProof="0" dirty="0">
              <a:ln>
                <a:noFill/>
              </a:ln>
              <a:solidFill>
                <a:srgbClr val="A776D9"/>
              </a:solidFill>
              <a:effectLst/>
              <a:uLnTx/>
              <a:uFillTx/>
              <a:latin typeface="Calibri" panose="020F0502020204030204"/>
              <a:ea typeface="+mn-ea"/>
              <a:cs typeface="+mn-cs"/>
            </a:endParaRPr>
          </a:p>
        </p:txBody>
      </p:sp>
      <p:sp>
        <p:nvSpPr>
          <p:cNvPr id="79" name="TextBox 78">
            <a:extLst>
              <a:ext uri="{FF2B5EF4-FFF2-40B4-BE49-F238E27FC236}">
                <a16:creationId xmlns:a16="http://schemas.microsoft.com/office/drawing/2014/main" id="{79E89506-1CBD-4E16-9F74-6A235509CAFB}"/>
              </a:ext>
            </a:extLst>
          </p:cNvPr>
          <p:cNvSpPr txBox="1"/>
          <p:nvPr/>
        </p:nvSpPr>
        <p:spPr>
          <a:xfrm>
            <a:off x="6122038" y="15895843"/>
            <a:ext cx="7601964" cy="1446550"/>
          </a:xfrm>
          <a:prstGeom prst="rect">
            <a:avLst/>
          </a:prstGeom>
          <a:noFill/>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8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GRADIENT</a:t>
            </a:r>
            <a:endParaRPr kumimoji="0" lang="en-MY"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7" name="Picture 36">
            <a:extLst>
              <a:ext uri="{FF2B5EF4-FFF2-40B4-BE49-F238E27FC236}">
                <a16:creationId xmlns:a16="http://schemas.microsoft.com/office/drawing/2014/main" id="{F4D43D9A-CA01-4EA3-9C34-9479F0A7004D}"/>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33493" t="-192131" r="-3966" b="151980"/>
          <a:stretch/>
        </p:blipFill>
        <p:spPr>
          <a:xfrm>
            <a:off x="4083528" y="-13175513"/>
            <a:ext cx="8592335" cy="9610969"/>
          </a:xfrm>
          <a:prstGeom prst="roundRect">
            <a:avLst>
              <a:gd name="adj" fmla="val 4648"/>
            </a:avLst>
          </a:prstGeom>
          <a:noFill/>
          <a:ln>
            <a:noFill/>
          </a:ln>
          <a:effectLst>
            <a:outerShdw blurRad="635000" dist="215900" dir="7200000" algn="ctr" rotWithShape="0">
              <a:schemeClr val="tx1">
                <a:lumMod val="50000"/>
                <a:lumOff val="50000"/>
                <a:alpha val="43000"/>
              </a:schemeClr>
            </a:outerShdw>
          </a:effectLst>
        </p:spPr>
      </p:pic>
      <p:pic>
        <p:nvPicPr>
          <p:cNvPr id="5" name="Picture 4">
            <a:extLst>
              <a:ext uri="{FF2B5EF4-FFF2-40B4-BE49-F238E27FC236}">
                <a16:creationId xmlns:a16="http://schemas.microsoft.com/office/drawing/2014/main" id="{59EC0469-F0EB-4FA6-A663-0F1171475995}"/>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1110" t="1548" r="91086" b="2540"/>
          <a:stretch/>
        </p:blipFill>
        <p:spPr>
          <a:xfrm>
            <a:off x="135166" y="106342"/>
            <a:ext cx="951535" cy="6577488"/>
          </a:xfrm>
          <a:prstGeom prst="roundRect">
            <a:avLst>
              <a:gd name="adj" fmla="val 33164"/>
            </a:avLst>
          </a:prstGeom>
          <a:noFill/>
          <a:ln>
            <a:noFill/>
          </a:ln>
          <a:effectLst>
            <a:outerShdw blurRad="635000" dist="215900" dir="7200000" algn="ctr" rotWithShape="0">
              <a:schemeClr val="tx1">
                <a:lumMod val="50000"/>
                <a:lumOff val="50000"/>
                <a:alpha val="43000"/>
              </a:schemeClr>
            </a:outerShdw>
          </a:effectLst>
        </p:spPr>
      </p:pic>
      <p:sp>
        <p:nvSpPr>
          <p:cNvPr id="7" name="TextBox 6">
            <a:extLst>
              <a:ext uri="{FF2B5EF4-FFF2-40B4-BE49-F238E27FC236}">
                <a16:creationId xmlns:a16="http://schemas.microsoft.com/office/drawing/2014/main" id="{78290698-34CB-4705-B9AF-BB16F1EA9026}"/>
              </a:ext>
            </a:extLst>
          </p:cNvPr>
          <p:cNvSpPr txBox="1"/>
          <p:nvPr/>
        </p:nvSpPr>
        <p:spPr>
          <a:xfrm>
            <a:off x="-12575020" y="3698513"/>
            <a:ext cx="2984500" cy="184665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hmppt</a:t>
            </a:r>
            <a:r>
              <a:rPr kumimoji="0" lang="en-MY" sz="4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4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8" name="TextBox 7">
            <a:extLst>
              <a:ext uri="{FF2B5EF4-FFF2-40B4-BE49-F238E27FC236}">
                <a16:creationId xmlns:a16="http://schemas.microsoft.com/office/drawing/2014/main" id="{D6DD4C71-14E6-49ED-8568-B7921D041CD4}"/>
              </a:ext>
            </a:extLst>
          </p:cNvPr>
          <p:cNvSpPr txBox="1"/>
          <p:nvPr/>
        </p:nvSpPr>
        <p:spPr>
          <a:xfrm>
            <a:off x="-10409670" y="2973303"/>
            <a:ext cx="2984500"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7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Hello</a:t>
            </a:r>
            <a:r>
              <a:rPr kumimoji="0" lang="en-MY" sz="4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4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pSp>
        <p:nvGrpSpPr>
          <p:cNvPr id="13" name="Group 12">
            <a:extLst>
              <a:ext uri="{FF2B5EF4-FFF2-40B4-BE49-F238E27FC236}">
                <a16:creationId xmlns:a16="http://schemas.microsoft.com/office/drawing/2014/main" id="{E2ED9B0F-37B7-403E-8DA5-4C5F549FC7CB}"/>
              </a:ext>
            </a:extLst>
          </p:cNvPr>
          <p:cNvGrpSpPr/>
          <p:nvPr/>
        </p:nvGrpSpPr>
        <p:grpSpPr>
          <a:xfrm>
            <a:off x="-12218456" y="5753100"/>
            <a:ext cx="1432560" cy="441960"/>
            <a:chOff x="1588770" y="5753100"/>
            <a:chExt cx="1432560" cy="441960"/>
          </a:xfrm>
          <a:effectLst>
            <a:outerShdw blurRad="165100" dist="76200" dir="7200000" algn="t" rotWithShape="0">
              <a:prstClr val="black">
                <a:alpha val="40000"/>
              </a:prstClr>
            </a:outerShdw>
          </a:effectLst>
        </p:grpSpPr>
        <p:sp>
          <p:nvSpPr>
            <p:cNvPr id="6" name="Rectangle: Rounded Corners 5">
              <a:extLst>
                <a:ext uri="{FF2B5EF4-FFF2-40B4-BE49-F238E27FC236}">
                  <a16:creationId xmlns:a16="http://schemas.microsoft.com/office/drawing/2014/main" id="{7A9D66CD-933F-47F2-88AE-8A6390E5BD43}"/>
                </a:ext>
              </a:extLst>
            </p:cNvPr>
            <p:cNvSpPr/>
            <p:nvPr/>
          </p:nvSpPr>
          <p:spPr>
            <a:xfrm>
              <a:off x="1588770" y="5753100"/>
              <a:ext cx="1432560" cy="44196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12" name="TextBox 11">
              <a:extLst>
                <a:ext uri="{FF2B5EF4-FFF2-40B4-BE49-F238E27FC236}">
                  <a16:creationId xmlns:a16="http://schemas.microsoft.com/office/drawing/2014/main" id="{F43E55E4-DB0F-4412-9DAE-8E90604C281D}"/>
                </a:ext>
              </a:extLst>
            </p:cNvPr>
            <p:cNvSpPr txBox="1"/>
            <p:nvPr/>
          </p:nvSpPr>
          <p:spPr>
            <a:xfrm>
              <a:off x="1978025" y="5789414"/>
              <a:ext cx="7493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rPr>
                <a:t>Start</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9" name="TextBox 18">
            <a:extLst>
              <a:ext uri="{FF2B5EF4-FFF2-40B4-BE49-F238E27FC236}">
                <a16:creationId xmlns:a16="http://schemas.microsoft.com/office/drawing/2014/main" id="{E56AD6B4-1375-43DF-89AE-B8D7781E3496}"/>
              </a:ext>
            </a:extLst>
          </p:cNvPr>
          <p:cNvSpPr txBox="1"/>
          <p:nvPr/>
        </p:nvSpPr>
        <p:spPr>
          <a:xfrm>
            <a:off x="-11108792" y="4792813"/>
            <a:ext cx="2775137"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4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with custom layouts animation and many more…</a:t>
            </a:r>
          </a:p>
        </p:txBody>
      </p:sp>
      <p:sp>
        <p:nvSpPr>
          <p:cNvPr id="43" name="TextBox 42">
            <a:extLst>
              <a:ext uri="{FF2B5EF4-FFF2-40B4-BE49-F238E27FC236}">
                <a16:creationId xmlns:a16="http://schemas.microsoft.com/office/drawing/2014/main" id="{EEBFCA88-B9B7-4337-B1DE-E458FB10229A}"/>
              </a:ext>
            </a:extLst>
          </p:cNvPr>
          <p:cNvSpPr txBox="1"/>
          <p:nvPr/>
        </p:nvSpPr>
        <p:spPr>
          <a:xfrm>
            <a:off x="7741816" y="-17966407"/>
            <a:ext cx="2557110" cy="15081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Gla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4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42" name="TextBox 41">
            <a:extLst>
              <a:ext uri="{FF2B5EF4-FFF2-40B4-BE49-F238E27FC236}">
                <a16:creationId xmlns:a16="http://schemas.microsoft.com/office/drawing/2014/main" id="{55394D7A-694C-49E5-90AE-A77F4B795C99}"/>
              </a:ext>
            </a:extLst>
          </p:cNvPr>
          <p:cNvSpPr txBox="1"/>
          <p:nvPr/>
        </p:nvSpPr>
        <p:spPr>
          <a:xfrm>
            <a:off x="4237438" y="-16894215"/>
            <a:ext cx="449025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Build</a:t>
            </a:r>
          </a:p>
        </p:txBody>
      </p:sp>
      <p:sp>
        <p:nvSpPr>
          <p:cNvPr id="56" name="TextBox 55">
            <a:extLst>
              <a:ext uri="{FF2B5EF4-FFF2-40B4-BE49-F238E27FC236}">
                <a16:creationId xmlns:a16="http://schemas.microsoft.com/office/drawing/2014/main" id="{AE6A9755-4FAA-4021-8896-F5C28FD4AD62}"/>
              </a:ext>
            </a:extLst>
          </p:cNvPr>
          <p:cNvSpPr txBox="1"/>
          <p:nvPr/>
        </p:nvSpPr>
        <p:spPr>
          <a:xfrm>
            <a:off x="-10409670" y="278483"/>
            <a:ext cx="2660009"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4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About me                 </a:t>
            </a:r>
            <a:r>
              <a:rPr kumimoji="0" lang="en-MY" sz="44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 . .</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TextBox 57">
            <a:extLst>
              <a:ext uri="{FF2B5EF4-FFF2-40B4-BE49-F238E27FC236}">
                <a16:creationId xmlns:a16="http://schemas.microsoft.com/office/drawing/2014/main" id="{CBE1F75E-37B9-426A-BCDF-AF68B0DB20CB}"/>
              </a:ext>
            </a:extLst>
          </p:cNvPr>
          <p:cNvSpPr txBox="1"/>
          <p:nvPr/>
        </p:nvSpPr>
        <p:spPr>
          <a:xfrm>
            <a:off x="8406071" y="-17020662"/>
            <a:ext cx="255711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morphism</a:t>
            </a:r>
            <a:endParaRPr kumimoji="0" lang="en-MY" sz="18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11946AE7-72A0-456F-881A-6887EEC193B8}"/>
              </a:ext>
            </a:extLst>
          </p:cNvPr>
          <p:cNvSpPr txBox="1"/>
          <p:nvPr/>
        </p:nvSpPr>
        <p:spPr>
          <a:xfrm>
            <a:off x="7299536" y="-17961658"/>
            <a:ext cx="69056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The</a:t>
            </a:r>
            <a:endParaRPr kumimoji="0" lang="en-MY" sz="18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endParaRPr>
          </a:p>
        </p:txBody>
      </p:sp>
      <p:pic>
        <p:nvPicPr>
          <p:cNvPr id="61" name="Picture 60">
            <a:extLst>
              <a:ext uri="{FF2B5EF4-FFF2-40B4-BE49-F238E27FC236}">
                <a16:creationId xmlns:a16="http://schemas.microsoft.com/office/drawing/2014/main" id="{5BA86A40-18CE-42EC-AD81-4A05821D684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70880" y="-3999321"/>
            <a:ext cx="572825" cy="572825"/>
          </a:xfrm>
          <a:prstGeom prst="rect">
            <a:avLst/>
          </a:prstGeom>
        </p:spPr>
      </p:pic>
      <p:pic>
        <p:nvPicPr>
          <p:cNvPr id="62" name="Picture 61">
            <a:extLst>
              <a:ext uri="{FF2B5EF4-FFF2-40B4-BE49-F238E27FC236}">
                <a16:creationId xmlns:a16="http://schemas.microsoft.com/office/drawing/2014/main" id="{27F6497D-FBF1-4A61-9AF2-233D868A4BE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35351" y="-4685067"/>
            <a:ext cx="560011" cy="560011"/>
          </a:xfrm>
          <a:prstGeom prst="rect">
            <a:avLst/>
          </a:prstGeom>
        </p:spPr>
      </p:pic>
      <p:pic>
        <p:nvPicPr>
          <p:cNvPr id="63" name="Picture 62">
            <a:extLst>
              <a:ext uri="{FF2B5EF4-FFF2-40B4-BE49-F238E27FC236}">
                <a16:creationId xmlns:a16="http://schemas.microsoft.com/office/drawing/2014/main" id="{FBA2EC96-D5AD-4E50-84C2-BAAA425994E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89410" y="-5378279"/>
            <a:ext cx="590146" cy="590146"/>
          </a:xfrm>
          <a:prstGeom prst="rect">
            <a:avLst/>
          </a:prstGeom>
        </p:spPr>
      </p:pic>
      <p:pic>
        <p:nvPicPr>
          <p:cNvPr id="64" name="Picture 63">
            <a:extLst>
              <a:ext uri="{FF2B5EF4-FFF2-40B4-BE49-F238E27FC236}">
                <a16:creationId xmlns:a16="http://schemas.microsoft.com/office/drawing/2014/main" id="{0740FCD6-A340-462C-9E89-C3A2768FD5A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37438" y="-6063431"/>
            <a:ext cx="590146" cy="590146"/>
          </a:xfrm>
          <a:prstGeom prst="rect">
            <a:avLst/>
          </a:prstGeom>
        </p:spPr>
      </p:pic>
      <p:pic>
        <p:nvPicPr>
          <p:cNvPr id="68" name="Picture 67" descr="Icon&#10;&#10;Description automatically generated">
            <a:extLst>
              <a:ext uri="{FF2B5EF4-FFF2-40B4-BE49-F238E27FC236}">
                <a16:creationId xmlns:a16="http://schemas.microsoft.com/office/drawing/2014/main" id="{0F4F5DAE-E464-4F62-B350-87111A82A25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7100000">
            <a:off x="7916487" y="-7410221"/>
            <a:ext cx="2465296" cy="2465296"/>
          </a:xfrm>
          <a:prstGeom prst="rect">
            <a:avLst/>
          </a:prstGeom>
        </p:spPr>
      </p:pic>
      <p:sp>
        <p:nvSpPr>
          <p:cNvPr id="51" name="TextBox 50">
            <a:extLst>
              <a:ext uri="{FF2B5EF4-FFF2-40B4-BE49-F238E27FC236}">
                <a16:creationId xmlns:a16="http://schemas.microsoft.com/office/drawing/2014/main" id="{70DF611E-DC74-418B-B17F-81AD39CC02F1}"/>
              </a:ext>
            </a:extLst>
          </p:cNvPr>
          <p:cNvSpPr txBox="1"/>
          <p:nvPr/>
        </p:nvSpPr>
        <p:spPr>
          <a:xfrm>
            <a:off x="4275514" y="-7408646"/>
            <a:ext cx="3024021"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Lately I really like to do this glass look. Matching modern UI look..</a:t>
            </a:r>
          </a:p>
        </p:txBody>
      </p:sp>
      <p:sp>
        <p:nvSpPr>
          <p:cNvPr id="54" name="TextBox 53">
            <a:extLst>
              <a:ext uri="{FF2B5EF4-FFF2-40B4-BE49-F238E27FC236}">
                <a16:creationId xmlns:a16="http://schemas.microsoft.com/office/drawing/2014/main" id="{29B54383-2597-40B9-B80A-9986488CEA4A}"/>
              </a:ext>
            </a:extLst>
          </p:cNvPr>
          <p:cNvSpPr txBox="1"/>
          <p:nvPr/>
        </p:nvSpPr>
        <p:spPr>
          <a:xfrm rot="5400000">
            <a:off x="-394831" y="2307600"/>
            <a:ext cx="205617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800" b="1" i="0" u="none" strike="noStrike" kern="1200" cap="none" spc="0" normalizeH="0" baseline="0" noProof="0" dirty="0">
                <a:ln>
                  <a:noFill/>
                </a:ln>
                <a:solidFill>
                  <a:srgbClr val="A776D9"/>
                </a:solidFill>
                <a:effectLst/>
                <a:uLnTx/>
                <a:uFillTx/>
                <a:latin typeface="Century Gothic" panose="020B0502020202020204" pitchFamily="34" charset="0"/>
                <a:ea typeface="+mn-ea"/>
                <a:cs typeface="+mn-cs"/>
              </a:rPr>
              <a:t>Relax. </a:t>
            </a:r>
          </a:p>
        </p:txBody>
      </p:sp>
      <p:sp>
        <p:nvSpPr>
          <p:cNvPr id="59" name="TextBox 58">
            <a:extLst>
              <a:ext uri="{FF2B5EF4-FFF2-40B4-BE49-F238E27FC236}">
                <a16:creationId xmlns:a16="http://schemas.microsoft.com/office/drawing/2014/main" id="{4D2A0DD2-DB95-49AB-A250-70AF9BA15D04}"/>
              </a:ext>
            </a:extLst>
          </p:cNvPr>
          <p:cNvSpPr txBox="1"/>
          <p:nvPr/>
        </p:nvSpPr>
        <p:spPr>
          <a:xfrm>
            <a:off x="4236215" y="-13173867"/>
            <a:ext cx="3527584"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R</a:t>
            </a:r>
            <a:r>
              <a:rPr kumimoji="0" lang="en-MY" sz="6000" b="1" i="0" u="none" strike="noStrike" kern="1200" cap="none" spc="0" normalizeH="0" baseline="0" noProof="0" dirty="0" err="1">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ecords</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TextBox 64">
            <a:extLst>
              <a:ext uri="{FF2B5EF4-FFF2-40B4-BE49-F238E27FC236}">
                <a16:creationId xmlns:a16="http://schemas.microsoft.com/office/drawing/2014/main" id="{1E583B80-6FD4-4009-A8F6-2A7A9C0687E9}"/>
              </a:ext>
            </a:extLst>
          </p:cNvPr>
          <p:cNvSpPr txBox="1"/>
          <p:nvPr/>
        </p:nvSpPr>
        <p:spPr>
          <a:xfrm>
            <a:off x="4275515" y="-10462313"/>
            <a:ext cx="4497809"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more easily </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Rectangle: Rounded Corners 52">
            <a:extLst>
              <a:ext uri="{FF2B5EF4-FFF2-40B4-BE49-F238E27FC236}">
                <a16:creationId xmlns:a16="http://schemas.microsoft.com/office/drawing/2014/main" id="{FFB135C8-D5F0-49A8-A0F9-48F7E92A346F}"/>
              </a:ext>
            </a:extLst>
          </p:cNvPr>
          <p:cNvSpPr/>
          <p:nvPr/>
        </p:nvSpPr>
        <p:spPr>
          <a:xfrm>
            <a:off x="8107260" y="-20615547"/>
            <a:ext cx="678657" cy="73695"/>
          </a:xfrm>
          <a:prstGeom prst="roundRect">
            <a:avLst>
              <a:gd name="adj" fmla="val 50000"/>
            </a:avLst>
          </a:prstGeom>
          <a:solidFill>
            <a:srgbClr val="A776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6" name="oppo">
            <a:extLst>
              <a:ext uri="{FF2B5EF4-FFF2-40B4-BE49-F238E27FC236}">
                <a16:creationId xmlns:a16="http://schemas.microsoft.com/office/drawing/2014/main" id="{B346AF4A-3381-4BD7-9BDB-7032FEB6E9EA}"/>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65664" t="6551" r="14868" b="6987"/>
          <a:stretch/>
        </p:blipFill>
        <p:spPr>
          <a:xfrm>
            <a:off x="7993273" y="377318"/>
            <a:ext cx="2435336" cy="6082834"/>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pic>
        <p:nvPicPr>
          <p:cNvPr id="45" name="samsung">
            <a:extLst>
              <a:ext uri="{FF2B5EF4-FFF2-40B4-BE49-F238E27FC236}">
                <a16:creationId xmlns:a16="http://schemas.microsoft.com/office/drawing/2014/main" id="{B361528D-29D6-42DE-BA45-22F10A33F8B0}"/>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42898" t="5498" r="37057" b="5802"/>
          <a:stretch/>
        </p:blipFill>
        <p:spPr>
          <a:xfrm>
            <a:off x="5229792" y="377317"/>
            <a:ext cx="2444400" cy="6082835"/>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pic>
        <p:nvPicPr>
          <p:cNvPr id="71" name="Picture 70">
            <a:extLst>
              <a:ext uri="{FF2B5EF4-FFF2-40B4-BE49-F238E27FC236}">
                <a16:creationId xmlns:a16="http://schemas.microsoft.com/office/drawing/2014/main" id="{75CF27DD-3E20-45B8-A828-9CE14A072F53}"/>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20120" t="5497" r="59828" b="5802"/>
          <a:stretch/>
        </p:blipFill>
        <p:spPr>
          <a:xfrm>
            <a:off x="2452241" y="377317"/>
            <a:ext cx="2445074" cy="6082836"/>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sp>
        <p:nvSpPr>
          <p:cNvPr id="67" name="TextBox 66">
            <a:extLst>
              <a:ext uri="{FF2B5EF4-FFF2-40B4-BE49-F238E27FC236}">
                <a16:creationId xmlns:a16="http://schemas.microsoft.com/office/drawing/2014/main" id="{6949D7E2-6FF0-4F2A-A0CC-32AF305940B8}"/>
              </a:ext>
            </a:extLst>
          </p:cNvPr>
          <p:cNvSpPr txBox="1"/>
          <p:nvPr/>
        </p:nvSpPr>
        <p:spPr>
          <a:xfrm>
            <a:off x="5257119" y="4377658"/>
            <a:ext cx="2184559"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MySQL</a:t>
            </a:r>
            <a:endParaRPr kumimoji="0" lang="en-MY"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TextBox 68">
            <a:extLst>
              <a:ext uri="{FF2B5EF4-FFF2-40B4-BE49-F238E27FC236}">
                <a16:creationId xmlns:a16="http://schemas.microsoft.com/office/drawing/2014/main" id="{CF847EF9-1789-4C48-99AE-3A58281E6F8C}"/>
              </a:ext>
            </a:extLst>
          </p:cNvPr>
          <p:cNvSpPr txBox="1"/>
          <p:nvPr/>
        </p:nvSpPr>
        <p:spPr>
          <a:xfrm>
            <a:off x="5288797" y="4910216"/>
            <a:ext cx="2244515"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Database Driver</a:t>
            </a:r>
            <a:endParaRPr kumimoji="0" lang="en-MY" sz="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TextBox 69">
            <a:extLst>
              <a:ext uri="{FF2B5EF4-FFF2-40B4-BE49-F238E27FC236}">
                <a16:creationId xmlns:a16="http://schemas.microsoft.com/office/drawing/2014/main" id="{9A079DBA-C4FC-43E7-B4DB-B9BF2C6715EE}"/>
              </a:ext>
            </a:extLst>
          </p:cNvPr>
          <p:cNvSpPr txBox="1"/>
          <p:nvPr/>
        </p:nvSpPr>
        <p:spPr>
          <a:xfrm>
            <a:off x="5264932" y="5228153"/>
            <a:ext cx="2294642"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MysSQL</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is a database driver for storing the data and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ru</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n on web-server.</a:t>
            </a:r>
          </a:p>
        </p:txBody>
      </p:sp>
      <p:sp>
        <p:nvSpPr>
          <p:cNvPr id="72" name="TextBox 71">
            <a:extLst>
              <a:ext uri="{FF2B5EF4-FFF2-40B4-BE49-F238E27FC236}">
                <a16:creationId xmlns:a16="http://schemas.microsoft.com/office/drawing/2014/main" id="{722DC1A7-94D5-4F66-B387-D765AFC82A68}"/>
              </a:ext>
            </a:extLst>
          </p:cNvPr>
          <p:cNvSpPr txBox="1"/>
          <p:nvPr/>
        </p:nvSpPr>
        <p:spPr>
          <a:xfrm>
            <a:off x="7988741" y="4474851"/>
            <a:ext cx="2444400"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3300" b="1" i="0" u="none" strike="noStrike" kern="1200" cap="none" spc="0" normalizeH="0" baseline="0" noProof="0" dirty="0" err="1">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Tailwindcss</a:t>
            </a:r>
            <a:endParaRPr kumimoji="0" lang="en-MY" sz="3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TextBox 72">
            <a:extLst>
              <a:ext uri="{FF2B5EF4-FFF2-40B4-BE49-F238E27FC236}">
                <a16:creationId xmlns:a16="http://schemas.microsoft.com/office/drawing/2014/main" id="{B21CF52B-E9F7-45B2-A896-9E8A7852CA7B}"/>
              </a:ext>
            </a:extLst>
          </p:cNvPr>
          <p:cNvSpPr txBox="1"/>
          <p:nvPr/>
        </p:nvSpPr>
        <p:spPr>
          <a:xfrm>
            <a:off x="8041257" y="4925605"/>
            <a:ext cx="263447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CSS Utility</a:t>
            </a:r>
            <a:endParaRPr kumimoji="0" lang="en-MY"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TextBox 73">
            <a:extLst>
              <a:ext uri="{FF2B5EF4-FFF2-40B4-BE49-F238E27FC236}">
                <a16:creationId xmlns:a16="http://schemas.microsoft.com/office/drawing/2014/main" id="{349DD8A8-CE49-4389-9560-82F5328D35D9}"/>
              </a:ext>
            </a:extLst>
          </p:cNvPr>
          <p:cNvSpPr txBox="1"/>
          <p:nvPr/>
        </p:nvSpPr>
        <p:spPr>
          <a:xfrm>
            <a:off x="8063620" y="5229045"/>
            <a:ext cx="2294642"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Tailwindcss</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is a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css</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utility framework which has so many classes and attribute to make designing easy.</a:t>
            </a:r>
          </a:p>
        </p:txBody>
      </p:sp>
      <p:grpSp>
        <p:nvGrpSpPr>
          <p:cNvPr id="83" name="Group 82">
            <a:extLst>
              <a:ext uri="{FF2B5EF4-FFF2-40B4-BE49-F238E27FC236}">
                <a16:creationId xmlns:a16="http://schemas.microsoft.com/office/drawing/2014/main" id="{D4531BAF-8C94-4D9A-9C18-9C68761E7D75}"/>
              </a:ext>
            </a:extLst>
          </p:cNvPr>
          <p:cNvGrpSpPr/>
          <p:nvPr/>
        </p:nvGrpSpPr>
        <p:grpSpPr>
          <a:xfrm>
            <a:off x="5504255" y="5990204"/>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84" name="Rectangle: Rounded Corners 83">
              <a:extLst>
                <a:ext uri="{FF2B5EF4-FFF2-40B4-BE49-F238E27FC236}">
                  <a16:creationId xmlns:a16="http://schemas.microsoft.com/office/drawing/2014/main" id="{440C12BD-E605-43AF-8A3E-DED7A83F41F6}"/>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85" name="TextBox 84">
              <a:extLst>
                <a:ext uri="{FF2B5EF4-FFF2-40B4-BE49-F238E27FC236}">
                  <a16:creationId xmlns:a16="http://schemas.microsoft.com/office/drawing/2014/main" id="{308E08D7-0733-4FFF-AFF5-57A21B159451}"/>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86" name="Group 85">
            <a:extLst>
              <a:ext uri="{FF2B5EF4-FFF2-40B4-BE49-F238E27FC236}">
                <a16:creationId xmlns:a16="http://schemas.microsoft.com/office/drawing/2014/main" id="{1902AA37-DF08-4C67-8A1E-7261EA62742F}"/>
              </a:ext>
            </a:extLst>
          </p:cNvPr>
          <p:cNvGrpSpPr/>
          <p:nvPr/>
        </p:nvGrpSpPr>
        <p:grpSpPr>
          <a:xfrm>
            <a:off x="8263204" y="5990204"/>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87" name="Rectangle: Rounded Corners 86">
              <a:extLst>
                <a:ext uri="{FF2B5EF4-FFF2-40B4-BE49-F238E27FC236}">
                  <a16:creationId xmlns:a16="http://schemas.microsoft.com/office/drawing/2014/main" id="{A366AE2D-371B-4717-9F22-845F46BA1426}"/>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88" name="TextBox 87">
              <a:extLst>
                <a:ext uri="{FF2B5EF4-FFF2-40B4-BE49-F238E27FC236}">
                  <a16:creationId xmlns:a16="http://schemas.microsoft.com/office/drawing/2014/main" id="{5EC4DBBD-84FD-413F-BB9A-B226CC352BD5}"/>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50" name="TextBox 49">
            <a:extLst>
              <a:ext uri="{FF2B5EF4-FFF2-40B4-BE49-F238E27FC236}">
                <a16:creationId xmlns:a16="http://schemas.microsoft.com/office/drawing/2014/main" id="{4AE84F63-2E09-4BA3-8452-32B260CAF7FB}"/>
              </a:ext>
            </a:extLst>
          </p:cNvPr>
          <p:cNvSpPr txBox="1"/>
          <p:nvPr/>
        </p:nvSpPr>
        <p:spPr>
          <a:xfrm>
            <a:off x="2532617" y="4463940"/>
            <a:ext cx="2184559"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36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Laravel </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TextBox 51">
            <a:extLst>
              <a:ext uri="{FF2B5EF4-FFF2-40B4-BE49-F238E27FC236}">
                <a16:creationId xmlns:a16="http://schemas.microsoft.com/office/drawing/2014/main" id="{E5BDFD78-2F93-4419-9F7B-845A4431D4BB}"/>
              </a:ext>
            </a:extLst>
          </p:cNvPr>
          <p:cNvSpPr txBox="1"/>
          <p:nvPr/>
        </p:nvSpPr>
        <p:spPr>
          <a:xfrm>
            <a:off x="2548452" y="4915456"/>
            <a:ext cx="2240671"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PHP Framework</a:t>
            </a:r>
            <a:endParaRPr kumimoji="0" lang="en-MY" sz="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TextBox 65">
            <a:extLst>
              <a:ext uri="{FF2B5EF4-FFF2-40B4-BE49-F238E27FC236}">
                <a16:creationId xmlns:a16="http://schemas.microsoft.com/office/drawing/2014/main" id="{0576673A-6031-4FAF-9899-FD6B6CF3F52D}"/>
              </a:ext>
            </a:extLst>
          </p:cNvPr>
          <p:cNvSpPr txBox="1"/>
          <p:nvPr/>
        </p:nvSpPr>
        <p:spPr>
          <a:xfrm>
            <a:off x="2527458" y="5232864"/>
            <a:ext cx="2095058"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Laravel is a PHP based backend framework. It based on MVC.</a:t>
            </a:r>
          </a:p>
        </p:txBody>
      </p:sp>
      <p:grpSp>
        <p:nvGrpSpPr>
          <p:cNvPr id="80" name="Group 79">
            <a:extLst>
              <a:ext uri="{FF2B5EF4-FFF2-40B4-BE49-F238E27FC236}">
                <a16:creationId xmlns:a16="http://schemas.microsoft.com/office/drawing/2014/main" id="{DEE947F0-A076-48AA-BC32-D455DE7B36BA}"/>
              </a:ext>
            </a:extLst>
          </p:cNvPr>
          <p:cNvGrpSpPr/>
          <p:nvPr/>
        </p:nvGrpSpPr>
        <p:grpSpPr>
          <a:xfrm>
            <a:off x="2727041" y="5968775"/>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81" name="Rectangle: Rounded Corners 80">
              <a:extLst>
                <a:ext uri="{FF2B5EF4-FFF2-40B4-BE49-F238E27FC236}">
                  <a16:creationId xmlns:a16="http://schemas.microsoft.com/office/drawing/2014/main" id="{0274C5AA-9F89-4B8A-81E7-CD0CF52CDCB7}"/>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82" name="TextBox 81">
              <a:extLst>
                <a:ext uri="{FF2B5EF4-FFF2-40B4-BE49-F238E27FC236}">
                  <a16:creationId xmlns:a16="http://schemas.microsoft.com/office/drawing/2014/main" id="{593FA130-E895-471C-9534-7A2041ABB43B}"/>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93" name="Rectangle: Rounded Corners 92">
            <a:extLst>
              <a:ext uri="{FF2B5EF4-FFF2-40B4-BE49-F238E27FC236}">
                <a16:creationId xmlns:a16="http://schemas.microsoft.com/office/drawing/2014/main" id="{17F12720-6762-45C2-B94D-35A720133112}"/>
              </a:ext>
            </a:extLst>
          </p:cNvPr>
          <p:cNvSpPr/>
          <p:nvPr/>
        </p:nvSpPr>
        <p:spPr>
          <a:xfrm>
            <a:off x="8728681" y="465992"/>
            <a:ext cx="964520" cy="94179"/>
          </a:xfrm>
          <a:prstGeom prst="roundRect">
            <a:avLst>
              <a:gd name="adj" fmla="val 50000"/>
            </a:avLst>
          </a:prstGeom>
          <a:solidFill>
            <a:srgbClr val="B499EB"/>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Rectangle: Rounded Corners 93">
            <a:extLst>
              <a:ext uri="{FF2B5EF4-FFF2-40B4-BE49-F238E27FC236}">
                <a16:creationId xmlns:a16="http://schemas.microsoft.com/office/drawing/2014/main" id="{34630F59-9129-4383-B5FB-032087DCEC36}"/>
              </a:ext>
            </a:extLst>
          </p:cNvPr>
          <p:cNvSpPr/>
          <p:nvPr/>
        </p:nvSpPr>
        <p:spPr>
          <a:xfrm>
            <a:off x="5969732" y="468908"/>
            <a:ext cx="964520" cy="94179"/>
          </a:xfrm>
          <a:prstGeom prst="roundRect">
            <a:avLst>
              <a:gd name="adj" fmla="val 50000"/>
            </a:avLst>
          </a:prstGeom>
          <a:solidFill>
            <a:srgbClr val="CA9DF5"/>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Rectangle: Rounded Corners 94">
            <a:extLst>
              <a:ext uri="{FF2B5EF4-FFF2-40B4-BE49-F238E27FC236}">
                <a16:creationId xmlns:a16="http://schemas.microsoft.com/office/drawing/2014/main" id="{3ADBE372-F0C1-45A2-81D9-EB621E963F7B}"/>
              </a:ext>
            </a:extLst>
          </p:cNvPr>
          <p:cNvSpPr/>
          <p:nvPr/>
        </p:nvSpPr>
        <p:spPr>
          <a:xfrm>
            <a:off x="3192518" y="473616"/>
            <a:ext cx="964520" cy="94179"/>
          </a:xfrm>
          <a:prstGeom prst="roundRect">
            <a:avLst>
              <a:gd name="adj" fmla="val 50000"/>
            </a:avLst>
          </a:prstGeom>
          <a:solidFill>
            <a:srgbClr val="CA9DF5"/>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 name="Picture 28">
            <a:extLst>
              <a:ext uri="{FF2B5EF4-FFF2-40B4-BE49-F238E27FC236}">
                <a16:creationId xmlns:a16="http://schemas.microsoft.com/office/drawing/2014/main" id="{AF9F9A33-2BB3-4D07-92A8-53BD666EB60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924428">
            <a:off x="7990098" y="1434355"/>
            <a:ext cx="3310844" cy="2672115"/>
          </a:xfrm>
          <a:prstGeom prst="rect">
            <a:avLst/>
          </a:prstGeom>
        </p:spPr>
      </p:pic>
      <p:pic>
        <p:nvPicPr>
          <p:cNvPr id="27" name="Picture 26">
            <a:extLst>
              <a:ext uri="{FF2B5EF4-FFF2-40B4-BE49-F238E27FC236}">
                <a16:creationId xmlns:a16="http://schemas.microsoft.com/office/drawing/2014/main" id="{C346F3FA-722A-4C2B-A0BD-468AA10D0B0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8055278" y="1853460"/>
            <a:ext cx="2450839" cy="1497734"/>
          </a:xfrm>
          <a:prstGeom prst="rect">
            <a:avLst/>
          </a:prstGeom>
        </p:spPr>
      </p:pic>
      <p:pic>
        <p:nvPicPr>
          <p:cNvPr id="104" name="Picture 103">
            <a:extLst>
              <a:ext uri="{FF2B5EF4-FFF2-40B4-BE49-F238E27FC236}">
                <a16:creationId xmlns:a16="http://schemas.microsoft.com/office/drawing/2014/main" id="{670918A6-9276-4A05-9DA1-8F2D3F9B2727}"/>
              </a:ext>
            </a:extLst>
          </p:cNvPr>
          <p:cNvPicPr>
            <a:picLocks noChangeAspect="1"/>
          </p:cNvPicPr>
          <p:nvPr/>
        </p:nvPicPr>
        <p:blipFill>
          <a:blip r:embed="rId13"/>
          <a:stretch>
            <a:fillRect/>
          </a:stretch>
        </p:blipFill>
        <p:spPr>
          <a:xfrm rot="19733165" flipH="1">
            <a:off x="5387952" y="719948"/>
            <a:ext cx="832518" cy="832518"/>
          </a:xfrm>
          <a:prstGeom prst="rect">
            <a:avLst/>
          </a:prstGeom>
        </p:spPr>
      </p:pic>
      <p:sp>
        <p:nvSpPr>
          <p:cNvPr id="108" name="Freeform: Shape 107">
            <a:extLst>
              <a:ext uri="{FF2B5EF4-FFF2-40B4-BE49-F238E27FC236}">
                <a16:creationId xmlns:a16="http://schemas.microsoft.com/office/drawing/2014/main" id="{FE044538-E8D8-4CC0-B54E-B8952C2B12A3}"/>
              </a:ext>
            </a:extLst>
          </p:cNvPr>
          <p:cNvSpPr/>
          <p:nvPr/>
        </p:nvSpPr>
        <p:spPr>
          <a:xfrm rot="20700000">
            <a:off x="2007522" y="841391"/>
            <a:ext cx="2546439" cy="4398090"/>
          </a:xfrm>
          <a:custGeom>
            <a:avLst/>
            <a:gdLst>
              <a:gd name="connsiteX0" fmla="*/ 2298694 w 2462684"/>
              <a:gd name="connsiteY0" fmla="*/ 4048436 h 4051070"/>
              <a:gd name="connsiteX1" fmla="*/ 2251069 w 2462684"/>
              <a:gd name="connsiteY1" fmla="*/ 3248336 h 4051070"/>
              <a:gd name="connsiteX2" fmla="*/ 1231894 w 2462684"/>
              <a:gd name="connsiteY2" fmla="*/ 2876861 h 4051070"/>
              <a:gd name="connsiteX3" fmla="*/ 822319 w 2462684"/>
              <a:gd name="connsiteY3" fmla="*/ 1914836 h 4051070"/>
              <a:gd name="connsiteX4" fmla="*/ 136519 w 2462684"/>
              <a:gd name="connsiteY4" fmla="*/ 1057586 h 4051070"/>
              <a:gd name="connsiteX5" fmla="*/ 22219 w 2462684"/>
              <a:gd name="connsiteY5" fmla="*/ 419411 h 4051070"/>
              <a:gd name="connsiteX6" fmla="*/ 431794 w 2462684"/>
              <a:gd name="connsiteY6" fmla="*/ 9836 h 4051070"/>
              <a:gd name="connsiteX7" fmla="*/ 1212844 w 2462684"/>
              <a:gd name="connsiteY7" fmla="*/ 828986 h 4051070"/>
              <a:gd name="connsiteX8" fmla="*/ 1460494 w 2462684"/>
              <a:gd name="connsiteY8" fmla="*/ 1933886 h 4051070"/>
              <a:gd name="connsiteX9" fmla="*/ 1536694 w 2462684"/>
              <a:gd name="connsiteY9" fmla="*/ 2543486 h 4051070"/>
              <a:gd name="connsiteX10" fmla="*/ 2422519 w 2462684"/>
              <a:gd name="connsiteY10" fmla="*/ 2953061 h 4051070"/>
              <a:gd name="connsiteX11" fmla="*/ 2298694 w 2462684"/>
              <a:gd name="connsiteY11" fmla="*/ 4048436 h 405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62684" h="4051070">
                <a:moveTo>
                  <a:pt x="2298694" y="4048436"/>
                </a:moveTo>
                <a:cubicBezTo>
                  <a:pt x="2270119" y="4097649"/>
                  <a:pt x="2428869" y="3443598"/>
                  <a:pt x="2251069" y="3248336"/>
                </a:cubicBezTo>
                <a:cubicBezTo>
                  <a:pt x="2073269" y="3053074"/>
                  <a:pt x="1470019" y="3099111"/>
                  <a:pt x="1231894" y="2876861"/>
                </a:cubicBezTo>
                <a:cubicBezTo>
                  <a:pt x="993769" y="2654611"/>
                  <a:pt x="1004881" y="2218048"/>
                  <a:pt x="822319" y="1914836"/>
                </a:cubicBezTo>
                <a:cubicBezTo>
                  <a:pt x="639757" y="1611624"/>
                  <a:pt x="269869" y="1306823"/>
                  <a:pt x="136519" y="1057586"/>
                </a:cubicBezTo>
                <a:cubicBezTo>
                  <a:pt x="3169" y="808349"/>
                  <a:pt x="-26994" y="594036"/>
                  <a:pt x="22219" y="419411"/>
                </a:cubicBezTo>
                <a:cubicBezTo>
                  <a:pt x="71431" y="244786"/>
                  <a:pt x="233357" y="-58426"/>
                  <a:pt x="431794" y="9836"/>
                </a:cubicBezTo>
                <a:cubicBezTo>
                  <a:pt x="630231" y="78098"/>
                  <a:pt x="1041394" y="508311"/>
                  <a:pt x="1212844" y="828986"/>
                </a:cubicBezTo>
                <a:cubicBezTo>
                  <a:pt x="1384294" y="1149661"/>
                  <a:pt x="1406519" y="1648136"/>
                  <a:pt x="1460494" y="1933886"/>
                </a:cubicBezTo>
                <a:cubicBezTo>
                  <a:pt x="1514469" y="2219636"/>
                  <a:pt x="1376357" y="2373624"/>
                  <a:pt x="1536694" y="2543486"/>
                </a:cubicBezTo>
                <a:cubicBezTo>
                  <a:pt x="1697031" y="2713348"/>
                  <a:pt x="2292344" y="2703823"/>
                  <a:pt x="2422519" y="2953061"/>
                </a:cubicBezTo>
                <a:cubicBezTo>
                  <a:pt x="2552694" y="3202298"/>
                  <a:pt x="2327269" y="3999223"/>
                  <a:pt x="2298694" y="4048436"/>
                </a:cubicBezTo>
                <a:close/>
              </a:path>
            </a:pathLst>
          </a:custGeom>
          <a:gradFill flip="none" rotWithShape="1">
            <a:gsLst>
              <a:gs pos="0">
                <a:srgbClr val="F5736A"/>
              </a:gs>
              <a:gs pos="50000">
                <a:srgbClr val="FF9C5A"/>
              </a:gs>
              <a:gs pos="100000">
                <a:srgbClr val="FFCF38"/>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Freeform: Shape 109">
            <a:extLst>
              <a:ext uri="{FF2B5EF4-FFF2-40B4-BE49-F238E27FC236}">
                <a16:creationId xmlns:a16="http://schemas.microsoft.com/office/drawing/2014/main" id="{C4D704E5-9BEF-45F4-B0B8-8EE183968BE0}"/>
              </a:ext>
            </a:extLst>
          </p:cNvPr>
          <p:cNvSpPr/>
          <p:nvPr/>
        </p:nvSpPr>
        <p:spPr>
          <a:xfrm rot="225839">
            <a:off x="5558764" y="783867"/>
            <a:ext cx="1999863" cy="3675326"/>
          </a:xfrm>
          <a:custGeom>
            <a:avLst/>
            <a:gdLst>
              <a:gd name="connsiteX0" fmla="*/ 590747 w 1999863"/>
              <a:gd name="connsiteY0" fmla="*/ 3569683 h 3675326"/>
              <a:gd name="connsiteX1" fmla="*/ 197 w 1999863"/>
              <a:gd name="connsiteY1" fmla="*/ 2931508 h 3675326"/>
              <a:gd name="connsiteX2" fmla="*/ 524072 w 1999863"/>
              <a:gd name="connsiteY2" fmla="*/ 2007583 h 3675326"/>
              <a:gd name="connsiteX3" fmla="*/ 447872 w 1999863"/>
              <a:gd name="connsiteY3" fmla="*/ 1321783 h 3675326"/>
              <a:gd name="connsiteX4" fmla="*/ 1286072 w 1999863"/>
              <a:gd name="connsiteY4" fmla="*/ 7333 h 3675326"/>
              <a:gd name="connsiteX5" fmla="*/ 1924247 w 1999863"/>
              <a:gd name="connsiteY5" fmla="*/ 893158 h 3675326"/>
              <a:gd name="connsiteX6" fmla="*/ 1943297 w 1999863"/>
              <a:gd name="connsiteY6" fmla="*/ 2979133 h 3675326"/>
              <a:gd name="connsiteX7" fmla="*/ 1524197 w 1999863"/>
              <a:gd name="connsiteY7" fmla="*/ 3617308 h 3675326"/>
              <a:gd name="connsiteX8" fmla="*/ 590747 w 1999863"/>
              <a:gd name="connsiteY8" fmla="*/ 3569683 h 3675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9863" h="3675326">
                <a:moveTo>
                  <a:pt x="590747" y="3569683"/>
                </a:moveTo>
                <a:cubicBezTo>
                  <a:pt x="336747" y="3455383"/>
                  <a:pt x="11309" y="3191858"/>
                  <a:pt x="197" y="2931508"/>
                </a:cubicBezTo>
                <a:cubicBezTo>
                  <a:pt x="-10915" y="2671158"/>
                  <a:pt x="449459" y="2275871"/>
                  <a:pt x="524072" y="2007583"/>
                </a:cubicBezTo>
                <a:cubicBezTo>
                  <a:pt x="598685" y="1739295"/>
                  <a:pt x="320872" y="1655158"/>
                  <a:pt x="447872" y="1321783"/>
                </a:cubicBezTo>
                <a:cubicBezTo>
                  <a:pt x="574872" y="988408"/>
                  <a:pt x="1040010" y="78770"/>
                  <a:pt x="1286072" y="7333"/>
                </a:cubicBezTo>
                <a:cubicBezTo>
                  <a:pt x="1532135" y="-64105"/>
                  <a:pt x="1814710" y="397858"/>
                  <a:pt x="1924247" y="893158"/>
                </a:cubicBezTo>
                <a:cubicBezTo>
                  <a:pt x="2033784" y="1388458"/>
                  <a:pt x="2009972" y="2525108"/>
                  <a:pt x="1943297" y="2979133"/>
                </a:cubicBezTo>
                <a:cubicBezTo>
                  <a:pt x="1876622" y="3433158"/>
                  <a:pt x="1752797" y="3520470"/>
                  <a:pt x="1524197" y="3617308"/>
                </a:cubicBezTo>
                <a:cubicBezTo>
                  <a:pt x="1295597" y="3714146"/>
                  <a:pt x="844747" y="3683983"/>
                  <a:pt x="590747" y="3569683"/>
                </a:cubicBezTo>
                <a:close/>
              </a:path>
            </a:pathLst>
          </a:custGeom>
          <a:gradFill flip="none" rotWithShape="1">
            <a:gsLst>
              <a:gs pos="0">
                <a:srgbClr val="C8A7F1"/>
              </a:gs>
              <a:gs pos="35000">
                <a:srgbClr val="C7ACF1"/>
              </a:gs>
              <a:gs pos="100000">
                <a:srgbClr val="D99FC6"/>
              </a:gs>
            </a:gsLst>
            <a:path path="circle">
              <a:fillToRect l="50000" t="-80000" r="50000" b="18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6" name="Picture 35">
            <a:extLst>
              <a:ext uri="{FF2B5EF4-FFF2-40B4-BE49-F238E27FC236}">
                <a16:creationId xmlns:a16="http://schemas.microsoft.com/office/drawing/2014/main" id="{E48A735C-6406-43F1-A57C-64F3141639C4}"/>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rot="1427628">
            <a:off x="5735324" y="1490395"/>
            <a:ext cx="1823403" cy="1823403"/>
          </a:xfrm>
          <a:prstGeom prst="rect">
            <a:avLst/>
          </a:prstGeom>
          <a:effectLst>
            <a:outerShdw blurRad="50800" dist="38100" dir="8100000" algn="tr" rotWithShape="0">
              <a:prstClr val="black">
                <a:alpha val="40000"/>
              </a:prstClr>
            </a:outerShdw>
          </a:effectLst>
        </p:spPr>
      </p:pic>
      <p:pic>
        <p:nvPicPr>
          <p:cNvPr id="33" name="Picture 32">
            <a:extLst>
              <a:ext uri="{FF2B5EF4-FFF2-40B4-BE49-F238E27FC236}">
                <a16:creationId xmlns:a16="http://schemas.microsoft.com/office/drawing/2014/main" id="{3E17733C-4F88-4C3B-A4EC-91D09014AAD4}"/>
              </a:ext>
            </a:extLst>
          </p:cNvPr>
          <p:cNvPicPr>
            <a:picLocks noChangeAspect="1"/>
          </p:cNvPicPr>
          <p:nvPr/>
        </p:nvPicPr>
        <p:blipFill>
          <a:blip r:embed="rId13"/>
          <a:stretch>
            <a:fillRect/>
          </a:stretch>
        </p:blipFill>
        <p:spPr>
          <a:xfrm rot="1044862">
            <a:off x="6420984" y="3393700"/>
            <a:ext cx="1245442" cy="1245442"/>
          </a:xfrm>
          <a:prstGeom prst="rect">
            <a:avLst/>
          </a:prstGeom>
        </p:spPr>
      </p:pic>
      <p:sp>
        <p:nvSpPr>
          <p:cNvPr id="112" name="Rectangle: Rounded Corners 111">
            <a:extLst>
              <a:ext uri="{FF2B5EF4-FFF2-40B4-BE49-F238E27FC236}">
                <a16:creationId xmlns:a16="http://schemas.microsoft.com/office/drawing/2014/main" id="{E23BAAC4-8054-4F35-9F15-A815F1A05132}"/>
              </a:ext>
            </a:extLst>
          </p:cNvPr>
          <p:cNvSpPr/>
          <p:nvPr/>
        </p:nvSpPr>
        <p:spPr>
          <a:xfrm>
            <a:off x="359404" y="4350975"/>
            <a:ext cx="471367" cy="449125"/>
          </a:xfrm>
          <a:prstGeom prst="roundRect">
            <a:avLst>
              <a:gd name="adj" fmla="val 50000"/>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Rectangle: Rounded Corners 112">
            <a:extLst>
              <a:ext uri="{FF2B5EF4-FFF2-40B4-BE49-F238E27FC236}">
                <a16:creationId xmlns:a16="http://schemas.microsoft.com/office/drawing/2014/main" id="{089C133F-FC53-4196-A648-EBC70B672CC1}"/>
              </a:ext>
            </a:extLst>
          </p:cNvPr>
          <p:cNvSpPr/>
          <p:nvPr/>
        </p:nvSpPr>
        <p:spPr>
          <a:xfrm>
            <a:off x="359404" y="5016004"/>
            <a:ext cx="471367" cy="449125"/>
          </a:xfrm>
          <a:prstGeom prst="roundRect">
            <a:avLst>
              <a:gd name="adj" fmla="val 50000"/>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Rectangle: Rounded Corners 113">
            <a:extLst>
              <a:ext uri="{FF2B5EF4-FFF2-40B4-BE49-F238E27FC236}">
                <a16:creationId xmlns:a16="http://schemas.microsoft.com/office/drawing/2014/main" id="{DCC282A2-C224-4775-A850-BED7A03FBAF5}"/>
              </a:ext>
            </a:extLst>
          </p:cNvPr>
          <p:cNvSpPr/>
          <p:nvPr/>
        </p:nvSpPr>
        <p:spPr>
          <a:xfrm>
            <a:off x="355523" y="5659932"/>
            <a:ext cx="471367" cy="797983"/>
          </a:xfrm>
          <a:prstGeom prst="roundRect">
            <a:avLst>
              <a:gd name="adj" fmla="val 34094"/>
            </a:avLst>
          </a:prstGeom>
          <a:solidFill>
            <a:srgbClr val="A776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5" name="Graphic 114" descr="Home with solid fill">
            <a:extLst>
              <a:ext uri="{FF2B5EF4-FFF2-40B4-BE49-F238E27FC236}">
                <a16:creationId xmlns:a16="http://schemas.microsoft.com/office/drawing/2014/main" id="{75BE31BD-D8B3-479E-8E39-A104CDA6FE0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30962" y="6053701"/>
            <a:ext cx="320489" cy="320489"/>
          </a:xfrm>
          <a:prstGeom prst="rect">
            <a:avLst/>
          </a:prstGeom>
        </p:spPr>
      </p:pic>
      <p:pic>
        <p:nvPicPr>
          <p:cNvPr id="116" name="Graphic 115" descr="Caret Up with solid fill">
            <a:extLst>
              <a:ext uri="{FF2B5EF4-FFF2-40B4-BE49-F238E27FC236}">
                <a16:creationId xmlns:a16="http://schemas.microsoft.com/office/drawing/2014/main" id="{70BAFC51-902A-4E7D-B2C3-2CB0B32889D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98917" y="4371480"/>
            <a:ext cx="392341" cy="392341"/>
          </a:xfrm>
          <a:prstGeom prst="rect">
            <a:avLst/>
          </a:prstGeom>
        </p:spPr>
      </p:pic>
      <p:pic>
        <p:nvPicPr>
          <p:cNvPr id="117" name="Graphic 116" descr="Caret Up with solid fill">
            <a:extLst>
              <a:ext uri="{FF2B5EF4-FFF2-40B4-BE49-F238E27FC236}">
                <a16:creationId xmlns:a16="http://schemas.microsoft.com/office/drawing/2014/main" id="{D08D556C-ABC4-4606-B93C-2D6E2ECA01A2}"/>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flipV="1">
            <a:off x="398917" y="5055300"/>
            <a:ext cx="392341" cy="392341"/>
          </a:xfrm>
          <a:prstGeom prst="rect">
            <a:avLst/>
          </a:prstGeom>
        </p:spPr>
      </p:pic>
      <p:pic>
        <p:nvPicPr>
          <p:cNvPr id="78" name="Picture 77">
            <a:extLst>
              <a:ext uri="{FF2B5EF4-FFF2-40B4-BE49-F238E27FC236}">
                <a16:creationId xmlns:a16="http://schemas.microsoft.com/office/drawing/2014/main" id="{E1F13F60-5EA2-4167-80BE-C378C44D76F7}"/>
              </a:ext>
            </a:extLst>
          </p:cNvPr>
          <p:cNvPicPr>
            <a:picLocks noChangeAspect="1"/>
          </p:cNvPicPr>
          <p:nvPr/>
        </p:nvPicPr>
        <p:blipFill>
          <a:blip r:embed="rId19">
            <a:extLst>
              <a:ext uri="{28A0092B-C50C-407E-A947-70E740481C1C}">
                <a14:useLocalDpi xmlns:a14="http://schemas.microsoft.com/office/drawing/2010/main" val="0"/>
              </a:ext>
            </a:extLst>
          </a:blip>
          <a:srcRect/>
          <a:stretch/>
        </p:blipFill>
        <p:spPr>
          <a:xfrm rot="20700000">
            <a:off x="2641407" y="1430369"/>
            <a:ext cx="2099885" cy="2091074"/>
          </a:xfrm>
          <a:prstGeom prst="rect">
            <a:avLst/>
          </a:prstGeom>
        </p:spPr>
      </p:pic>
    </p:spTree>
    <p:extLst>
      <p:ext uri="{BB962C8B-B14F-4D97-AF65-F5344CB8AC3E}">
        <p14:creationId xmlns:p14="http://schemas.microsoft.com/office/powerpoint/2010/main" val="594702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E8B9359-5B8D-42D8-8D71-381018F24C77}"/>
              </a:ext>
            </a:extLst>
          </p:cNvPr>
          <p:cNvPicPr>
            <a:picLocks noChangeAspect="1"/>
          </p:cNvPicPr>
          <p:nvPr/>
        </p:nvPicPr>
        <p:blipFill rotWithShape="1">
          <a:blip r:embed="rId2"/>
          <a:srcRect l="4818" t="13929" r="11068" b="15870"/>
          <a:stretch/>
        </p:blipFill>
        <p:spPr>
          <a:xfrm>
            <a:off x="0" y="1"/>
            <a:ext cx="12192000" cy="6857999"/>
          </a:xfrm>
          <a:prstGeom prst="rect">
            <a:avLst/>
          </a:prstGeom>
        </p:spPr>
      </p:pic>
      <p:pic>
        <p:nvPicPr>
          <p:cNvPr id="5" name="Picture 4">
            <a:extLst>
              <a:ext uri="{FF2B5EF4-FFF2-40B4-BE49-F238E27FC236}">
                <a16:creationId xmlns:a16="http://schemas.microsoft.com/office/drawing/2014/main" id="{59EC0469-F0EB-4FA6-A663-0F1171475995}"/>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1110" t="1548" r="91086" b="2540"/>
          <a:stretch/>
        </p:blipFill>
        <p:spPr>
          <a:xfrm>
            <a:off x="135166" y="106342"/>
            <a:ext cx="951535" cy="6577488"/>
          </a:xfrm>
          <a:prstGeom prst="roundRect">
            <a:avLst>
              <a:gd name="adj" fmla="val 33164"/>
            </a:avLst>
          </a:prstGeom>
          <a:noFill/>
          <a:ln>
            <a:noFill/>
          </a:ln>
          <a:effectLst>
            <a:outerShdw blurRad="635000" dist="215900" dir="7200000" algn="ctr" rotWithShape="0">
              <a:schemeClr val="tx1">
                <a:lumMod val="50000"/>
                <a:lumOff val="50000"/>
                <a:alpha val="43000"/>
              </a:schemeClr>
            </a:outerShdw>
          </a:effectLst>
        </p:spPr>
      </p:pic>
      <p:pic>
        <p:nvPicPr>
          <p:cNvPr id="37" name="Picture 36">
            <a:extLst>
              <a:ext uri="{FF2B5EF4-FFF2-40B4-BE49-F238E27FC236}">
                <a16:creationId xmlns:a16="http://schemas.microsoft.com/office/drawing/2014/main" id="{F4D43D9A-CA01-4EA3-9C34-9479F0A7004D}"/>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33493" t="-136676" r="-3966" b="113843"/>
          <a:stretch/>
        </p:blipFill>
        <p:spPr>
          <a:xfrm>
            <a:off x="4083528" y="-9372600"/>
            <a:ext cx="8592335" cy="8423605"/>
          </a:xfrm>
          <a:prstGeom prst="roundRect">
            <a:avLst>
              <a:gd name="adj" fmla="val 4648"/>
            </a:avLst>
          </a:prstGeom>
          <a:noFill/>
          <a:ln>
            <a:noFill/>
          </a:ln>
          <a:effectLst>
            <a:outerShdw blurRad="635000" dist="215900" dir="7200000" algn="ctr" rotWithShape="0">
              <a:schemeClr val="tx1">
                <a:lumMod val="50000"/>
                <a:lumOff val="50000"/>
                <a:alpha val="43000"/>
              </a:schemeClr>
            </a:outerShdw>
          </a:effectLst>
        </p:spPr>
      </p:pic>
      <p:sp>
        <p:nvSpPr>
          <p:cNvPr id="54" name="TextBox 53">
            <a:extLst>
              <a:ext uri="{FF2B5EF4-FFF2-40B4-BE49-F238E27FC236}">
                <a16:creationId xmlns:a16="http://schemas.microsoft.com/office/drawing/2014/main" id="{29B54383-2597-40B9-B80A-9986488CEA4A}"/>
              </a:ext>
            </a:extLst>
          </p:cNvPr>
          <p:cNvSpPr txBox="1"/>
          <p:nvPr/>
        </p:nvSpPr>
        <p:spPr>
          <a:xfrm rot="5400000">
            <a:off x="-394831" y="1947097"/>
            <a:ext cx="205617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800" b="1" i="0" u="none" strike="noStrike" kern="1200" cap="none" spc="0" normalizeH="0" baseline="0" noProof="0" dirty="0">
                <a:ln>
                  <a:noFill/>
                </a:ln>
                <a:solidFill>
                  <a:srgbClr val="A776D9"/>
                </a:solidFill>
                <a:effectLst/>
                <a:uLnTx/>
                <a:uFillTx/>
                <a:latin typeface="Century Gothic" panose="020B0502020202020204" pitchFamily="34" charset="0"/>
                <a:ea typeface="+mn-ea"/>
                <a:cs typeface="+mn-cs"/>
              </a:rPr>
              <a:t>Relax. </a:t>
            </a:r>
          </a:p>
        </p:txBody>
      </p:sp>
      <p:pic>
        <p:nvPicPr>
          <p:cNvPr id="46" name="oppo">
            <a:extLst>
              <a:ext uri="{FF2B5EF4-FFF2-40B4-BE49-F238E27FC236}">
                <a16:creationId xmlns:a16="http://schemas.microsoft.com/office/drawing/2014/main" id="{B346AF4A-3381-4BD7-9BDB-7032FEB6E9EA}"/>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164820" t="6551" r="-87820" b="6987"/>
          <a:stretch/>
        </p:blipFill>
        <p:spPr>
          <a:xfrm>
            <a:off x="20397083" y="377318"/>
            <a:ext cx="2877294" cy="6082834"/>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pic>
        <p:nvPicPr>
          <p:cNvPr id="45" name="samsung">
            <a:extLst>
              <a:ext uri="{FF2B5EF4-FFF2-40B4-BE49-F238E27FC236}">
                <a16:creationId xmlns:a16="http://schemas.microsoft.com/office/drawing/2014/main" id="{B361528D-29D6-42DE-BA45-22F10A33F8B0}"/>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121712" t="5498" r="-44048" b="5802"/>
          <a:stretch/>
        </p:blipFill>
        <p:spPr>
          <a:xfrm>
            <a:off x="14840428" y="377317"/>
            <a:ext cx="2723672" cy="6082835"/>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pic>
        <p:nvPicPr>
          <p:cNvPr id="71" name="Picture 70">
            <a:extLst>
              <a:ext uri="{FF2B5EF4-FFF2-40B4-BE49-F238E27FC236}">
                <a16:creationId xmlns:a16="http://schemas.microsoft.com/office/drawing/2014/main" id="{75CF27DD-3E20-45B8-A828-9CE14A072F53}"/>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14954" t="5497" r="52300" b="5802"/>
          <a:stretch/>
        </p:blipFill>
        <p:spPr>
          <a:xfrm>
            <a:off x="1822272" y="377317"/>
            <a:ext cx="3993031" cy="6082836"/>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sp>
        <p:nvSpPr>
          <p:cNvPr id="67" name="TextBox 66">
            <a:extLst>
              <a:ext uri="{FF2B5EF4-FFF2-40B4-BE49-F238E27FC236}">
                <a16:creationId xmlns:a16="http://schemas.microsoft.com/office/drawing/2014/main" id="{6949D7E2-6FF0-4F2A-A0CC-32AF305940B8}"/>
              </a:ext>
            </a:extLst>
          </p:cNvPr>
          <p:cNvSpPr txBox="1"/>
          <p:nvPr/>
        </p:nvSpPr>
        <p:spPr>
          <a:xfrm>
            <a:off x="13276748" y="4377658"/>
            <a:ext cx="2184559"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MySQL</a:t>
            </a:r>
            <a:endParaRPr kumimoji="0" lang="en-MY"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TextBox 68">
            <a:extLst>
              <a:ext uri="{FF2B5EF4-FFF2-40B4-BE49-F238E27FC236}">
                <a16:creationId xmlns:a16="http://schemas.microsoft.com/office/drawing/2014/main" id="{CF847EF9-1789-4C48-99AE-3A58281E6F8C}"/>
              </a:ext>
            </a:extLst>
          </p:cNvPr>
          <p:cNvSpPr txBox="1"/>
          <p:nvPr/>
        </p:nvSpPr>
        <p:spPr>
          <a:xfrm>
            <a:off x="13308426" y="4910216"/>
            <a:ext cx="2152881"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Some money</a:t>
            </a:r>
            <a:endParaRPr kumimoji="0" lang="en-MY" sz="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TextBox 69">
            <a:extLst>
              <a:ext uri="{FF2B5EF4-FFF2-40B4-BE49-F238E27FC236}">
                <a16:creationId xmlns:a16="http://schemas.microsoft.com/office/drawing/2014/main" id="{9A079DBA-C4FC-43E7-B4DB-B9BF2C6715EE}"/>
              </a:ext>
            </a:extLst>
          </p:cNvPr>
          <p:cNvSpPr txBox="1"/>
          <p:nvPr/>
        </p:nvSpPr>
        <p:spPr>
          <a:xfrm>
            <a:off x="13284561" y="5228153"/>
            <a:ext cx="2294642"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Lalisa</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in the house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yooooo</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Drop some money, dropping some money yeah…</a:t>
            </a:r>
          </a:p>
        </p:txBody>
      </p:sp>
      <p:sp>
        <p:nvSpPr>
          <p:cNvPr id="72" name="TextBox 71">
            <a:extLst>
              <a:ext uri="{FF2B5EF4-FFF2-40B4-BE49-F238E27FC236}">
                <a16:creationId xmlns:a16="http://schemas.microsoft.com/office/drawing/2014/main" id="{722DC1A7-94D5-4F66-B387-D765AFC82A68}"/>
              </a:ext>
            </a:extLst>
          </p:cNvPr>
          <p:cNvSpPr txBox="1"/>
          <p:nvPr/>
        </p:nvSpPr>
        <p:spPr>
          <a:xfrm>
            <a:off x="23604240" y="4474851"/>
            <a:ext cx="2444400"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3600" b="1" i="0" u="none" strike="noStrike" kern="1200" cap="none" spc="0" normalizeH="0" baseline="0" noProof="0" dirty="0" err="1">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Tailwindcss</a:t>
            </a:r>
            <a:endParaRPr kumimoji="0" lang="en-MY" sz="3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36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 On</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TextBox 72">
            <a:extLst>
              <a:ext uri="{FF2B5EF4-FFF2-40B4-BE49-F238E27FC236}">
                <a16:creationId xmlns:a16="http://schemas.microsoft.com/office/drawing/2014/main" id="{B21CF52B-E9F7-45B2-A896-9E8A7852CA7B}"/>
              </a:ext>
            </a:extLst>
          </p:cNvPr>
          <p:cNvSpPr txBox="1"/>
          <p:nvPr/>
        </p:nvSpPr>
        <p:spPr>
          <a:xfrm>
            <a:off x="23656756" y="4925605"/>
            <a:ext cx="263447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Glassmorphism</a:t>
            </a:r>
            <a:endParaRPr kumimoji="0" lang="en-MY"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TextBox 73">
            <a:extLst>
              <a:ext uri="{FF2B5EF4-FFF2-40B4-BE49-F238E27FC236}">
                <a16:creationId xmlns:a16="http://schemas.microsoft.com/office/drawing/2014/main" id="{349DD8A8-CE49-4389-9560-82F5328D35D9}"/>
              </a:ext>
            </a:extLst>
          </p:cNvPr>
          <p:cNvSpPr txBox="1"/>
          <p:nvPr/>
        </p:nvSpPr>
        <p:spPr>
          <a:xfrm>
            <a:off x="23679119" y="5229045"/>
            <a:ext cx="2294642"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Saya suka ikan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masin</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sekian</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terima</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kasih</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a:t>
            </a:r>
          </a:p>
        </p:txBody>
      </p:sp>
      <p:grpSp>
        <p:nvGrpSpPr>
          <p:cNvPr id="83" name="Group 82">
            <a:extLst>
              <a:ext uri="{FF2B5EF4-FFF2-40B4-BE49-F238E27FC236}">
                <a16:creationId xmlns:a16="http://schemas.microsoft.com/office/drawing/2014/main" id="{D4531BAF-8C94-4D9A-9C18-9C68761E7D75}"/>
              </a:ext>
            </a:extLst>
          </p:cNvPr>
          <p:cNvGrpSpPr/>
          <p:nvPr/>
        </p:nvGrpSpPr>
        <p:grpSpPr>
          <a:xfrm>
            <a:off x="13523884" y="5990204"/>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84" name="Rectangle: Rounded Corners 83">
              <a:extLst>
                <a:ext uri="{FF2B5EF4-FFF2-40B4-BE49-F238E27FC236}">
                  <a16:creationId xmlns:a16="http://schemas.microsoft.com/office/drawing/2014/main" id="{440C12BD-E605-43AF-8A3E-DED7A83F41F6}"/>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85" name="TextBox 84">
              <a:extLst>
                <a:ext uri="{FF2B5EF4-FFF2-40B4-BE49-F238E27FC236}">
                  <a16:creationId xmlns:a16="http://schemas.microsoft.com/office/drawing/2014/main" id="{308E08D7-0733-4FFF-AFF5-57A21B159451}"/>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86" name="Group 85">
            <a:extLst>
              <a:ext uri="{FF2B5EF4-FFF2-40B4-BE49-F238E27FC236}">
                <a16:creationId xmlns:a16="http://schemas.microsoft.com/office/drawing/2014/main" id="{1902AA37-DF08-4C67-8A1E-7261EA62742F}"/>
              </a:ext>
            </a:extLst>
          </p:cNvPr>
          <p:cNvGrpSpPr/>
          <p:nvPr/>
        </p:nvGrpSpPr>
        <p:grpSpPr>
          <a:xfrm>
            <a:off x="25343497" y="5990204"/>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87" name="Rectangle: Rounded Corners 86">
              <a:extLst>
                <a:ext uri="{FF2B5EF4-FFF2-40B4-BE49-F238E27FC236}">
                  <a16:creationId xmlns:a16="http://schemas.microsoft.com/office/drawing/2014/main" id="{A366AE2D-371B-4717-9F22-845F46BA1426}"/>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88" name="TextBox 87">
              <a:extLst>
                <a:ext uri="{FF2B5EF4-FFF2-40B4-BE49-F238E27FC236}">
                  <a16:creationId xmlns:a16="http://schemas.microsoft.com/office/drawing/2014/main" id="{5EC4DBBD-84FD-413F-BB9A-B226CC352BD5}"/>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50" name="TextBox 49">
            <a:extLst>
              <a:ext uri="{FF2B5EF4-FFF2-40B4-BE49-F238E27FC236}">
                <a16:creationId xmlns:a16="http://schemas.microsoft.com/office/drawing/2014/main" id="{4AE84F63-2E09-4BA3-8452-32B260CAF7FB}"/>
              </a:ext>
            </a:extLst>
          </p:cNvPr>
          <p:cNvSpPr txBox="1"/>
          <p:nvPr/>
        </p:nvSpPr>
        <p:spPr>
          <a:xfrm>
            <a:off x="1935638" y="4463940"/>
            <a:ext cx="2939380"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000" b="1" i="0" u="none" strike="noStrike" kern="1200" cap="none" spc="0" normalizeH="0" baseline="0" noProof="0" dirty="0" err="1">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Tailwindcss</a:t>
            </a:r>
            <a:r>
              <a:rPr kumimoji="0" lang="en-MY" sz="4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 </a:t>
            </a:r>
            <a:endParaRPr kumimoji="0" lang="en-MY"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TextBox 51">
            <a:extLst>
              <a:ext uri="{FF2B5EF4-FFF2-40B4-BE49-F238E27FC236}">
                <a16:creationId xmlns:a16="http://schemas.microsoft.com/office/drawing/2014/main" id="{E5BDFD78-2F93-4419-9F7B-845A4431D4BB}"/>
              </a:ext>
            </a:extLst>
          </p:cNvPr>
          <p:cNvSpPr txBox="1"/>
          <p:nvPr/>
        </p:nvSpPr>
        <p:spPr>
          <a:xfrm>
            <a:off x="1979648" y="4977658"/>
            <a:ext cx="2240671"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CSS Utility</a:t>
            </a:r>
            <a:endParaRPr kumimoji="0" lang="en-MY" sz="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TextBox 65">
            <a:extLst>
              <a:ext uri="{FF2B5EF4-FFF2-40B4-BE49-F238E27FC236}">
                <a16:creationId xmlns:a16="http://schemas.microsoft.com/office/drawing/2014/main" id="{0576673A-6031-4FAF-9899-FD6B6CF3F52D}"/>
              </a:ext>
            </a:extLst>
          </p:cNvPr>
          <p:cNvSpPr txBox="1"/>
          <p:nvPr/>
        </p:nvSpPr>
        <p:spPr>
          <a:xfrm>
            <a:off x="1969686" y="5287512"/>
            <a:ext cx="279683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Tailwindcss</a:t>
            </a:r>
            <a:r>
              <a:rPr kumimoji="0" lang="en-MY" sz="12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is a </a:t>
            </a:r>
            <a:r>
              <a:rPr kumimoji="0" lang="en-MY" sz="12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css</a:t>
            </a:r>
            <a:r>
              <a:rPr kumimoji="0" lang="en-MY" sz="12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utility framework which has so many classes and attribute to make designing easy.</a:t>
            </a:r>
          </a:p>
        </p:txBody>
      </p:sp>
      <p:grpSp>
        <p:nvGrpSpPr>
          <p:cNvPr id="80" name="Group 79">
            <a:extLst>
              <a:ext uri="{FF2B5EF4-FFF2-40B4-BE49-F238E27FC236}">
                <a16:creationId xmlns:a16="http://schemas.microsoft.com/office/drawing/2014/main" id="{DEE947F0-A076-48AA-BC32-D455DE7B36BA}"/>
              </a:ext>
            </a:extLst>
          </p:cNvPr>
          <p:cNvGrpSpPr/>
          <p:nvPr/>
        </p:nvGrpSpPr>
        <p:grpSpPr>
          <a:xfrm>
            <a:off x="2871050" y="5968775"/>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81" name="Rectangle: Rounded Corners 80">
              <a:extLst>
                <a:ext uri="{FF2B5EF4-FFF2-40B4-BE49-F238E27FC236}">
                  <a16:creationId xmlns:a16="http://schemas.microsoft.com/office/drawing/2014/main" id="{0274C5AA-9F89-4B8A-81E7-CD0CF52CDCB7}"/>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82" name="TextBox 81">
              <a:extLst>
                <a:ext uri="{FF2B5EF4-FFF2-40B4-BE49-F238E27FC236}">
                  <a16:creationId xmlns:a16="http://schemas.microsoft.com/office/drawing/2014/main" id="{593FA130-E895-471C-9534-7A2041ABB43B}"/>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93" name="Rectangle: Rounded Corners 92">
            <a:extLst>
              <a:ext uri="{FF2B5EF4-FFF2-40B4-BE49-F238E27FC236}">
                <a16:creationId xmlns:a16="http://schemas.microsoft.com/office/drawing/2014/main" id="{17F12720-6762-45C2-B94D-35A720133112}"/>
              </a:ext>
            </a:extLst>
          </p:cNvPr>
          <p:cNvSpPr/>
          <p:nvPr/>
        </p:nvSpPr>
        <p:spPr>
          <a:xfrm>
            <a:off x="21677525" y="465992"/>
            <a:ext cx="964520" cy="94179"/>
          </a:xfrm>
          <a:prstGeom prst="roundRect">
            <a:avLst>
              <a:gd name="adj" fmla="val 50000"/>
            </a:avLst>
          </a:prstGeom>
          <a:solidFill>
            <a:srgbClr val="B499EB"/>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Rectangle: Rounded Corners 93">
            <a:extLst>
              <a:ext uri="{FF2B5EF4-FFF2-40B4-BE49-F238E27FC236}">
                <a16:creationId xmlns:a16="http://schemas.microsoft.com/office/drawing/2014/main" id="{34630F59-9129-4383-B5FB-032087DCEC36}"/>
              </a:ext>
            </a:extLst>
          </p:cNvPr>
          <p:cNvSpPr/>
          <p:nvPr/>
        </p:nvSpPr>
        <p:spPr>
          <a:xfrm>
            <a:off x="13599677" y="468908"/>
            <a:ext cx="964520" cy="94179"/>
          </a:xfrm>
          <a:prstGeom prst="roundRect">
            <a:avLst>
              <a:gd name="adj" fmla="val 50000"/>
            </a:avLst>
          </a:prstGeom>
          <a:solidFill>
            <a:srgbClr val="CA9DF5"/>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Rectangle: Rounded Corners 94">
            <a:extLst>
              <a:ext uri="{FF2B5EF4-FFF2-40B4-BE49-F238E27FC236}">
                <a16:creationId xmlns:a16="http://schemas.microsoft.com/office/drawing/2014/main" id="{3ADBE372-F0C1-45A2-81D9-EB621E963F7B}"/>
              </a:ext>
            </a:extLst>
          </p:cNvPr>
          <p:cNvSpPr/>
          <p:nvPr/>
        </p:nvSpPr>
        <p:spPr>
          <a:xfrm>
            <a:off x="3336527" y="473616"/>
            <a:ext cx="964520" cy="94179"/>
          </a:xfrm>
          <a:prstGeom prst="roundRect">
            <a:avLst>
              <a:gd name="adj" fmla="val 50000"/>
            </a:avLst>
          </a:prstGeom>
          <a:solidFill>
            <a:srgbClr val="CA9DF5"/>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 name="Picture 28">
            <a:extLst>
              <a:ext uri="{FF2B5EF4-FFF2-40B4-BE49-F238E27FC236}">
                <a16:creationId xmlns:a16="http://schemas.microsoft.com/office/drawing/2014/main" id="{AF9F9A33-2BB3-4D07-92A8-53BD666EB60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924428">
            <a:off x="20339882" y="1434355"/>
            <a:ext cx="3310844" cy="2672115"/>
          </a:xfrm>
          <a:prstGeom prst="rect">
            <a:avLst/>
          </a:prstGeom>
        </p:spPr>
      </p:pic>
      <p:pic>
        <p:nvPicPr>
          <p:cNvPr id="104" name="Picture 103">
            <a:extLst>
              <a:ext uri="{FF2B5EF4-FFF2-40B4-BE49-F238E27FC236}">
                <a16:creationId xmlns:a16="http://schemas.microsoft.com/office/drawing/2014/main" id="{670918A6-9276-4A05-9DA1-8F2D3F9B2727}"/>
              </a:ext>
            </a:extLst>
          </p:cNvPr>
          <p:cNvPicPr>
            <a:picLocks noChangeAspect="1"/>
          </p:cNvPicPr>
          <p:nvPr/>
        </p:nvPicPr>
        <p:blipFill>
          <a:blip r:embed="rId6"/>
          <a:stretch>
            <a:fillRect/>
          </a:stretch>
        </p:blipFill>
        <p:spPr>
          <a:xfrm rot="19733165" flipH="1">
            <a:off x="12915870" y="719948"/>
            <a:ext cx="832518" cy="832518"/>
          </a:xfrm>
          <a:prstGeom prst="rect">
            <a:avLst/>
          </a:prstGeom>
        </p:spPr>
      </p:pic>
      <p:sp>
        <p:nvSpPr>
          <p:cNvPr id="108" name="Freeform: Shape 107">
            <a:extLst>
              <a:ext uri="{FF2B5EF4-FFF2-40B4-BE49-F238E27FC236}">
                <a16:creationId xmlns:a16="http://schemas.microsoft.com/office/drawing/2014/main" id="{FE044538-E8D8-4CC0-B54E-B8952C2B12A3}"/>
              </a:ext>
            </a:extLst>
          </p:cNvPr>
          <p:cNvSpPr/>
          <p:nvPr/>
        </p:nvSpPr>
        <p:spPr>
          <a:xfrm rot="20700000">
            <a:off x="2146200" y="735885"/>
            <a:ext cx="3209150" cy="5556959"/>
          </a:xfrm>
          <a:custGeom>
            <a:avLst/>
            <a:gdLst>
              <a:gd name="connsiteX0" fmla="*/ 2298694 w 2462684"/>
              <a:gd name="connsiteY0" fmla="*/ 4048436 h 4051070"/>
              <a:gd name="connsiteX1" fmla="*/ 2251069 w 2462684"/>
              <a:gd name="connsiteY1" fmla="*/ 3248336 h 4051070"/>
              <a:gd name="connsiteX2" fmla="*/ 1231894 w 2462684"/>
              <a:gd name="connsiteY2" fmla="*/ 2876861 h 4051070"/>
              <a:gd name="connsiteX3" fmla="*/ 822319 w 2462684"/>
              <a:gd name="connsiteY3" fmla="*/ 1914836 h 4051070"/>
              <a:gd name="connsiteX4" fmla="*/ 136519 w 2462684"/>
              <a:gd name="connsiteY4" fmla="*/ 1057586 h 4051070"/>
              <a:gd name="connsiteX5" fmla="*/ 22219 w 2462684"/>
              <a:gd name="connsiteY5" fmla="*/ 419411 h 4051070"/>
              <a:gd name="connsiteX6" fmla="*/ 431794 w 2462684"/>
              <a:gd name="connsiteY6" fmla="*/ 9836 h 4051070"/>
              <a:gd name="connsiteX7" fmla="*/ 1212844 w 2462684"/>
              <a:gd name="connsiteY7" fmla="*/ 828986 h 4051070"/>
              <a:gd name="connsiteX8" fmla="*/ 1460494 w 2462684"/>
              <a:gd name="connsiteY8" fmla="*/ 1933886 h 4051070"/>
              <a:gd name="connsiteX9" fmla="*/ 1536694 w 2462684"/>
              <a:gd name="connsiteY9" fmla="*/ 2543486 h 4051070"/>
              <a:gd name="connsiteX10" fmla="*/ 2422519 w 2462684"/>
              <a:gd name="connsiteY10" fmla="*/ 2953061 h 4051070"/>
              <a:gd name="connsiteX11" fmla="*/ 2298694 w 2462684"/>
              <a:gd name="connsiteY11" fmla="*/ 4048436 h 405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62684" h="4051070">
                <a:moveTo>
                  <a:pt x="2298694" y="4048436"/>
                </a:moveTo>
                <a:cubicBezTo>
                  <a:pt x="2270119" y="4097649"/>
                  <a:pt x="2428869" y="3443598"/>
                  <a:pt x="2251069" y="3248336"/>
                </a:cubicBezTo>
                <a:cubicBezTo>
                  <a:pt x="2073269" y="3053074"/>
                  <a:pt x="1470019" y="3099111"/>
                  <a:pt x="1231894" y="2876861"/>
                </a:cubicBezTo>
                <a:cubicBezTo>
                  <a:pt x="993769" y="2654611"/>
                  <a:pt x="1004881" y="2218048"/>
                  <a:pt x="822319" y="1914836"/>
                </a:cubicBezTo>
                <a:cubicBezTo>
                  <a:pt x="639757" y="1611624"/>
                  <a:pt x="269869" y="1306823"/>
                  <a:pt x="136519" y="1057586"/>
                </a:cubicBezTo>
                <a:cubicBezTo>
                  <a:pt x="3169" y="808349"/>
                  <a:pt x="-26994" y="594036"/>
                  <a:pt x="22219" y="419411"/>
                </a:cubicBezTo>
                <a:cubicBezTo>
                  <a:pt x="71431" y="244786"/>
                  <a:pt x="233357" y="-58426"/>
                  <a:pt x="431794" y="9836"/>
                </a:cubicBezTo>
                <a:cubicBezTo>
                  <a:pt x="630231" y="78098"/>
                  <a:pt x="1041394" y="508311"/>
                  <a:pt x="1212844" y="828986"/>
                </a:cubicBezTo>
                <a:cubicBezTo>
                  <a:pt x="1384294" y="1149661"/>
                  <a:pt x="1406519" y="1648136"/>
                  <a:pt x="1460494" y="1933886"/>
                </a:cubicBezTo>
                <a:cubicBezTo>
                  <a:pt x="1514469" y="2219636"/>
                  <a:pt x="1376357" y="2373624"/>
                  <a:pt x="1536694" y="2543486"/>
                </a:cubicBezTo>
                <a:cubicBezTo>
                  <a:pt x="1697031" y="2713348"/>
                  <a:pt x="2292344" y="2703823"/>
                  <a:pt x="2422519" y="2953061"/>
                </a:cubicBezTo>
                <a:cubicBezTo>
                  <a:pt x="2552694" y="3202298"/>
                  <a:pt x="2327269" y="3999223"/>
                  <a:pt x="2298694" y="4048436"/>
                </a:cubicBezTo>
                <a:close/>
              </a:path>
            </a:pathLst>
          </a:custGeom>
          <a:gradFill flip="none" rotWithShape="1">
            <a:gsLst>
              <a:gs pos="0">
                <a:srgbClr val="F5736A"/>
              </a:gs>
              <a:gs pos="50000">
                <a:srgbClr val="FF9C5A"/>
              </a:gs>
              <a:gs pos="100000">
                <a:srgbClr val="FFCF38"/>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Freeform: Shape 109">
            <a:extLst>
              <a:ext uri="{FF2B5EF4-FFF2-40B4-BE49-F238E27FC236}">
                <a16:creationId xmlns:a16="http://schemas.microsoft.com/office/drawing/2014/main" id="{C4D704E5-9BEF-45F4-B0B8-8EE183968BE0}"/>
              </a:ext>
            </a:extLst>
          </p:cNvPr>
          <p:cNvSpPr/>
          <p:nvPr/>
        </p:nvSpPr>
        <p:spPr>
          <a:xfrm rot="225839">
            <a:off x="14124289" y="783867"/>
            <a:ext cx="1999863" cy="3675326"/>
          </a:xfrm>
          <a:custGeom>
            <a:avLst/>
            <a:gdLst>
              <a:gd name="connsiteX0" fmla="*/ 590747 w 1999863"/>
              <a:gd name="connsiteY0" fmla="*/ 3569683 h 3675326"/>
              <a:gd name="connsiteX1" fmla="*/ 197 w 1999863"/>
              <a:gd name="connsiteY1" fmla="*/ 2931508 h 3675326"/>
              <a:gd name="connsiteX2" fmla="*/ 524072 w 1999863"/>
              <a:gd name="connsiteY2" fmla="*/ 2007583 h 3675326"/>
              <a:gd name="connsiteX3" fmla="*/ 447872 w 1999863"/>
              <a:gd name="connsiteY3" fmla="*/ 1321783 h 3675326"/>
              <a:gd name="connsiteX4" fmla="*/ 1286072 w 1999863"/>
              <a:gd name="connsiteY4" fmla="*/ 7333 h 3675326"/>
              <a:gd name="connsiteX5" fmla="*/ 1924247 w 1999863"/>
              <a:gd name="connsiteY5" fmla="*/ 893158 h 3675326"/>
              <a:gd name="connsiteX6" fmla="*/ 1943297 w 1999863"/>
              <a:gd name="connsiteY6" fmla="*/ 2979133 h 3675326"/>
              <a:gd name="connsiteX7" fmla="*/ 1524197 w 1999863"/>
              <a:gd name="connsiteY7" fmla="*/ 3617308 h 3675326"/>
              <a:gd name="connsiteX8" fmla="*/ 590747 w 1999863"/>
              <a:gd name="connsiteY8" fmla="*/ 3569683 h 3675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9863" h="3675326">
                <a:moveTo>
                  <a:pt x="590747" y="3569683"/>
                </a:moveTo>
                <a:cubicBezTo>
                  <a:pt x="336747" y="3455383"/>
                  <a:pt x="11309" y="3191858"/>
                  <a:pt x="197" y="2931508"/>
                </a:cubicBezTo>
                <a:cubicBezTo>
                  <a:pt x="-10915" y="2671158"/>
                  <a:pt x="449459" y="2275871"/>
                  <a:pt x="524072" y="2007583"/>
                </a:cubicBezTo>
                <a:cubicBezTo>
                  <a:pt x="598685" y="1739295"/>
                  <a:pt x="320872" y="1655158"/>
                  <a:pt x="447872" y="1321783"/>
                </a:cubicBezTo>
                <a:cubicBezTo>
                  <a:pt x="574872" y="988408"/>
                  <a:pt x="1040010" y="78770"/>
                  <a:pt x="1286072" y="7333"/>
                </a:cubicBezTo>
                <a:cubicBezTo>
                  <a:pt x="1532135" y="-64105"/>
                  <a:pt x="1814710" y="397858"/>
                  <a:pt x="1924247" y="893158"/>
                </a:cubicBezTo>
                <a:cubicBezTo>
                  <a:pt x="2033784" y="1388458"/>
                  <a:pt x="2009972" y="2525108"/>
                  <a:pt x="1943297" y="2979133"/>
                </a:cubicBezTo>
                <a:cubicBezTo>
                  <a:pt x="1876622" y="3433158"/>
                  <a:pt x="1752797" y="3520470"/>
                  <a:pt x="1524197" y="3617308"/>
                </a:cubicBezTo>
                <a:cubicBezTo>
                  <a:pt x="1295597" y="3714146"/>
                  <a:pt x="844747" y="3683983"/>
                  <a:pt x="590747" y="3569683"/>
                </a:cubicBezTo>
                <a:close/>
              </a:path>
            </a:pathLst>
          </a:custGeom>
          <a:gradFill flip="none" rotWithShape="1">
            <a:gsLst>
              <a:gs pos="0">
                <a:srgbClr val="C8A7F1"/>
              </a:gs>
              <a:gs pos="35000">
                <a:srgbClr val="C7ACF1"/>
              </a:gs>
              <a:gs pos="100000">
                <a:srgbClr val="D99FC6"/>
              </a:gs>
            </a:gsLst>
            <a:path path="circle">
              <a:fillToRect l="50000" t="-80000" r="50000" b="18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6" name="Picture 35">
            <a:extLst>
              <a:ext uri="{FF2B5EF4-FFF2-40B4-BE49-F238E27FC236}">
                <a16:creationId xmlns:a16="http://schemas.microsoft.com/office/drawing/2014/main" id="{E48A735C-6406-43F1-A57C-64F3141639C4}"/>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rot="20700000">
            <a:off x="23852077" y="2385650"/>
            <a:ext cx="1344005" cy="1344005"/>
          </a:xfrm>
          <a:prstGeom prst="rect">
            <a:avLst/>
          </a:prstGeom>
          <a:effectLst>
            <a:outerShdw blurRad="50800" dist="38100" dir="8100000" algn="tr" rotWithShape="0">
              <a:prstClr val="black">
                <a:alpha val="40000"/>
              </a:prstClr>
            </a:outerShdw>
          </a:effectLst>
        </p:spPr>
      </p:pic>
      <p:pic>
        <p:nvPicPr>
          <p:cNvPr id="103" name="Picture 102">
            <a:extLst>
              <a:ext uri="{FF2B5EF4-FFF2-40B4-BE49-F238E27FC236}">
                <a16:creationId xmlns:a16="http://schemas.microsoft.com/office/drawing/2014/main" id="{1377CCB7-C208-47D1-B6C8-7122CBD5B654}"/>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rot="900000">
            <a:off x="13329740" y="2739649"/>
            <a:ext cx="1166008" cy="1161115"/>
          </a:xfrm>
          <a:prstGeom prst="rect">
            <a:avLst/>
          </a:prstGeom>
          <a:effectLst>
            <a:outerShdw blurRad="50800" dist="38100" dir="8100000" algn="tr" rotWithShape="0">
              <a:prstClr val="black">
                <a:alpha val="40000"/>
              </a:prstClr>
            </a:outerShdw>
          </a:effectLst>
        </p:spPr>
      </p:pic>
      <p:pic>
        <p:nvPicPr>
          <p:cNvPr id="33" name="Picture 32">
            <a:extLst>
              <a:ext uri="{FF2B5EF4-FFF2-40B4-BE49-F238E27FC236}">
                <a16:creationId xmlns:a16="http://schemas.microsoft.com/office/drawing/2014/main" id="{3E17733C-4F88-4C3B-A4EC-91D09014AAD4}"/>
              </a:ext>
            </a:extLst>
          </p:cNvPr>
          <p:cNvPicPr>
            <a:picLocks noChangeAspect="1"/>
          </p:cNvPicPr>
          <p:nvPr/>
        </p:nvPicPr>
        <p:blipFill>
          <a:blip r:embed="rId6"/>
          <a:stretch>
            <a:fillRect/>
          </a:stretch>
        </p:blipFill>
        <p:spPr>
          <a:xfrm rot="1044862">
            <a:off x="15146087" y="3393699"/>
            <a:ext cx="1245442" cy="1245442"/>
          </a:xfrm>
          <a:prstGeom prst="rect">
            <a:avLst/>
          </a:prstGeom>
        </p:spPr>
      </p:pic>
      <p:sp>
        <p:nvSpPr>
          <p:cNvPr id="123" name="Rectangle: Rounded Corners 122">
            <a:extLst>
              <a:ext uri="{FF2B5EF4-FFF2-40B4-BE49-F238E27FC236}">
                <a16:creationId xmlns:a16="http://schemas.microsoft.com/office/drawing/2014/main" id="{50B35275-DC76-49D2-B16F-CDDDD144480E}"/>
              </a:ext>
            </a:extLst>
          </p:cNvPr>
          <p:cNvSpPr/>
          <p:nvPr/>
        </p:nvSpPr>
        <p:spPr>
          <a:xfrm>
            <a:off x="359404" y="4655580"/>
            <a:ext cx="471367" cy="449125"/>
          </a:xfrm>
          <a:prstGeom prst="roundRect">
            <a:avLst>
              <a:gd name="adj" fmla="val 50000"/>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4" name="Rectangle: Rounded Corners 123">
            <a:extLst>
              <a:ext uri="{FF2B5EF4-FFF2-40B4-BE49-F238E27FC236}">
                <a16:creationId xmlns:a16="http://schemas.microsoft.com/office/drawing/2014/main" id="{8DC03E30-B28A-490F-9363-F5725ED82CA4}"/>
              </a:ext>
            </a:extLst>
          </p:cNvPr>
          <p:cNvSpPr/>
          <p:nvPr/>
        </p:nvSpPr>
        <p:spPr>
          <a:xfrm>
            <a:off x="359404" y="5320609"/>
            <a:ext cx="471367" cy="449125"/>
          </a:xfrm>
          <a:prstGeom prst="roundRect">
            <a:avLst>
              <a:gd name="adj" fmla="val 50000"/>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5" name="Rectangle: Rounded Corners 124">
            <a:extLst>
              <a:ext uri="{FF2B5EF4-FFF2-40B4-BE49-F238E27FC236}">
                <a16:creationId xmlns:a16="http://schemas.microsoft.com/office/drawing/2014/main" id="{4A66C533-9E23-4D74-A382-040D008310BE}"/>
              </a:ext>
            </a:extLst>
          </p:cNvPr>
          <p:cNvSpPr/>
          <p:nvPr/>
        </p:nvSpPr>
        <p:spPr>
          <a:xfrm>
            <a:off x="355523" y="6008790"/>
            <a:ext cx="471367" cy="449125"/>
          </a:xfrm>
          <a:prstGeom prst="roundRect">
            <a:avLst>
              <a:gd name="adj" fmla="val 24551"/>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6" name="Graphic 125" descr="Home with solid fill">
            <a:extLst>
              <a:ext uri="{FF2B5EF4-FFF2-40B4-BE49-F238E27FC236}">
                <a16:creationId xmlns:a16="http://schemas.microsoft.com/office/drawing/2014/main" id="{74742216-BA44-4100-BF62-8157A407A54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0962" y="6053701"/>
            <a:ext cx="320489" cy="320489"/>
          </a:xfrm>
          <a:prstGeom prst="rect">
            <a:avLst/>
          </a:prstGeom>
        </p:spPr>
      </p:pic>
      <p:pic>
        <p:nvPicPr>
          <p:cNvPr id="127" name="Graphic 126" descr="Caret Up with solid fill">
            <a:extLst>
              <a:ext uri="{FF2B5EF4-FFF2-40B4-BE49-F238E27FC236}">
                <a16:creationId xmlns:a16="http://schemas.microsoft.com/office/drawing/2014/main" id="{531A3611-D8D4-4519-AEF3-2EDBEC7DE65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98917" y="4676085"/>
            <a:ext cx="392341" cy="392341"/>
          </a:xfrm>
          <a:prstGeom prst="rect">
            <a:avLst/>
          </a:prstGeom>
        </p:spPr>
      </p:pic>
      <p:pic>
        <p:nvPicPr>
          <p:cNvPr id="128" name="Graphic 127" descr="Caret Up with solid fill">
            <a:extLst>
              <a:ext uri="{FF2B5EF4-FFF2-40B4-BE49-F238E27FC236}">
                <a16:creationId xmlns:a16="http://schemas.microsoft.com/office/drawing/2014/main" id="{9016880B-C8B5-428D-B70B-D39FC5C29E3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V="1">
            <a:off x="398917" y="5359905"/>
            <a:ext cx="392341" cy="392341"/>
          </a:xfrm>
          <a:prstGeom prst="rect">
            <a:avLst/>
          </a:prstGeom>
        </p:spPr>
      </p:pic>
      <p:pic>
        <p:nvPicPr>
          <p:cNvPr id="131" name="Picture 130">
            <a:extLst>
              <a:ext uri="{FF2B5EF4-FFF2-40B4-BE49-F238E27FC236}">
                <a16:creationId xmlns:a16="http://schemas.microsoft.com/office/drawing/2014/main" id="{63E5C70E-26B6-4376-91E7-037C12349A9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rot="20313857">
            <a:off x="2288216" y="1354980"/>
            <a:ext cx="2743982" cy="1676877"/>
          </a:xfrm>
          <a:prstGeom prst="rect">
            <a:avLst/>
          </a:prstGeom>
        </p:spPr>
      </p:pic>
      <p:sp>
        <p:nvSpPr>
          <p:cNvPr id="6" name="TextBox 5">
            <a:extLst>
              <a:ext uri="{FF2B5EF4-FFF2-40B4-BE49-F238E27FC236}">
                <a16:creationId xmlns:a16="http://schemas.microsoft.com/office/drawing/2014/main" id="{4727D27F-C0B8-0228-6E99-AFB1CD8E32E6}"/>
              </a:ext>
            </a:extLst>
          </p:cNvPr>
          <p:cNvSpPr txBox="1"/>
          <p:nvPr/>
        </p:nvSpPr>
        <p:spPr>
          <a:xfrm>
            <a:off x="6186257" y="1154727"/>
            <a:ext cx="5596597" cy="4623573"/>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Tailwind CSS </a:t>
            </a:r>
            <a:r>
              <a:rPr kumimoji="0" lang="en-US" sz="180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an be used to style websites in the fastest and easiest way. </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80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Tailwind CSS is a </a:t>
            </a:r>
            <a:r>
              <a:rPr kumimoji="0" lang="en-US" sz="18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utility-first CSS framework </a:t>
            </a:r>
            <a:r>
              <a:rPr kumimoji="0" lang="en-US" sz="180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for rapidly building custom user interfaces. </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80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It is a highly customizable, low-level CSS framework that gives you all of the building blocks you need to build bespoke designs without any annoying opinionated styles you have to fight to override. </a:t>
            </a:r>
          </a:p>
        </p:txBody>
      </p:sp>
    </p:spTree>
    <p:extLst>
      <p:ext uri="{BB962C8B-B14F-4D97-AF65-F5344CB8AC3E}">
        <p14:creationId xmlns:p14="http://schemas.microsoft.com/office/powerpoint/2010/main" val="25278470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ADC90FB-1C31-48FB-9B20-7C8723B0372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5716753" cy="6858000"/>
          </a:xfrm>
          <a:prstGeom prst="rect">
            <a:avLst/>
          </a:prstGeom>
        </p:spPr>
      </p:pic>
      <p:sp>
        <p:nvSpPr>
          <p:cNvPr id="2" name="TextBox 1">
            <a:extLst>
              <a:ext uri="{FF2B5EF4-FFF2-40B4-BE49-F238E27FC236}">
                <a16:creationId xmlns:a16="http://schemas.microsoft.com/office/drawing/2014/main" id="{DB9C7D82-CA35-448A-AEA6-74B86DCCEC69}"/>
              </a:ext>
            </a:extLst>
          </p:cNvPr>
          <p:cNvSpPr txBox="1"/>
          <p:nvPr/>
        </p:nvSpPr>
        <p:spPr>
          <a:xfrm>
            <a:off x="2604523" y="1760139"/>
            <a:ext cx="9026830" cy="3693319"/>
          </a:xfrm>
          <a:prstGeom prst="rect">
            <a:avLst/>
          </a:prstGeom>
          <a:noFill/>
        </p:spPr>
        <p:txBody>
          <a:bodyPr wrap="none" rtlCol="0">
            <a:spAutoFit/>
          </a:bodyPr>
          <a:lstStyle/>
          <a:p>
            <a:r>
              <a:rPr lang="en-MY" sz="9600" b="1" dirty="0">
                <a:solidFill>
                  <a:schemeClr val="bg1"/>
                </a:solidFill>
                <a:latin typeface="Century Gothic" panose="020B0502020202020204" pitchFamily="34" charset="0"/>
              </a:rPr>
              <a:t>Enhancements</a:t>
            </a:r>
          </a:p>
          <a:p>
            <a:endParaRPr lang="en-MY" sz="13800" b="1" dirty="0">
              <a:solidFill>
                <a:schemeClr val="bg1"/>
              </a:solidFill>
              <a:latin typeface="Century Gothic" panose="020B0502020202020204" pitchFamily="34" charset="0"/>
            </a:endParaRPr>
          </a:p>
        </p:txBody>
      </p:sp>
      <p:sp>
        <p:nvSpPr>
          <p:cNvPr id="3" name="TextBox 2">
            <a:extLst>
              <a:ext uri="{FF2B5EF4-FFF2-40B4-BE49-F238E27FC236}">
                <a16:creationId xmlns:a16="http://schemas.microsoft.com/office/drawing/2014/main" id="{B3C83DB2-F767-4E1F-A4B1-EE7E48B4422C}"/>
              </a:ext>
            </a:extLst>
          </p:cNvPr>
          <p:cNvSpPr txBox="1"/>
          <p:nvPr/>
        </p:nvSpPr>
        <p:spPr>
          <a:xfrm>
            <a:off x="6475249" y="3291225"/>
            <a:ext cx="6117770" cy="3477875"/>
          </a:xfrm>
          <a:prstGeom prst="rect">
            <a:avLst/>
          </a:prstGeom>
          <a:noFill/>
        </p:spPr>
        <p:txBody>
          <a:bodyPr wrap="square">
            <a:spAutoFit/>
          </a:bodyPr>
          <a:lstStyle/>
          <a:p>
            <a:r>
              <a:rPr lang="en-US" sz="2000" dirty="0">
                <a:solidFill>
                  <a:schemeClr val="accent3">
                    <a:lumMod val="50000"/>
                  </a:schemeClr>
                </a:solidFill>
              </a:rPr>
              <a:t> A. Scalability and performance optimization </a:t>
            </a:r>
          </a:p>
          <a:p>
            <a:r>
              <a:rPr lang="en-US" sz="2000" dirty="0">
                <a:solidFill>
                  <a:schemeClr val="accent3">
                    <a:lumMod val="50000"/>
                  </a:schemeClr>
                </a:solidFill>
              </a:rPr>
              <a:t>B. Security enhancements</a:t>
            </a:r>
          </a:p>
          <a:p>
            <a:r>
              <a:rPr lang="en-US" sz="2000" dirty="0">
                <a:solidFill>
                  <a:schemeClr val="accent3">
                    <a:lumMod val="50000"/>
                  </a:schemeClr>
                </a:solidFill>
              </a:rPr>
              <a:t> C. Machine learning integration </a:t>
            </a:r>
          </a:p>
          <a:p>
            <a:r>
              <a:rPr lang="en-US" sz="2000" dirty="0">
                <a:solidFill>
                  <a:schemeClr val="accent3">
                    <a:lumMod val="50000"/>
                  </a:schemeClr>
                </a:solidFill>
              </a:rPr>
              <a:t>D. Direct messaging and E-commerce integration </a:t>
            </a:r>
          </a:p>
          <a:p>
            <a:r>
              <a:rPr lang="en-US" sz="2000" dirty="0">
                <a:solidFill>
                  <a:schemeClr val="accent3">
                    <a:lumMod val="50000"/>
                  </a:schemeClr>
                </a:solidFill>
              </a:rPr>
              <a:t>E. Live streaming </a:t>
            </a:r>
          </a:p>
          <a:p>
            <a:r>
              <a:rPr lang="en-US" sz="2000" dirty="0">
                <a:solidFill>
                  <a:schemeClr val="accent3">
                    <a:lumMod val="50000"/>
                  </a:schemeClr>
                </a:solidFill>
              </a:rPr>
              <a:t>F. Focus on usability and accessibility </a:t>
            </a:r>
          </a:p>
          <a:p>
            <a:r>
              <a:rPr lang="en-US" sz="2000" dirty="0">
                <a:solidFill>
                  <a:schemeClr val="accent3">
                    <a:lumMod val="50000"/>
                  </a:schemeClr>
                </a:solidFill>
              </a:rPr>
              <a:t>G. Analytics and metrics</a:t>
            </a:r>
          </a:p>
          <a:p>
            <a:r>
              <a:rPr lang="en-US" sz="2000" dirty="0">
                <a:solidFill>
                  <a:schemeClr val="accent3">
                    <a:lumMod val="50000"/>
                  </a:schemeClr>
                </a:solidFill>
              </a:rPr>
              <a:t>H. Improve and upgrade the backend infrastructure </a:t>
            </a:r>
          </a:p>
          <a:p>
            <a:r>
              <a:rPr lang="en-US" sz="2000" dirty="0">
                <a:solidFill>
                  <a:schemeClr val="accent3">
                    <a:lumMod val="50000"/>
                  </a:schemeClr>
                </a:solidFill>
              </a:rPr>
              <a:t>I.   A/B testing </a:t>
            </a:r>
          </a:p>
          <a:p>
            <a:r>
              <a:rPr lang="en-US" sz="2000" dirty="0">
                <a:solidFill>
                  <a:schemeClr val="accent3">
                    <a:lumMod val="50000"/>
                  </a:schemeClr>
                </a:solidFill>
              </a:rPr>
              <a:t>J. Continuous development and maintenance</a:t>
            </a:r>
          </a:p>
          <a:p>
            <a:endParaRPr lang="en-US" sz="2000" dirty="0">
              <a:solidFill>
                <a:schemeClr val="accent3">
                  <a:lumMod val="50000"/>
                </a:schemeClr>
              </a:solidFill>
            </a:endParaRPr>
          </a:p>
        </p:txBody>
      </p:sp>
      <p:sp>
        <p:nvSpPr>
          <p:cNvPr id="6" name="Oval 5">
            <a:extLst>
              <a:ext uri="{FF2B5EF4-FFF2-40B4-BE49-F238E27FC236}">
                <a16:creationId xmlns:a16="http://schemas.microsoft.com/office/drawing/2014/main" id="{7BC9E975-C239-B150-0CEC-D121B49B1D43}"/>
              </a:ext>
            </a:extLst>
          </p:cNvPr>
          <p:cNvSpPr/>
          <p:nvPr/>
        </p:nvSpPr>
        <p:spPr>
          <a:xfrm rot="7681175">
            <a:off x="10245385" y="-1258113"/>
            <a:ext cx="2771936" cy="2694027"/>
          </a:xfrm>
          <a:prstGeom prst="ellipse">
            <a:avLst/>
          </a:prstGeom>
          <a:gradFill flip="none" rotWithShape="1">
            <a:gsLst>
              <a:gs pos="0">
                <a:srgbClr val="628890"/>
              </a:gs>
              <a:gs pos="34000">
                <a:srgbClr val="48ACA7"/>
              </a:gs>
              <a:gs pos="100000">
                <a:srgbClr val="E2FDFE"/>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866973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182A3A"/>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99151B92-3FC9-42BC-96C3-B8DBFD366DFE}"/>
              </a:ext>
            </a:extLst>
          </p:cNvPr>
          <p:cNvGrpSpPr/>
          <p:nvPr/>
        </p:nvGrpSpPr>
        <p:grpSpPr>
          <a:xfrm>
            <a:off x="0" y="0"/>
            <a:ext cx="12192000" cy="6858000"/>
            <a:chOff x="0" y="0"/>
            <a:chExt cx="12192000" cy="6858000"/>
          </a:xfrm>
        </p:grpSpPr>
        <p:sp>
          <p:nvSpPr>
            <p:cNvPr id="18" name="Rectangle 17">
              <a:extLst>
                <a:ext uri="{FF2B5EF4-FFF2-40B4-BE49-F238E27FC236}">
                  <a16:creationId xmlns:a16="http://schemas.microsoft.com/office/drawing/2014/main" id="{F53F5C69-AA1C-410A-8FA9-26D50250E066}"/>
                </a:ext>
              </a:extLst>
            </p:cNvPr>
            <p:cNvSpPr/>
            <p:nvPr/>
          </p:nvSpPr>
          <p:spPr>
            <a:xfrm>
              <a:off x="0" y="0"/>
              <a:ext cx="12192000" cy="6858000"/>
            </a:xfrm>
            <a:prstGeom prst="rect">
              <a:avLst/>
            </a:prstGeom>
            <a:solidFill>
              <a:srgbClr val="A6D5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4C5D8452-5982-4C3A-A1F5-7868FF8A62CB}"/>
                </a:ext>
              </a:extLst>
            </p:cNvPr>
            <p:cNvSpPr/>
            <p:nvPr/>
          </p:nvSpPr>
          <p:spPr>
            <a:xfrm>
              <a:off x="2399551" y="1120776"/>
              <a:ext cx="3152775" cy="30259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5" name="Picture 2">
            <a:extLst>
              <a:ext uri="{FF2B5EF4-FFF2-40B4-BE49-F238E27FC236}">
                <a16:creationId xmlns:a16="http://schemas.microsoft.com/office/drawing/2014/main" id="{35E9DA00-F5A7-4B38-BE84-76903888386B}"/>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backgroundRemoval t="10000" b="99630" l="547" r="99792">
                        <a14:foregroundMark x1="4922" y1="93194" x2="99792" y2="93194"/>
                        <a14:foregroundMark x1="99792" y1="93194" x2="99792" y2="93194"/>
                        <a14:foregroundMark x1="55339" y1="83194" x2="91667" y2="81991"/>
                        <a14:foregroundMark x1="91667" y1="81991" x2="93620" y2="81991"/>
                        <a14:foregroundMark x1="95833" y1="72824" x2="90417" y2="86806"/>
                        <a14:foregroundMark x1="4297" y1="85694" x2="9922" y2="94213"/>
                        <a14:foregroundMark x1="4922" y1="97407" x2="93828" y2="99630"/>
                        <a14:foregroundMark x1="1250" y1="92593" x2="547" y2="88009"/>
                      </a14:backgroundRemoval>
                    </a14:imgEffect>
                    <a14:imgEffect>
                      <a14:artisticCutout/>
                    </a14:imgEffect>
                  </a14:imgLayer>
                </a14:imgProps>
              </a:ext>
              <a:ext uri="{28A0092B-C50C-407E-A947-70E740481C1C}">
                <a14:useLocalDpi xmlns:a14="http://schemas.microsoft.com/office/drawing/2010/main" val="0"/>
              </a:ext>
            </a:extLst>
          </a:blip>
          <a:srcRect t="18750"/>
          <a:stretch/>
        </p:blipFill>
        <p:spPr bwMode="auto">
          <a:xfrm>
            <a:off x="0" y="1285874"/>
            <a:ext cx="12192000" cy="5572125"/>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4FF3496E-C795-477D-BC60-FB7E868B5BB7}"/>
              </a:ext>
            </a:extLst>
          </p:cNvPr>
          <p:cNvGrpSpPr/>
          <p:nvPr/>
        </p:nvGrpSpPr>
        <p:grpSpPr>
          <a:xfrm>
            <a:off x="0" y="717953"/>
            <a:ext cx="12192000" cy="6121400"/>
            <a:chOff x="0" y="488949"/>
            <a:chExt cx="12192000" cy="6121400"/>
          </a:xfrm>
        </p:grpSpPr>
        <p:grpSp>
          <p:nvGrpSpPr>
            <p:cNvPr id="17" name="Group 16">
              <a:extLst>
                <a:ext uri="{FF2B5EF4-FFF2-40B4-BE49-F238E27FC236}">
                  <a16:creationId xmlns:a16="http://schemas.microsoft.com/office/drawing/2014/main" id="{5A57B033-DC7B-455A-BD1D-DEF5D6819779}"/>
                </a:ext>
              </a:extLst>
            </p:cNvPr>
            <p:cNvGrpSpPr/>
            <p:nvPr/>
          </p:nvGrpSpPr>
          <p:grpSpPr>
            <a:xfrm>
              <a:off x="0" y="488949"/>
              <a:ext cx="12192000" cy="6121400"/>
              <a:chOff x="0" y="736599"/>
              <a:chExt cx="12192000" cy="6121400"/>
            </a:xfrm>
          </p:grpSpPr>
          <p:grpSp>
            <p:nvGrpSpPr>
              <p:cNvPr id="13" name="Group 12">
                <a:extLst>
                  <a:ext uri="{FF2B5EF4-FFF2-40B4-BE49-F238E27FC236}">
                    <a16:creationId xmlns:a16="http://schemas.microsoft.com/office/drawing/2014/main" id="{F9878F5E-A7C4-4F44-871E-4666F084EDDD}"/>
                  </a:ext>
                </a:extLst>
              </p:cNvPr>
              <p:cNvGrpSpPr/>
              <p:nvPr/>
            </p:nvGrpSpPr>
            <p:grpSpPr>
              <a:xfrm>
                <a:off x="0" y="736599"/>
                <a:ext cx="12192000" cy="6121400"/>
                <a:chOff x="0" y="736599"/>
                <a:chExt cx="12192000" cy="6121400"/>
              </a:xfrm>
            </p:grpSpPr>
            <p:pic>
              <p:nvPicPr>
                <p:cNvPr id="6" name="Picture 2">
                  <a:extLst>
                    <a:ext uri="{FF2B5EF4-FFF2-40B4-BE49-F238E27FC236}">
                      <a16:creationId xmlns:a16="http://schemas.microsoft.com/office/drawing/2014/main" id="{AD24BB51-5597-4744-A45E-0426C3337AAE}"/>
                    </a:ext>
                  </a:extLst>
                </p:cNvPr>
                <p:cNvPicPr>
                  <a:picLocks noChangeAspect="1" noChangeArrowheads="1"/>
                </p:cNvPicPr>
                <p:nvPr/>
              </p:nvPicPr>
              <p:blipFill rotWithShape="1">
                <a:blip r:embed="rId4">
                  <a:duotone>
                    <a:prstClr val="black"/>
                    <a:schemeClr val="accent1">
                      <a:tint val="45000"/>
                      <a:satMod val="400000"/>
                    </a:schemeClr>
                  </a:duotone>
                  <a:extLst>
                    <a:ext uri="{BEBA8EAE-BF5A-486C-A8C5-ECC9F3942E4B}">
                      <a14:imgProps xmlns:a14="http://schemas.microsoft.com/office/drawing/2010/main">
                        <a14:imgLayer r:embed="rId3">
                          <a14:imgEffect>
                            <a14:backgroundRemoval t="10000" b="99630" l="547" r="99792">
                              <a14:foregroundMark x1="4922" y1="93194" x2="99792" y2="93194"/>
                              <a14:foregroundMark x1="99792" y1="93194" x2="99792" y2="93194"/>
                              <a14:foregroundMark x1="55339" y1="83194" x2="91667" y2="81991"/>
                              <a14:foregroundMark x1="91667" y1="81991" x2="93620" y2="81991"/>
                              <a14:foregroundMark x1="95833" y1="72824" x2="90417" y2="86806"/>
                              <a14:foregroundMark x1="4297" y1="85694" x2="9922" y2="94213"/>
                              <a14:foregroundMark x1="4922" y1="97407" x2="93828" y2="99630"/>
                              <a14:foregroundMark x1="1250" y1="92593" x2="547" y2="88009"/>
                              <a14:foregroundMark x1="67708" y1="70602" x2="67708" y2="70602"/>
                              <a14:foregroundMark x1="67786" y1="67176" x2="67786" y2="69630"/>
                              <a14:foregroundMark x1="77370" y1="69630" x2="76953" y2="58981"/>
                              <a14:foregroundMark x1="76953" y1="58981" x2="79297" y2="68148"/>
                              <a14:foregroundMark x1="2578" y1="72824" x2="3464" y2="64815"/>
                              <a14:foregroundMark x1="3464" y1="64815" x2="5286" y2="72824"/>
                              <a14:foregroundMark x1="5286" y1="72824" x2="3854" y2="64306"/>
                              <a14:foregroundMark x1="3854" y1="64306" x2="3411" y2="63843"/>
                              <a14:foregroundMark x1="10000" y1="64583" x2="9922" y2="63333"/>
                              <a14:foregroundMark x1="4036" y1="62963" x2="3750" y2="61111"/>
                              <a14:foregroundMark x1="3333" y1="63102" x2="3828" y2="61620"/>
                              <a14:foregroundMark x1="3464" y1="61481" x2="3828" y2="63935"/>
                              <a14:foregroundMark x1="3750" y1="61250" x2="5495" y2="64306"/>
                              <a14:backgroundMark x1="16042" y1="47176" x2="31146" y2="49954"/>
                              <a14:backgroundMark x1="31146" y1="49954" x2="33411" y2="48750"/>
                              <a14:backgroundMark x1="23047" y1="53333" x2="28333" y2="47176"/>
                              <a14:backgroundMark x1="30000" y1="37407" x2="27057" y2="53102"/>
                              <a14:backgroundMark x1="27057" y1="53102" x2="26458" y2="53704"/>
                              <a14:backgroundMark x1="27214" y1="49630" x2="16224" y2="56019"/>
                              <a14:backgroundMark x1="16224" y1="56019" x2="11979" y2="60602"/>
                              <a14:backgroundMark x1="11979" y1="60602" x2="7786" y2="58009"/>
                              <a14:backgroundMark x1="7786" y1="58009" x2="16068" y2="43519"/>
                              <a14:backgroundMark x1="16068" y1="43519" x2="15286" y2="54722"/>
                              <a14:backgroundMark x1="15286" y1="54722" x2="17865" y2="60093"/>
                              <a14:backgroundMark x1="17865" y1="60093" x2="12344" y2="65093"/>
                              <a14:backgroundMark x1="3297" y1="61553" x2="1693" y2="60926"/>
                              <a14:backgroundMark x1="9918" y1="64144" x2="3800" y2="61750"/>
                              <a14:backgroundMark x1="12344" y1="65093" x2="10069" y2="64203"/>
                              <a14:backgroundMark x1="4470" y1="61414" x2="10911" y2="62546"/>
                              <a14:backgroundMark x1="1693" y1="60926" x2="3896" y2="61313"/>
                              <a14:backgroundMark x1="10911" y1="62546" x2="25391" y2="72407"/>
                              <a14:backgroundMark x1="25391" y1="72407" x2="30156" y2="66667"/>
                              <a14:backgroundMark x1="30156" y1="66667" x2="43229" y2="59861"/>
                              <a14:backgroundMark x1="43229" y1="59861" x2="49089" y2="53380"/>
                              <a14:backgroundMark x1="49089" y1="53380" x2="54115" y2="53426"/>
                              <a14:backgroundMark x1="54115" y1="53426" x2="56224" y2="60602"/>
                              <a14:backgroundMark x1="56224" y1="60602" x2="63802" y2="53333"/>
                              <a14:backgroundMark x1="63802" y1="53333" x2="69193" y2="58704"/>
                              <a14:backgroundMark x1="69193" y1="58704" x2="78385" y2="51806"/>
                              <a14:backgroundMark x1="78385" y1="51806" x2="82214" y2="55509"/>
                              <a14:backgroundMark x1="82214" y1="55509" x2="86250" y2="55417"/>
                              <a14:backgroundMark x1="86250" y1="55417" x2="88307" y2="47917"/>
                              <a14:backgroundMark x1="88307" y1="47917" x2="92786" y2="43981"/>
                              <a14:backgroundMark x1="92786" y1="43981" x2="96198" y2="48380"/>
                              <a14:backgroundMark x1="96198" y1="48380" x2="98802" y2="33426"/>
                              <a14:backgroundMark x1="98802" y1="33426" x2="95260" y2="26852"/>
                              <a14:backgroundMark x1="95260" y1="26852" x2="81927" y2="48565"/>
                              <a14:backgroundMark x1="81927" y1="48565" x2="72057" y2="55231"/>
                              <a14:backgroundMark x1="72057" y1="55231" x2="43385" y2="50648"/>
                              <a14:backgroundMark x1="43385" y1="50648" x2="25182" y2="59907"/>
                              <a14:backgroundMark x1="25182" y1="59907" x2="18021" y2="50231"/>
                              <a14:backgroundMark x1="18021" y1="50231" x2="9870" y2="52593"/>
                              <a14:backgroundMark x1="9870" y1="52593" x2="5885" y2="61204"/>
                              <a14:backgroundMark x1="3144" y1="62416" x2="859" y2="63426"/>
                              <a14:backgroundMark x1="5885" y1="61204" x2="4660" y2="61746"/>
                              <a14:backgroundMark x1="859" y1="63426" x2="625" y2="72083"/>
                              <a14:backgroundMark x1="625" y1="72083" x2="625" y2="72083"/>
                              <a14:backgroundMark x1="17995" y1="52454" x2="32891" y2="44769"/>
                              <a14:backgroundMark x1="32891" y1="44769" x2="9740" y2="54213"/>
                              <a14:backgroundMark x1="9740" y1="54213" x2="27214" y2="44398"/>
                              <a14:backgroundMark x1="27214" y1="44398" x2="22161" y2="49954"/>
                              <a14:backgroundMark x1="22161" y1="49954" x2="28672" y2="50185"/>
                              <a14:backgroundMark x1="28672" y1="50185" x2="23646" y2="48148"/>
                              <a14:backgroundMark x1="23646" y1="48148" x2="19505" y2="51481"/>
                              <a14:backgroundMark x1="19505" y1="51481" x2="24792" y2="49630"/>
                              <a14:backgroundMark x1="29792" y1="46898" x2="17708" y2="50741"/>
                              <a14:backgroundMark x1="30286" y1="46898" x2="30911" y2="47176"/>
                              <a14:backgroundMark x1="32995" y1="47639" x2="33255" y2="50741"/>
                              <a14:backgroundMark x1="32161" y1="46667" x2="32708" y2="49491"/>
                              <a14:backgroundMark x1="31380" y1="47037" x2="31589" y2="49861"/>
                              <a14:backgroundMark x1="31536" y1="47037" x2="30625" y2="50000"/>
                              <a14:backgroundMark x1="30911" y1="46435" x2="30625" y2="49769"/>
                              <a14:backgroundMark x1="30625" y1="46528" x2="30755" y2="48889"/>
                              <a14:backgroundMark x1="30495" y1="47639" x2="33464" y2="49861"/>
                              <a14:backgroundMark x1="32422" y1="47176" x2="33542" y2="49028"/>
                              <a14:backgroundMark x1="32370" y1="48380" x2="33750" y2="48657"/>
                              <a14:backgroundMark x1="32578" y1="47176" x2="33880" y2="47407"/>
                              <a14:backgroundMark x1="32630" y1="47407" x2="33620" y2="47639"/>
                              <a14:backgroundMark x1="25078" y1="74676" x2="25078" y2="74676"/>
                              <a14:backgroundMark x1="25755" y1="81620" x2="27500" y2="70694"/>
                              <a14:backgroundMark x1="27500" y1="70694" x2="38177" y2="68657"/>
                              <a14:backgroundMark x1="38177" y1="68657" x2="41328" y2="64120"/>
                              <a14:backgroundMark x1="41328" y1="64120" x2="45599" y2="68611"/>
                              <a14:backgroundMark x1="45599" y1="68611" x2="48411" y2="61111"/>
                              <a14:backgroundMark x1="48411" y1="61111" x2="53438" y2="57778"/>
                              <a14:backgroundMark x1="53438" y1="57778" x2="56510" y2="62361"/>
                              <a14:backgroundMark x1="56510" y1="62361" x2="58880" y2="68472"/>
                              <a14:backgroundMark x1="58880" y1="68472" x2="58958" y2="69769"/>
                              <a14:backgroundMark x1="65495" y1="69630" x2="68828" y2="60000"/>
                              <a14:backgroundMark x1="68828" y1="60000" x2="71771" y2="70648"/>
                              <a14:backgroundMark x1="71771" y1="70648" x2="73203" y2="60185"/>
                              <a14:backgroundMark x1="73203" y1="60185" x2="72708" y2="58148"/>
                              <a14:backgroundMark x1="80625" y1="64444" x2="82005" y2="59028"/>
                              <a14:backgroundMark x1="94297" y1="56667" x2="95547" y2="49259"/>
                              <a14:backgroundMark x1="18203" y1="78519" x2="16302" y2="71157"/>
                              <a14:backgroundMark x1="16302" y1="71157" x2="13255" y2="70139"/>
                            </a14:backgroundRemoval>
                          </a14:imgEffect>
                        </a14:imgLayer>
                      </a14:imgProps>
                    </a:ext>
                    <a:ext uri="{28A0092B-C50C-407E-A947-70E740481C1C}">
                      <a14:useLocalDpi xmlns:a14="http://schemas.microsoft.com/office/drawing/2010/main" val="0"/>
                    </a:ext>
                  </a:extLst>
                </a:blip>
                <a:srcRect t="42328"/>
                <a:stretch/>
              </p:blipFill>
              <p:spPr bwMode="auto">
                <a:xfrm>
                  <a:off x="0" y="2902856"/>
                  <a:ext cx="12192000" cy="3955143"/>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2A021A04-7FBD-4DA0-BFE2-2E416AC68F35}"/>
                    </a:ext>
                  </a:extLst>
                </p:cNvPr>
                <p:cNvSpPr/>
                <p:nvPr/>
              </p:nvSpPr>
              <p:spPr>
                <a:xfrm>
                  <a:off x="11239500" y="758826"/>
                  <a:ext cx="676275" cy="36195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Rounded Corners 7">
                  <a:extLst>
                    <a:ext uri="{FF2B5EF4-FFF2-40B4-BE49-F238E27FC236}">
                      <a16:creationId xmlns:a16="http://schemas.microsoft.com/office/drawing/2014/main" id="{124EBD7B-D751-4491-AD1C-AFE076227BD3}"/>
                    </a:ext>
                  </a:extLst>
                </p:cNvPr>
                <p:cNvSpPr/>
                <p:nvPr/>
              </p:nvSpPr>
              <p:spPr>
                <a:xfrm>
                  <a:off x="368300" y="736599"/>
                  <a:ext cx="352425" cy="6985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Rounded Corners 9">
                  <a:extLst>
                    <a:ext uri="{FF2B5EF4-FFF2-40B4-BE49-F238E27FC236}">
                      <a16:creationId xmlns:a16="http://schemas.microsoft.com/office/drawing/2014/main" id="{4610ADAB-75EC-4370-A9C4-FB30AE9F0672}"/>
                    </a:ext>
                  </a:extLst>
                </p:cNvPr>
                <p:cNvSpPr/>
                <p:nvPr/>
              </p:nvSpPr>
              <p:spPr>
                <a:xfrm>
                  <a:off x="368300" y="869948"/>
                  <a:ext cx="352425" cy="6985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Rounded Corners 10">
                  <a:extLst>
                    <a:ext uri="{FF2B5EF4-FFF2-40B4-BE49-F238E27FC236}">
                      <a16:creationId xmlns:a16="http://schemas.microsoft.com/office/drawing/2014/main" id="{7E55878B-4042-41C1-89F3-C608B7ADFDD1}"/>
                    </a:ext>
                  </a:extLst>
                </p:cNvPr>
                <p:cNvSpPr/>
                <p:nvPr/>
              </p:nvSpPr>
              <p:spPr>
                <a:xfrm>
                  <a:off x="368300" y="1003297"/>
                  <a:ext cx="352425" cy="6985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6FB143C0-6896-47E7-92CF-8977963F7BA1}"/>
                    </a:ext>
                  </a:extLst>
                </p:cNvPr>
                <p:cNvSpPr txBox="1"/>
                <p:nvPr/>
              </p:nvSpPr>
              <p:spPr>
                <a:xfrm>
                  <a:off x="4252164" y="2562225"/>
                  <a:ext cx="4935967" cy="12003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7200" b="0" i="0" u="none" strike="noStrike" kern="1200" cap="none" spc="0" normalizeH="0" baseline="0" noProof="0" dirty="0">
                      <a:ln>
                        <a:noFill/>
                      </a:ln>
                      <a:solidFill>
                        <a:prstClr val="white"/>
                      </a:solidFill>
                      <a:effectLst/>
                      <a:uLnTx/>
                      <a:uFillTx/>
                      <a:latin typeface="Felix Titling" panose="04060505060202020A04" pitchFamily="82" charset="0"/>
                      <a:ea typeface="+mn-ea"/>
                      <a:cs typeface="+mn-cs"/>
                    </a:rPr>
                    <a:t>MODULES </a:t>
                  </a:r>
                </a:p>
              </p:txBody>
            </p:sp>
          </p:grpSp>
          <p:sp>
            <p:nvSpPr>
              <p:cNvPr id="15" name="TextBox 14">
                <a:extLst>
                  <a:ext uri="{FF2B5EF4-FFF2-40B4-BE49-F238E27FC236}">
                    <a16:creationId xmlns:a16="http://schemas.microsoft.com/office/drawing/2014/main" id="{6248F497-47B1-4A6F-9735-125350CE3687}"/>
                  </a:ext>
                </a:extLst>
              </p:cNvPr>
              <p:cNvSpPr txBox="1"/>
              <p:nvPr/>
            </p:nvSpPr>
            <p:spPr>
              <a:xfrm>
                <a:off x="9570650" y="6304002"/>
                <a:ext cx="246093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Discuss about Modules</a:t>
                </a:r>
              </a:p>
            </p:txBody>
          </p:sp>
          <p:sp>
            <p:nvSpPr>
              <p:cNvPr id="16" name="TextBox 15">
                <a:extLst>
                  <a:ext uri="{FF2B5EF4-FFF2-40B4-BE49-F238E27FC236}">
                    <a16:creationId xmlns:a16="http://schemas.microsoft.com/office/drawing/2014/main" id="{42ABDC13-7CCA-4FD0-845D-45606D477709}"/>
                  </a:ext>
                </a:extLst>
              </p:cNvPr>
              <p:cNvSpPr txBox="1"/>
              <p:nvPr/>
            </p:nvSpPr>
            <p:spPr>
              <a:xfrm>
                <a:off x="211297" y="5988052"/>
                <a:ext cx="803425"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0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02</a:t>
                </a:r>
              </a:p>
            </p:txBody>
          </p:sp>
        </p:grpSp>
        <p:pic>
          <p:nvPicPr>
            <p:cNvPr id="92" name="Graphic 91" descr="Leaf with solid fill">
              <a:extLst>
                <a:ext uri="{FF2B5EF4-FFF2-40B4-BE49-F238E27FC236}">
                  <a16:creationId xmlns:a16="http://schemas.microsoft.com/office/drawing/2014/main" id="{96C5426A-76C5-4825-8023-6D7086EC888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253477" y="1901828"/>
              <a:ext cx="720414" cy="720414"/>
            </a:xfrm>
            <a:prstGeom prst="rect">
              <a:avLst/>
            </a:prstGeom>
          </p:spPr>
        </p:pic>
      </p:grpSp>
      <p:grpSp>
        <p:nvGrpSpPr>
          <p:cNvPr id="38" name="Group 37">
            <a:extLst>
              <a:ext uri="{FF2B5EF4-FFF2-40B4-BE49-F238E27FC236}">
                <a16:creationId xmlns:a16="http://schemas.microsoft.com/office/drawing/2014/main" id="{0374FB6E-C9CB-426C-8194-8220EDAF2489}"/>
              </a:ext>
            </a:extLst>
          </p:cNvPr>
          <p:cNvGrpSpPr/>
          <p:nvPr/>
        </p:nvGrpSpPr>
        <p:grpSpPr>
          <a:xfrm>
            <a:off x="1014722" y="8922814"/>
            <a:ext cx="2155690" cy="4529800"/>
            <a:chOff x="973974" y="1718600"/>
            <a:chExt cx="2155690" cy="4529800"/>
          </a:xfrm>
        </p:grpSpPr>
        <p:grpSp>
          <p:nvGrpSpPr>
            <p:cNvPr id="39" name="Group 38">
              <a:extLst>
                <a:ext uri="{FF2B5EF4-FFF2-40B4-BE49-F238E27FC236}">
                  <a16:creationId xmlns:a16="http://schemas.microsoft.com/office/drawing/2014/main" id="{A0822E96-72C2-4489-B0D8-592AE589C720}"/>
                </a:ext>
              </a:extLst>
            </p:cNvPr>
            <p:cNvGrpSpPr/>
            <p:nvPr/>
          </p:nvGrpSpPr>
          <p:grpSpPr>
            <a:xfrm>
              <a:off x="973974" y="1718600"/>
              <a:ext cx="2155690" cy="4529800"/>
              <a:chOff x="973974" y="1718600"/>
              <a:chExt cx="2155690" cy="4529800"/>
            </a:xfrm>
            <a:blipFill dpi="0" rotWithShape="1">
              <a:blip r:embed="rId7">
                <a:extLst>
                  <a:ext uri="{28A0092B-C50C-407E-A947-70E740481C1C}">
                    <a14:useLocalDpi xmlns:a14="http://schemas.microsoft.com/office/drawing/2010/main" val="0"/>
                  </a:ext>
                </a:extLst>
              </a:blip>
              <a:srcRect/>
              <a:stretch>
                <a:fillRect/>
              </a:stretch>
            </a:blipFill>
          </p:grpSpPr>
          <p:sp>
            <p:nvSpPr>
              <p:cNvPr id="42" name="Rectangle: Rounded Corners 41">
                <a:extLst>
                  <a:ext uri="{FF2B5EF4-FFF2-40B4-BE49-F238E27FC236}">
                    <a16:creationId xmlns:a16="http://schemas.microsoft.com/office/drawing/2014/main" id="{A9CF0485-7DC4-4A57-83E7-00C99A25D1FC}"/>
                  </a:ext>
                </a:extLst>
              </p:cNvPr>
              <p:cNvSpPr/>
              <p:nvPr/>
            </p:nvSpPr>
            <p:spPr>
              <a:xfrm>
                <a:off x="1014722" y="1718600"/>
                <a:ext cx="2114942" cy="4529800"/>
              </a:xfrm>
              <a:prstGeom prst="roundRect">
                <a:avLst/>
              </a:prstGeom>
              <a:gr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3" name="Rectangle: Rounded Corners 42">
                <a:extLst>
                  <a:ext uri="{FF2B5EF4-FFF2-40B4-BE49-F238E27FC236}">
                    <a16:creationId xmlns:a16="http://schemas.microsoft.com/office/drawing/2014/main" id="{3DCF50AC-F4E0-4BA1-BEC8-69054B3DCBF1}"/>
                  </a:ext>
                </a:extLst>
              </p:cNvPr>
              <p:cNvSpPr/>
              <p:nvPr/>
            </p:nvSpPr>
            <p:spPr>
              <a:xfrm>
                <a:off x="1700464" y="6076950"/>
                <a:ext cx="743457" cy="76198"/>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1C53FC53-5C31-4C2B-A4BF-8EC81306628D}"/>
                  </a:ext>
                </a:extLst>
              </p:cNvPr>
              <p:cNvSpPr txBox="1"/>
              <p:nvPr/>
            </p:nvSpPr>
            <p:spPr>
              <a:xfrm>
                <a:off x="973974" y="4966035"/>
                <a:ext cx="1843774" cy="1015663"/>
              </a:xfrm>
              <a:prstGeom prst="rect">
                <a:avLst/>
              </a:prstGeom>
              <a:grp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fruits</a:t>
                </a:r>
                <a:endPar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endParaRPr>
              </a:p>
            </p:txBody>
          </p:sp>
          <p:sp>
            <p:nvSpPr>
              <p:cNvPr id="45" name="TextBox 44">
                <a:extLst>
                  <a:ext uri="{FF2B5EF4-FFF2-40B4-BE49-F238E27FC236}">
                    <a16:creationId xmlns:a16="http://schemas.microsoft.com/office/drawing/2014/main" id="{046FF7A9-7BCD-4F08-99E0-9ABFDB69E4FF}"/>
                  </a:ext>
                </a:extLst>
              </p:cNvPr>
              <p:cNvSpPr txBox="1"/>
              <p:nvPr/>
            </p:nvSpPr>
            <p:spPr>
              <a:xfrm>
                <a:off x="1014722" y="4896377"/>
                <a:ext cx="63030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baru</a:t>
                </a:r>
              </a:p>
            </p:txBody>
          </p:sp>
        </p:grpSp>
        <p:sp>
          <p:nvSpPr>
            <p:cNvPr id="40" name="Rectangle: Rounded Corners 39">
              <a:extLst>
                <a:ext uri="{FF2B5EF4-FFF2-40B4-BE49-F238E27FC236}">
                  <a16:creationId xmlns:a16="http://schemas.microsoft.com/office/drawing/2014/main" id="{BDB694D8-FD84-4D68-97DF-35AC35972A32}"/>
                </a:ext>
              </a:extLst>
            </p:cNvPr>
            <p:cNvSpPr/>
            <p:nvPr/>
          </p:nvSpPr>
          <p:spPr>
            <a:xfrm>
              <a:off x="1706111" y="5972378"/>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1" name="Graphic 40" descr="Blueberry with solid fill">
              <a:extLst>
                <a:ext uri="{FF2B5EF4-FFF2-40B4-BE49-F238E27FC236}">
                  <a16:creationId xmlns:a16="http://schemas.microsoft.com/office/drawing/2014/main" id="{4768C25A-717C-44D6-9C4D-362F4FC7B5F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481811" y="2589204"/>
              <a:ext cx="1180759" cy="1180759"/>
            </a:xfrm>
            <a:prstGeom prst="rect">
              <a:avLst/>
            </a:prstGeom>
          </p:spPr>
        </p:pic>
      </p:grpSp>
      <p:grpSp>
        <p:nvGrpSpPr>
          <p:cNvPr id="46" name="Group 45">
            <a:extLst>
              <a:ext uri="{FF2B5EF4-FFF2-40B4-BE49-F238E27FC236}">
                <a16:creationId xmlns:a16="http://schemas.microsoft.com/office/drawing/2014/main" id="{F700E359-ADE3-4051-8DA8-1164D25C6F5B}"/>
              </a:ext>
            </a:extLst>
          </p:cNvPr>
          <p:cNvGrpSpPr/>
          <p:nvPr/>
        </p:nvGrpSpPr>
        <p:grpSpPr>
          <a:xfrm>
            <a:off x="9038291" y="23492265"/>
            <a:ext cx="2244525" cy="4529800"/>
            <a:chOff x="8997543" y="1739138"/>
            <a:chExt cx="2244525" cy="4529800"/>
          </a:xfrm>
        </p:grpSpPr>
        <p:grpSp>
          <p:nvGrpSpPr>
            <p:cNvPr id="47" name="Group 46">
              <a:extLst>
                <a:ext uri="{FF2B5EF4-FFF2-40B4-BE49-F238E27FC236}">
                  <a16:creationId xmlns:a16="http://schemas.microsoft.com/office/drawing/2014/main" id="{AE58192C-D1D9-4681-BCE1-4E6879CEE54F}"/>
                </a:ext>
              </a:extLst>
            </p:cNvPr>
            <p:cNvGrpSpPr/>
            <p:nvPr/>
          </p:nvGrpSpPr>
          <p:grpSpPr>
            <a:xfrm>
              <a:off x="8997543" y="1739138"/>
              <a:ext cx="2244525" cy="4529800"/>
              <a:chOff x="8997543" y="1739138"/>
              <a:chExt cx="2244525" cy="4529800"/>
            </a:xfrm>
          </p:grpSpPr>
          <p:sp>
            <p:nvSpPr>
              <p:cNvPr id="49" name="Rectangle: Rounded Corners 48">
                <a:extLst>
                  <a:ext uri="{FF2B5EF4-FFF2-40B4-BE49-F238E27FC236}">
                    <a16:creationId xmlns:a16="http://schemas.microsoft.com/office/drawing/2014/main" id="{CB21DBCF-5CAF-47D8-903E-A7B81F2B1DDE}"/>
                  </a:ext>
                </a:extLst>
              </p:cNvPr>
              <p:cNvSpPr/>
              <p:nvPr/>
            </p:nvSpPr>
            <p:spPr>
              <a:xfrm>
                <a:off x="9062336" y="1739138"/>
                <a:ext cx="2114942" cy="4529800"/>
              </a:xfrm>
              <a:prstGeom prst="roundRect">
                <a:avLst/>
              </a:prstGeom>
              <a:blipFill dpi="0" rotWithShape="1">
                <a:blip r:embed="rId10">
                  <a:alphaModFix/>
                  <a:extLst>
                    <a:ext uri="{28A0092B-C50C-407E-A947-70E740481C1C}">
                      <a14:useLocalDpi xmlns:a14="http://schemas.microsoft.com/office/drawing/2010/main" val="0"/>
                    </a:ext>
                  </a:extLst>
                </a:blip>
                <a:srcRect/>
                <a:stretch>
                  <a:fillRect/>
                </a:stretch>
              </a:bli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0" name="Rectangle: Rounded Corners 49">
                <a:extLst>
                  <a:ext uri="{FF2B5EF4-FFF2-40B4-BE49-F238E27FC236}">
                    <a16:creationId xmlns:a16="http://schemas.microsoft.com/office/drawing/2014/main" id="{B65ECCB1-CB2F-4233-939B-A155E6054215}"/>
                  </a:ext>
                </a:extLst>
              </p:cNvPr>
              <p:cNvSpPr/>
              <p:nvPr/>
            </p:nvSpPr>
            <p:spPr>
              <a:xfrm>
                <a:off x="9748078" y="6076950"/>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BA0BAB1C-A8EE-4682-9968-7F76DE428281}"/>
                  </a:ext>
                </a:extLst>
              </p:cNvPr>
              <p:cNvSpPr txBox="1"/>
              <p:nvPr/>
            </p:nvSpPr>
            <p:spPr>
              <a:xfrm>
                <a:off x="8997543" y="5015120"/>
                <a:ext cx="2244525" cy="10156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bunga</a:t>
                </a:r>
                <a:endPar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endParaRPr>
              </a:p>
            </p:txBody>
          </p:sp>
          <p:sp>
            <p:nvSpPr>
              <p:cNvPr id="52" name="TextBox 51">
                <a:extLst>
                  <a:ext uri="{FF2B5EF4-FFF2-40B4-BE49-F238E27FC236}">
                    <a16:creationId xmlns:a16="http://schemas.microsoft.com/office/drawing/2014/main" id="{5049A3CB-B811-4233-B346-6C28E620C274}"/>
                  </a:ext>
                </a:extLst>
              </p:cNvPr>
              <p:cNvSpPr txBox="1"/>
              <p:nvPr/>
            </p:nvSpPr>
            <p:spPr>
              <a:xfrm>
                <a:off x="9043600" y="4940970"/>
                <a:ext cx="83388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rapper</a:t>
                </a:r>
              </a:p>
            </p:txBody>
          </p:sp>
        </p:grpSp>
        <p:pic>
          <p:nvPicPr>
            <p:cNvPr id="48" name="Graphic 47" descr="Frangipani with solid fill">
              <a:extLst>
                <a:ext uri="{FF2B5EF4-FFF2-40B4-BE49-F238E27FC236}">
                  <a16:creationId xmlns:a16="http://schemas.microsoft.com/office/drawing/2014/main" id="{C0EC9991-285B-402D-9066-A20ADB5F25B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721288" y="2633152"/>
              <a:ext cx="914400" cy="914400"/>
            </a:xfrm>
            <a:prstGeom prst="rect">
              <a:avLst/>
            </a:prstGeom>
          </p:spPr>
        </p:pic>
      </p:grpSp>
      <p:grpSp>
        <p:nvGrpSpPr>
          <p:cNvPr id="53" name="Group 52">
            <a:extLst>
              <a:ext uri="{FF2B5EF4-FFF2-40B4-BE49-F238E27FC236}">
                <a16:creationId xmlns:a16="http://schemas.microsoft.com/office/drawing/2014/main" id="{6F7DF22C-4B96-4557-96B7-83A5458C979C}"/>
              </a:ext>
            </a:extLst>
          </p:cNvPr>
          <p:cNvGrpSpPr/>
          <p:nvPr/>
        </p:nvGrpSpPr>
        <p:grpSpPr>
          <a:xfrm>
            <a:off x="6397986" y="18579661"/>
            <a:ext cx="2114942" cy="4529800"/>
            <a:chOff x="6357238" y="1739138"/>
            <a:chExt cx="2114942" cy="4529800"/>
          </a:xfrm>
        </p:grpSpPr>
        <p:grpSp>
          <p:nvGrpSpPr>
            <p:cNvPr id="54" name="Group 53">
              <a:extLst>
                <a:ext uri="{FF2B5EF4-FFF2-40B4-BE49-F238E27FC236}">
                  <a16:creationId xmlns:a16="http://schemas.microsoft.com/office/drawing/2014/main" id="{27E240E8-B56A-4D3A-9E7C-B268F66B8339}"/>
                </a:ext>
              </a:extLst>
            </p:cNvPr>
            <p:cNvGrpSpPr/>
            <p:nvPr/>
          </p:nvGrpSpPr>
          <p:grpSpPr>
            <a:xfrm>
              <a:off x="6357238" y="1739138"/>
              <a:ext cx="2114942" cy="4529800"/>
              <a:chOff x="6357238" y="1739138"/>
              <a:chExt cx="2114942" cy="4529800"/>
            </a:xfrm>
          </p:grpSpPr>
          <p:sp>
            <p:nvSpPr>
              <p:cNvPr id="56" name="Rectangle: Rounded Corners 55">
                <a:extLst>
                  <a:ext uri="{FF2B5EF4-FFF2-40B4-BE49-F238E27FC236}">
                    <a16:creationId xmlns:a16="http://schemas.microsoft.com/office/drawing/2014/main" id="{26A07D3C-DA1C-4FFE-B45A-63A918D30DE6}"/>
                  </a:ext>
                </a:extLst>
              </p:cNvPr>
              <p:cNvSpPr/>
              <p:nvPr/>
            </p:nvSpPr>
            <p:spPr>
              <a:xfrm>
                <a:off x="6357238" y="1739138"/>
                <a:ext cx="2114942" cy="4529800"/>
              </a:xfrm>
              <a:prstGeom prst="roundRect">
                <a:avLst/>
              </a:prstGeom>
              <a:blipFill dpi="0" rotWithShape="1">
                <a:blip r:embed="rId13">
                  <a:alphaModFix/>
                  <a:extLst>
                    <a:ext uri="{28A0092B-C50C-407E-A947-70E740481C1C}">
                      <a14:useLocalDpi xmlns:a14="http://schemas.microsoft.com/office/drawing/2010/main" val="0"/>
                    </a:ext>
                  </a:extLst>
                </a:blip>
                <a:srcRect/>
                <a:stretch>
                  <a:fillRect/>
                </a:stretch>
              </a:bli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Rectangle: Rounded Corners 56">
                <a:extLst>
                  <a:ext uri="{FF2B5EF4-FFF2-40B4-BE49-F238E27FC236}">
                    <a16:creationId xmlns:a16="http://schemas.microsoft.com/office/drawing/2014/main" id="{B16E97C1-52CE-430F-A979-31CE35254C17}"/>
                  </a:ext>
                </a:extLst>
              </p:cNvPr>
              <p:cNvSpPr/>
              <p:nvPr/>
            </p:nvSpPr>
            <p:spPr>
              <a:xfrm>
                <a:off x="7042980" y="6038851"/>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TextBox 57">
                <a:extLst>
                  <a:ext uri="{FF2B5EF4-FFF2-40B4-BE49-F238E27FC236}">
                    <a16:creationId xmlns:a16="http://schemas.microsoft.com/office/drawing/2014/main" id="{F1EA71F1-CEBF-491D-93C9-43E0D285054E}"/>
                  </a:ext>
                </a:extLst>
              </p:cNvPr>
              <p:cNvSpPr txBox="1"/>
              <p:nvPr/>
            </p:nvSpPr>
            <p:spPr>
              <a:xfrm>
                <a:off x="6575915" y="4950493"/>
                <a:ext cx="1596912"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6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tree</a:t>
                </a:r>
                <a:endPar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endParaRPr>
              </a:p>
            </p:txBody>
          </p:sp>
          <p:sp>
            <p:nvSpPr>
              <p:cNvPr id="59" name="TextBox 58">
                <a:extLst>
                  <a:ext uri="{FF2B5EF4-FFF2-40B4-BE49-F238E27FC236}">
                    <a16:creationId xmlns:a16="http://schemas.microsoft.com/office/drawing/2014/main" id="{57CD19F2-235F-40BE-9BD4-42610F91A628}"/>
                  </a:ext>
                </a:extLst>
              </p:cNvPr>
              <p:cNvSpPr txBox="1"/>
              <p:nvPr/>
            </p:nvSpPr>
            <p:spPr>
              <a:xfrm>
                <a:off x="6616252" y="4950493"/>
                <a:ext cx="64793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lama</a:t>
                </a:r>
              </a:p>
            </p:txBody>
          </p:sp>
        </p:grpSp>
        <p:pic>
          <p:nvPicPr>
            <p:cNvPr id="55" name="Graphic 54" descr="Tree With Roots with solid fill">
              <a:extLst>
                <a:ext uri="{FF2B5EF4-FFF2-40B4-BE49-F238E27FC236}">
                  <a16:creationId xmlns:a16="http://schemas.microsoft.com/office/drawing/2014/main" id="{9FD57E6A-71A2-4405-BABD-B08A6FF12E0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940219" y="2615019"/>
              <a:ext cx="914400" cy="914400"/>
            </a:xfrm>
            <a:prstGeom prst="rect">
              <a:avLst/>
            </a:prstGeom>
          </p:spPr>
        </p:pic>
      </p:grpSp>
      <p:grpSp>
        <p:nvGrpSpPr>
          <p:cNvPr id="60" name="Group 59">
            <a:extLst>
              <a:ext uri="{FF2B5EF4-FFF2-40B4-BE49-F238E27FC236}">
                <a16:creationId xmlns:a16="http://schemas.microsoft.com/office/drawing/2014/main" id="{B63FDBD3-D8A9-4384-901F-1BCB8EA351F0}"/>
              </a:ext>
            </a:extLst>
          </p:cNvPr>
          <p:cNvGrpSpPr/>
          <p:nvPr/>
        </p:nvGrpSpPr>
        <p:grpSpPr>
          <a:xfrm>
            <a:off x="3760570" y="13636508"/>
            <a:ext cx="2114942" cy="4529800"/>
            <a:chOff x="3719822" y="1739138"/>
            <a:chExt cx="2114942" cy="4529800"/>
          </a:xfrm>
        </p:grpSpPr>
        <p:grpSp>
          <p:nvGrpSpPr>
            <p:cNvPr id="61" name="Group 60">
              <a:extLst>
                <a:ext uri="{FF2B5EF4-FFF2-40B4-BE49-F238E27FC236}">
                  <a16:creationId xmlns:a16="http://schemas.microsoft.com/office/drawing/2014/main" id="{BB6C0A1B-7A24-411A-B971-D28B409E3F10}"/>
                </a:ext>
              </a:extLst>
            </p:cNvPr>
            <p:cNvGrpSpPr/>
            <p:nvPr/>
          </p:nvGrpSpPr>
          <p:grpSpPr>
            <a:xfrm>
              <a:off x="3719822" y="1739138"/>
              <a:ext cx="2114942" cy="4529800"/>
              <a:chOff x="3719822" y="1739138"/>
              <a:chExt cx="2114942" cy="4529800"/>
            </a:xfrm>
          </p:grpSpPr>
          <p:sp>
            <p:nvSpPr>
              <p:cNvPr id="63" name="Rectangle: Rounded Corners 62">
                <a:extLst>
                  <a:ext uri="{FF2B5EF4-FFF2-40B4-BE49-F238E27FC236}">
                    <a16:creationId xmlns:a16="http://schemas.microsoft.com/office/drawing/2014/main" id="{D562CC65-2148-4AE2-97B7-941D07B401A1}"/>
                  </a:ext>
                </a:extLst>
              </p:cNvPr>
              <p:cNvSpPr/>
              <p:nvPr/>
            </p:nvSpPr>
            <p:spPr>
              <a:xfrm>
                <a:off x="3719822" y="1739138"/>
                <a:ext cx="2114942" cy="4529800"/>
              </a:xfrm>
              <a:prstGeom prst="roundRect">
                <a:avLst/>
              </a:prstGeom>
              <a:blipFill dpi="0" rotWithShape="1">
                <a:blip r:embed="rId16">
                  <a:alphaModFix/>
                  <a:extLst>
                    <a:ext uri="{28A0092B-C50C-407E-A947-70E740481C1C}">
                      <a14:useLocalDpi xmlns:a14="http://schemas.microsoft.com/office/drawing/2010/main" val="0"/>
                    </a:ext>
                  </a:extLst>
                </a:blip>
                <a:srcRect/>
                <a:stretch>
                  <a:fillRect/>
                </a:stretch>
              </a:bli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4" name="Rectangle: Rounded Corners 63">
                <a:extLst>
                  <a:ext uri="{FF2B5EF4-FFF2-40B4-BE49-F238E27FC236}">
                    <a16:creationId xmlns:a16="http://schemas.microsoft.com/office/drawing/2014/main" id="{30B252E0-3C91-4B42-BA66-9B8A5E6AFC0F}"/>
                  </a:ext>
                </a:extLst>
              </p:cNvPr>
              <p:cNvSpPr/>
              <p:nvPr/>
            </p:nvSpPr>
            <p:spPr>
              <a:xfrm>
                <a:off x="4405564" y="6076950"/>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TextBox 64">
                <a:extLst>
                  <a:ext uri="{FF2B5EF4-FFF2-40B4-BE49-F238E27FC236}">
                    <a16:creationId xmlns:a16="http://schemas.microsoft.com/office/drawing/2014/main" id="{5937493F-DFFF-46D0-8D99-23EA652F4BC9}"/>
                  </a:ext>
                </a:extLst>
              </p:cNvPr>
              <p:cNvSpPr txBox="1"/>
              <p:nvPr/>
            </p:nvSpPr>
            <p:spPr>
              <a:xfrm>
                <a:off x="3883954" y="4940970"/>
                <a:ext cx="1877437"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6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seed</a:t>
                </a:r>
                <a:endPar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endParaRPr>
              </a:p>
            </p:txBody>
          </p:sp>
          <p:sp>
            <p:nvSpPr>
              <p:cNvPr id="66" name="TextBox 65">
                <a:extLst>
                  <a:ext uri="{FF2B5EF4-FFF2-40B4-BE49-F238E27FC236}">
                    <a16:creationId xmlns:a16="http://schemas.microsoft.com/office/drawing/2014/main" id="{9E0A116A-1CA5-430C-91EC-92141CD74910}"/>
                  </a:ext>
                </a:extLst>
              </p:cNvPr>
              <p:cNvSpPr txBox="1"/>
              <p:nvPr/>
            </p:nvSpPr>
            <p:spPr>
              <a:xfrm>
                <a:off x="3883954" y="4990055"/>
                <a:ext cx="63190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soya</a:t>
                </a:r>
              </a:p>
            </p:txBody>
          </p:sp>
        </p:grpSp>
        <p:pic>
          <p:nvPicPr>
            <p:cNvPr id="62" name="Graphic 61" descr="Acorn with solid fill">
              <a:hlinkClick r:id="rId17" action="ppaction://hlinksldjump"/>
              <a:extLst>
                <a:ext uri="{FF2B5EF4-FFF2-40B4-BE49-F238E27FC236}">
                  <a16:creationId xmlns:a16="http://schemas.microsoft.com/office/drawing/2014/main" id="{C371F5BB-E964-4E68-BA5A-049F95962F8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365472" y="2656589"/>
              <a:ext cx="914400" cy="914400"/>
            </a:xfrm>
            <a:prstGeom prst="rect">
              <a:avLst/>
            </a:prstGeom>
          </p:spPr>
        </p:pic>
      </p:grpSp>
    </p:spTree>
    <p:extLst>
      <p:ext uri="{BB962C8B-B14F-4D97-AF65-F5344CB8AC3E}">
        <p14:creationId xmlns:p14="http://schemas.microsoft.com/office/powerpoint/2010/main" val="1737440936"/>
      </p:ext>
    </p:extLst>
  </p:cSld>
  <p:clrMapOvr>
    <a:masterClrMapping/>
  </p:clrMapOvr>
  <mc:AlternateContent xmlns:mc="http://schemas.openxmlformats.org/markup-compatibility/2006" xmlns:p14="http://schemas.microsoft.com/office/powerpoint/2010/main">
    <mc:Choice Requires="p14">
      <p:transition p14:dur="0" advTm="1000"/>
    </mc:Choice>
    <mc:Fallback xmlns="">
      <p:transition advTm="1000"/>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icon&#10;&#10;Description automatically generated">
            <a:extLst>
              <a:ext uri="{FF2B5EF4-FFF2-40B4-BE49-F238E27FC236}">
                <a16:creationId xmlns:a16="http://schemas.microsoft.com/office/drawing/2014/main" id="{C3C16F33-7056-47E3-ACF3-7DB22333C73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5679818" cy="6858000"/>
          </a:xfrm>
          <a:prstGeom prst="rect">
            <a:avLst/>
          </a:prstGeom>
        </p:spPr>
      </p:pic>
      <p:sp>
        <p:nvSpPr>
          <p:cNvPr id="2" name="TextBox 1">
            <a:extLst>
              <a:ext uri="{FF2B5EF4-FFF2-40B4-BE49-F238E27FC236}">
                <a16:creationId xmlns:a16="http://schemas.microsoft.com/office/drawing/2014/main" id="{34FBC6FE-C5BE-4E18-B3D8-E031AD48F3C9}"/>
              </a:ext>
            </a:extLst>
          </p:cNvPr>
          <p:cNvSpPr txBox="1"/>
          <p:nvPr/>
        </p:nvSpPr>
        <p:spPr>
          <a:xfrm>
            <a:off x="4442394" y="917912"/>
            <a:ext cx="6859570" cy="3693319"/>
          </a:xfrm>
          <a:prstGeom prst="rect">
            <a:avLst/>
          </a:prstGeom>
          <a:noFill/>
        </p:spPr>
        <p:txBody>
          <a:bodyPr wrap="none" rtlCol="0">
            <a:spAutoFit/>
          </a:bodyPr>
          <a:lstStyle/>
          <a:p>
            <a:r>
              <a:rPr lang="en-MY" sz="9600" b="1" dirty="0">
                <a:solidFill>
                  <a:schemeClr val="bg1"/>
                </a:solidFill>
                <a:latin typeface="Century Gothic" panose="020B0502020202020204" pitchFamily="34" charset="0"/>
              </a:rPr>
              <a:t>Conclusion</a:t>
            </a:r>
          </a:p>
          <a:p>
            <a:endParaRPr lang="en-MY" sz="13800" b="1" dirty="0">
              <a:solidFill>
                <a:schemeClr val="bg1"/>
              </a:solidFill>
              <a:latin typeface="Century Gothic" panose="020B0502020202020204" pitchFamily="34" charset="0"/>
            </a:endParaRPr>
          </a:p>
        </p:txBody>
      </p:sp>
      <p:sp>
        <p:nvSpPr>
          <p:cNvPr id="3" name="TextBox 2">
            <a:extLst>
              <a:ext uri="{FF2B5EF4-FFF2-40B4-BE49-F238E27FC236}">
                <a16:creationId xmlns:a16="http://schemas.microsoft.com/office/drawing/2014/main" id="{C51551B4-3388-40E7-A8E2-933E6DAFA79E}"/>
              </a:ext>
            </a:extLst>
          </p:cNvPr>
          <p:cNvSpPr txBox="1"/>
          <p:nvPr/>
        </p:nvSpPr>
        <p:spPr>
          <a:xfrm>
            <a:off x="4594794" y="2447072"/>
            <a:ext cx="7444806" cy="4093428"/>
          </a:xfrm>
          <a:prstGeom prst="rect">
            <a:avLst/>
          </a:prstGeom>
          <a:noFill/>
        </p:spPr>
        <p:txBody>
          <a:bodyPr wrap="square">
            <a:spAutoFit/>
          </a:bodyPr>
          <a:lstStyle/>
          <a:p>
            <a:pPr algn="just"/>
            <a:r>
              <a:rPr lang="en-US" sz="2000" dirty="0">
                <a:solidFill>
                  <a:schemeClr val="accent3">
                    <a:lumMod val="50000"/>
                  </a:schemeClr>
                </a:solidFill>
              </a:rPr>
              <a:t>In conclusion, creating an Instagram clone web development project can be a challenging but rewarding endeavor. It requires a solid understanding of web development technologies, such as HTML, CSS, JavaScript, and PHP, as well as proficiency in working with databases, such as MySQL.</a:t>
            </a:r>
          </a:p>
          <a:p>
            <a:pPr algn="just"/>
            <a:r>
              <a:rPr lang="en-US" sz="2000" dirty="0">
                <a:solidFill>
                  <a:schemeClr val="accent3">
                    <a:lumMod val="50000"/>
                  </a:schemeClr>
                </a:solidFill>
              </a:rPr>
              <a:t> By building an Instagram clone, developers can gain hands-on experience in developing a complex web application that incorporates features like image and video upload, user authentication, and social networking capabilities. </a:t>
            </a:r>
          </a:p>
          <a:p>
            <a:pPr algn="just"/>
            <a:endParaRPr lang="en-US" sz="2000" dirty="0">
              <a:solidFill>
                <a:schemeClr val="accent3">
                  <a:lumMod val="50000"/>
                </a:schemeClr>
              </a:solidFill>
            </a:endParaRPr>
          </a:p>
          <a:p>
            <a:pPr algn="just"/>
            <a:r>
              <a:rPr lang="en-US" sz="2000" dirty="0">
                <a:solidFill>
                  <a:schemeClr val="accent3">
                    <a:lumMod val="50000"/>
                  </a:schemeClr>
                </a:solidFill>
              </a:rPr>
              <a:t>Additionally, the project can be a great opportunity to learn about new technologies and trends in web development, such as responsive design</a:t>
            </a:r>
          </a:p>
        </p:txBody>
      </p:sp>
      <p:pic>
        <p:nvPicPr>
          <p:cNvPr id="4" name="Picture 3">
            <a:extLst>
              <a:ext uri="{FF2B5EF4-FFF2-40B4-BE49-F238E27FC236}">
                <a16:creationId xmlns:a16="http://schemas.microsoft.com/office/drawing/2014/main" id="{0C0C89C7-2CA1-C0BC-3A9A-12753731416F}"/>
              </a:ext>
            </a:extLst>
          </p:cNvPr>
          <p:cNvPicPr>
            <a:picLocks noChangeAspect="1"/>
          </p:cNvPicPr>
          <p:nvPr/>
        </p:nvPicPr>
        <p:blipFill>
          <a:blip r:embed="rId3"/>
          <a:stretch>
            <a:fillRect/>
          </a:stretch>
        </p:blipFill>
        <p:spPr>
          <a:xfrm>
            <a:off x="0" y="7379194"/>
            <a:ext cx="12192000" cy="6844311"/>
          </a:xfrm>
          <a:prstGeom prst="rect">
            <a:avLst/>
          </a:prstGeom>
        </p:spPr>
      </p:pic>
      <p:grpSp>
        <p:nvGrpSpPr>
          <p:cNvPr id="7" name="Group 6">
            <a:extLst>
              <a:ext uri="{FF2B5EF4-FFF2-40B4-BE49-F238E27FC236}">
                <a16:creationId xmlns:a16="http://schemas.microsoft.com/office/drawing/2014/main" id="{7E1FD4F3-B718-041A-6346-0A6CC18008E6}"/>
              </a:ext>
            </a:extLst>
          </p:cNvPr>
          <p:cNvGrpSpPr/>
          <p:nvPr/>
        </p:nvGrpSpPr>
        <p:grpSpPr>
          <a:xfrm>
            <a:off x="666229" y="10661558"/>
            <a:ext cx="1823876" cy="1242850"/>
            <a:chOff x="795499" y="3142442"/>
            <a:chExt cx="1823876" cy="1242850"/>
          </a:xfrm>
        </p:grpSpPr>
        <p:sp>
          <p:nvSpPr>
            <p:cNvPr id="8" name="Rectangle: Rounded Corners 7">
              <a:hlinkHover r:id="rId4" action="ppaction://hlinksldjump"/>
              <a:extLst>
                <a:ext uri="{FF2B5EF4-FFF2-40B4-BE49-F238E27FC236}">
                  <a16:creationId xmlns:a16="http://schemas.microsoft.com/office/drawing/2014/main" id="{45BC2284-2218-37D8-3030-236FEFF4061C}"/>
                </a:ext>
              </a:extLst>
            </p:cNvPr>
            <p:cNvSpPr/>
            <p:nvPr/>
          </p:nvSpPr>
          <p:spPr>
            <a:xfrm>
              <a:off x="795499" y="3142442"/>
              <a:ext cx="1823876" cy="1242850"/>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2" descr="backpack green Illustration in PNG, SVG">
              <a:hlinkHover r:id="rId4" action="ppaction://hlinksldjump"/>
              <a:extLst>
                <a:ext uri="{FF2B5EF4-FFF2-40B4-BE49-F238E27FC236}">
                  <a16:creationId xmlns:a16="http://schemas.microsoft.com/office/drawing/2014/main" id="{8A5A32AB-3294-F69C-0029-A9BB3824BD1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00149" y="3300703"/>
              <a:ext cx="890589" cy="9184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a:extLst>
              <a:ext uri="{FF2B5EF4-FFF2-40B4-BE49-F238E27FC236}">
                <a16:creationId xmlns:a16="http://schemas.microsoft.com/office/drawing/2014/main" id="{97953D93-77B8-84B5-2156-3F7256AB6ECC}"/>
              </a:ext>
            </a:extLst>
          </p:cNvPr>
          <p:cNvGrpSpPr/>
          <p:nvPr/>
        </p:nvGrpSpPr>
        <p:grpSpPr>
          <a:xfrm>
            <a:off x="2793121" y="10682662"/>
            <a:ext cx="1823876" cy="1242850"/>
            <a:chOff x="2765875" y="3142442"/>
            <a:chExt cx="1823876" cy="1242850"/>
          </a:xfrm>
        </p:grpSpPr>
        <p:sp>
          <p:nvSpPr>
            <p:cNvPr id="11" name="Rectangle: Rounded Corners 10">
              <a:hlinkHover r:id="rId6" action="ppaction://hlinksldjump"/>
              <a:extLst>
                <a:ext uri="{FF2B5EF4-FFF2-40B4-BE49-F238E27FC236}">
                  <a16:creationId xmlns:a16="http://schemas.microsoft.com/office/drawing/2014/main" id="{4AD2EBA6-F35E-041C-A4E9-202C20C70A51}"/>
                </a:ext>
              </a:extLst>
            </p:cNvPr>
            <p:cNvSpPr/>
            <p:nvPr/>
          </p:nvSpPr>
          <p:spPr>
            <a:xfrm>
              <a:off x="2765875" y="3142442"/>
              <a:ext cx="1823876" cy="1242850"/>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58065A88-850D-8D3F-4BB3-B4A784C7D155}"/>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3120580" y="3283504"/>
              <a:ext cx="1107416" cy="987597"/>
            </a:xfrm>
            <a:prstGeom prst="rect">
              <a:avLst/>
            </a:prstGeom>
          </p:spPr>
        </p:pic>
      </p:grpSp>
      <p:grpSp>
        <p:nvGrpSpPr>
          <p:cNvPr id="13" name="Group 12">
            <a:extLst>
              <a:ext uri="{FF2B5EF4-FFF2-40B4-BE49-F238E27FC236}">
                <a16:creationId xmlns:a16="http://schemas.microsoft.com/office/drawing/2014/main" id="{FF40A6A9-8DEA-EDD2-3BA8-546AE2F8519D}"/>
              </a:ext>
            </a:extLst>
          </p:cNvPr>
          <p:cNvGrpSpPr/>
          <p:nvPr/>
        </p:nvGrpSpPr>
        <p:grpSpPr>
          <a:xfrm>
            <a:off x="4989936" y="10695221"/>
            <a:ext cx="1823876" cy="1242850"/>
            <a:chOff x="4736251" y="3142442"/>
            <a:chExt cx="1823876" cy="1242850"/>
          </a:xfrm>
        </p:grpSpPr>
        <p:sp>
          <p:nvSpPr>
            <p:cNvPr id="14" name="Rectangle: Rounded Corners 13">
              <a:hlinkHover r:id="rId8" action="ppaction://hlinksldjump"/>
              <a:extLst>
                <a:ext uri="{FF2B5EF4-FFF2-40B4-BE49-F238E27FC236}">
                  <a16:creationId xmlns:a16="http://schemas.microsoft.com/office/drawing/2014/main" id="{C7D51111-9D5A-CD80-5315-A98FCF3F42D1}"/>
                </a:ext>
              </a:extLst>
            </p:cNvPr>
            <p:cNvSpPr/>
            <p:nvPr/>
          </p:nvSpPr>
          <p:spPr>
            <a:xfrm>
              <a:off x="4736251" y="3142442"/>
              <a:ext cx="1823876" cy="1242850"/>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Picture 14">
              <a:hlinkHover r:id="rId8" action="ppaction://hlinksldjump"/>
              <a:extLst>
                <a:ext uri="{FF2B5EF4-FFF2-40B4-BE49-F238E27FC236}">
                  <a16:creationId xmlns:a16="http://schemas.microsoft.com/office/drawing/2014/main" id="{01DC13B3-D29E-5B4F-819C-5FBE2D25697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63346" y="3363885"/>
              <a:ext cx="763355" cy="759193"/>
            </a:xfrm>
            <a:prstGeom prst="rect">
              <a:avLst/>
            </a:prstGeom>
          </p:spPr>
        </p:pic>
      </p:grpSp>
      <p:grpSp>
        <p:nvGrpSpPr>
          <p:cNvPr id="16" name="Group 15">
            <a:extLst>
              <a:ext uri="{FF2B5EF4-FFF2-40B4-BE49-F238E27FC236}">
                <a16:creationId xmlns:a16="http://schemas.microsoft.com/office/drawing/2014/main" id="{2F4208CD-42E4-A69A-2F1B-2CBBAD526625}"/>
              </a:ext>
            </a:extLst>
          </p:cNvPr>
          <p:cNvGrpSpPr/>
          <p:nvPr/>
        </p:nvGrpSpPr>
        <p:grpSpPr>
          <a:xfrm>
            <a:off x="7111422" y="10707780"/>
            <a:ext cx="1823876" cy="1242850"/>
            <a:chOff x="6955139" y="3193494"/>
            <a:chExt cx="1823876" cy="1242850"/>
          </a:xfrm>
        </p:grpSpPr>
        <p:sp>
          <p:nvSpPr>
            <p:cNvPr id="17" name="Rectangle: Rounded Corners 16">
              <a:hlinkHover r:id="rId8" action="ppaction://hlinksldjump"/>
              <a:extLst>
                <a:ext uri="{FF2B5EF4-FFF2-40B4-BE49-F238E27FC236}">
                  <a16:creationId xmlns:a16="http://schemas.microsoft.com/office/drawing/2014/main" id="{F1E6EF8B-DA6F-9043-C492-DA7052C91EDA}"/>
                </a:ext>
              </a:extLst>
            </p:cNvPr>
            <p:cNvSpPr/>
            <p:nvPr/>
          </p:nvSpPr>
          <p:spPr>
            <a:xfrm>
              <a:off x="6955139" y="3193494"/>
              <a:ext cx="1823876" cy="1242850"/>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Picture 17">
              <a:hlinkHover r:id="rId8" action="ppaction://hlinksldjump"/>
              <a:extLst>
                <a:ext uri="{FF2B5EF4-FFF2-40B4-BE49-F238E27FC236}">
                  <a16:creationId xmlns:a16="http://schemas.microsoft.com/office/drawing/2014/main" id="{8F0DB155-9729-3492-AC39-43822447036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482234" y="3414937"/>
              <a:ext cx="763355" cy="759193"/>
            </a:xfrm>
            <a:prstGeom prst="rect">
              <a:avLst/>
            </a:prstGeom>
          </p:spPr>
        </p:pic>
      </p:grpSp>
      <p:grpSp>
        <p:nvGrpSpPr>
          <p:cNvPr id="19" name="Group 18">
            <a:extLst>
              <a:ext uri="{FF2B5EF4-FFF2-40B4-BE49-F238E27FC236}">
                <a16:creationId xmlns:a16="http://schemas.microsoft.com/office/drawing/2014/main" id="{E7BA03E3-3E51-EA57-0E3C-22A301291823}"/>
              </a:ext>
            </a:extLst>
          </p:cNvPr>
          <p:cNvGrpSpPr/>
          <p:nvPr/>
        </p:nvGrpSpPr>
        <p:grpSpPr>
          <a:xfrm>
            <a:off x="8715142" y="-319512"/>
            <a:ext cx="6953716" cy="6857998"/>
            <a:chOff x="5263347" y="1"/>
            <a:chExt cx="6953716" cy="6857998"/>
          </a:xfrm>
        </p:grpSpPr>
        <p:pic>
          <p:nvPicPr>
            <p:cNvPr id="20" name="Picture 19" descr="A person standing on a stage&#10;&#10;Description automatically generated with low confidence">
              <a:extLst>
                <a:ext uri="{FF2B5EF4-FFF2-40B4-BE49-F238E27FC236}">
                  <a16:creationId xmlns:a16="http://schemas.microsoft.com/office/drawing/2014/main" id="{2FEEE45D-C818-A974-253C-4DD4A13BE026}"/>
                </a:ext>
              </a:extLst>
            </p:cNvPr>
            <p:cNvPicPr/>
            <p:nvPr/>
          </p:nvPicPr>
          <p:blipFill rotWithShape="1">
            <a:blip r:embed="rId10" cstate="print">
              <a:extLst>
                <a:ext uri="{28A0092B-C50C-407E-A947-70E740481C1C}">
                  <a14:useLocalDpi xmlns:a14="http://schemas.microsoft.com/office/drawing/2010/main" val="0"/>
                </a:ext>
              </a:extLst>
            </a:blip>
            <a:srcRect t="-2" r="6348" b="46416"/>
            <a:stretch/>
          </p:blipFill>
          <p:spPr>
            <a:xfrm flipH="1">
              <a:off x="5263348" y="1"/>
              <a:ext cx="6953715" cy="4457700"/>
            </a:xfrm>
            <a:prstGeom prst="rect">
              <a:avLst/>
            </a:prstGeom>
          </p:spPr>
        </p:pic>
        <p:pic>
          <p:nvPicPr>
            <p:cNvPr id="21" name="Picture 20" descr="A person standing on a stage&#10;&#10;Description automatically generated with low confidence">
              <a:extLst>
                <a:ext uri="{FF2B5EF4-FFF2-40B4-BE49-F238E27FC236}">
                  <a16:creationId xmlns:a16="http://schemas.microsoft.com/office/drawing/2014/main" id="{825A0323-4A84-6736-8D5F-0AE2096C1D6A}"/>
                </a:ext>
              </a:extLst>
            </p:cNvPr>
            <p:cNvPicPr/>
            <p:nvPr/>
          </p:nvPicPr>
          <p:blipFill rotWithShape="1">
            <a:blip r:embed="rId11" cstate="print">
              <a:extLst>
                <a:ext uri="{28A0092B-C50C-407E-A947-70E740481C1C}">
                  <a14:useLocalDpi xmlns:a14="http://schemas.microsoft.com/office/drawing/2010/main" val="0"/>
                </a:ext>
              </a:extLst>
            </a:blip>
            <a:srcRect/>
            <a:stretch/>
          </p:blipFill>
          <p:spPr>
            <a:xfrm flipH="1">
              <a:off x="5263347" y="4381712"/>
              <a:ext cx="6953715" cy="2476287"/>
            </a:xfrm>
            <a:prstGeom prst="rect">
              <a:avLst/>
            </a:prstGeom>
          </p:spPr>
        </p:pic>
      </p:grpSp>
      <p:sp>
        <p:nvSpPr>
          <p:cNvPr id="22" name="Oval 21">
            <a:extLst>
              <a:ext uri="{FF2B5EF4-FFF2-40B4-BE49-F238E27FC236}">
                <a16:creationId xmlns:a16="http://schemas.microsoft.com/office/drawing/2014/main" id="{29A2CD78-70FD-2029-8BFF-DAD3AB13AA44}"/>
              </a:ext>
            </a:extLst>
          </p:cNvPr>
          <p:cNvSpPr/>
          <p:nvPr/>
        </p:nvSpPr>
        <p:spPr>
          <a:xfrm rot="7681175">
            <a:off x="-1388518" y="-821475"/>
            <a:ext cx="2771936" cy="2694027"/>
          </a:xfrm>
          <a:prstGeom prst="ellipse">
            <a:avLst/>
          </a:prstGeom>
          <a:gradFill flip="none" rotWithShape="1">
            <a:gsLst>
              <a:gs pos="0">
                <a:srgbClr val="628890"/>
              </a:gs>
              <a:gs pos="34000">
                <a:srgbClr val="48ACA7"/>
              </a:gs>
              <a:gs pos="100000">
                <a:srgbClr val="E2FDFE"/>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177393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182A3A"/>
        </a:solidFill>
        <a:effectLst/>
      </p:bgPr>
    </p:bg>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05203A36-324C-4D03-9E2E-F52359A6C046}"/>
              </a:ext>
            </a:extLst>
          </p:cNvPr>
          <p:cNvGrpSpPr/>
          <p:nvPr/>
        </p:nvGrpSpPr>
        <p:grpSpPr>
          <a:xfrm>
            <a:off x="0" y="-11037058"/>
            <a:ext cx="12192000" cy="6858000"/>
            <a:chOff x="0" y="0"/>
            <a:chExt cx="12192000" cy="6858000"/>
          </a:xfrm>
        </p:grpSpPr>
        <p:sp>
          <p:nvSpPr>
            <p:cNvPr id="50" name="Rectangle 49">
              <a:extLst>
                <a:ext uri="{FF2B5EF4-FFF2-40B4-BE49-F238E27FC236}">
                  <a16:creationId xmlns:a16="http://schemas.microsoft.com/office/drawing/2014/main" id="{611E560C-A5E9-4028-900E-61BD66DE925E}"/>
                </a:ext>
              </a:extLst>
            </p:cNvPr>
            <p:cNvSpPr/>
            <p:nvPr/>
          </p:nvSpPr>
          <p:spPr>
            <a:xfrm>
              <a:off x="0" y="0"/>
              <a:ext cx="12192000" cy="6858000"/>
            </a:xfrm>
            <a:prstGeom prst="rect">
              <a:avLst/>
            </a:prstGeom>
            <a:solidFill>
              <a:srgbClr val="A6D5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1" name="Oval 50">
              <a:extLst>
                <a:ext uri="{FF2B5EF4-FFF2-40B4-BE49-F238E27FC236}">
                  <a16:creationId xmlns:a16="http://schemas.microsoft.com/office/drawing/2014/main" id="{143C7D2F-DF83-44E7-8709-18144F85711A}"/>
                </a:ext>
              </a:extLst>
            </p:cNvPr>
            <p:cNvSpPr/>
            <p:nvPr/>
          </p:nvSpPr>
          <p:spPr>
            <a:xfrm>
              <a:off x="2399551" y="1120776"/>
              <a:ext cx="3152775" cy="30259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5" name="Picture 2">
            <a:extLst>
              <a:ext uri="{FF2B5EF4-FFF2-40B4-BE49-F238E27FC236}">
                <a16:creationId xmlns:a16="http://schemas.microsoft.com/office/drawing/2014/main" id="{35E9DA00-F5A7-4B38-BE84-76903888386B}"/>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10000" b="99630" l="547" r="99792">
                        <a14:foregroundMark x1="4922" y1="93194" x2="99792" y2="93194"/>
                        <a14:foregroundMark x1="99792" y1="93194" x2="99792" y2="93194"/>
                        <a14:foregroundMark x1="55339" y1="83194" x2="91667" y2="81991"/>
                        <a14:foregroundMark x1="91667" y1="81991" x2="93620" y2="81991"/>
                        <a14:foregroundMark x1="95833" y1="72824" x2="90417" y2="86806"/>
                        <a14:foregroundMark x1="4297" y1="85694" x2="9922" y2="94213"/>
                        <a14:foregroundMark x1="4922" y1="97407" x2="93828" y2="99630"/>
                        <a14:foregroundMark x1="1250" y1="92593" x2="547" y2="88009"/>
                      </a14:backgroundRemoval>
                    </a14:imgEffect>
                    <a14:imgEffect>
                      <a14:artisticCutout/>
                    </a14:imgEffect>
                  </a14:imgLayer>
                </a14:imgProps>
              </a:ext>
              <a:ext uri="{28A0092B-C50C-407E-A947-70E740481C1C}">
                <a14:useLocalDpi xmlns:a14="http://schemas.microsoft.com/office/drawing/2010/main" val="0"/>
              </a:ext>
            </a:extLst>
          </a:blip>
          <a:srcRect/>
          <a:stretch>
            <a:fillRect/>
          </a:stretch>
        </p:blipFill>
        <p:spPr bwMode="auto">
          <a:xfrm>
            <a:off x="0" y="-3218482"/>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A90AD02E-1ABC-402E-8CD9-5EB167BC4724}"/>
              </a:ext>
            </a:extLst>
          </p:cNvPr>
          <p:cNvPicPr>
            <a:picLocks noChangeAspect="1"/>
          </p:cNvPicPr>
          <p:nvPr/>
        </p:nvPicPr>
        <p:blipFill rotWithShape="1">
          <a:blip r:embed="rId4"/>
          <a:srcRect l="6360" r="8947" b="84675"/>
          <a:stretch/>
        </p:blipFill>
        <p:spPr>
          <a:xfrm>
            <a:off x="0" y="5231243"/>
            <a:ext cx="12192000" cy="1595712"/>
          </a:xfrm>
          <a:prstGeom prst="rect">
            <a:avLst/>
          </a:prstGeom>
        </p:spPr>
      </p:pic>
      <p:grpSp>
        <p:nvGrpSpPr>
          <p:cNvPr id="75" name="Group 74">
            <a:extLst>
              <a:ext uri="{FF2B5EF4-FFF2-40B4-BE49-F238E27FC236}">
                <a16:creationId xmlns:a16="http://schemas.microsoft.com/office/drawing/2014/main" id="{A19668E5-BB31-4F7A-8F9A-AFCE2B68CB80}"/>
              </a:ext>
            </a:extLst>
          </p:cNvPr>
          <p:cNvGrpSpPr/>
          <p:nvPr/>
        </p:nvGrpSpPr>
        <p:grpSpPr>
          <a:xfrm>
            <a:off x="-135" y="-6158278"/>
            <a:ext cx="12192000" cy="6121400"/>
            <a:chOff x="0" y="488949"/>
            <a:chExt cx="12192000" cy="6121400"/>
          </a:xfrm>
        </p:grpSpPr>
        <p:grpSp>
          <p:nvGrpSpPr>
            <p:cNvPr id="76" name="Group 75">
              <a:extLst>
                <a:ext uri="{FF2B5EF4-FFF2-40B4-BE49-F238E27FC236}">
                  <a16:creationId xmlns:a16="http://schemas.microsoft.com/office/drawing/2014/main" id="{34896C5F-F9D6-422A-A68E-6B09FF929FE1}"/>
                </a:ext>
              </a:extLst>
            </p:cNvPr>
            <p:cNvGrpSpPr/>
            <p:nvPr/>
          </p:nvGrpSpPr>
          <p:grpSpPr>
            <a:xfrm>
              <a:off x="0" y="488949"/>
              <a:ext cx="12192000" cy="6121400"/>
              <a:chOff x="0" y="736599"/>
              <a:chExt cx="12192000" cy="6121400"/>
            </a:xfrm>
          </p:grpSpPr>
          <p:grpSp>
            <p:nvGrpSpPr>
              <p:cNvPr id="78" name="Group 77">
                <a:extLst>
                  <a:ext uri="{FF2B5EF4-FFF2-40B4-BE49-F238E27FC236}">
                    <a16:creationId xmlns:a16="http://schemas.microsoft.com/office/drawing/2014/main" id="{294570ED-26C5-4BE7-BF5B-BA17D7668364}"/>
                  </a:ext>
                </a:extLst>
              </p:cNvPr>
              <p:cNvGrpSpPr/>
              <p:nvPr/>
            </p:nvGrpSpPr>
            <p:grpSpPr>
              <a:xfrm>
                <a:off x="0" y="736599"/>
                <a:ext cx="12192000" cy="6121400"/>
                <a:chOff x="0" y="736599"/>
                <a:chExt cx="12192000" cy="6121400"/>
              </a:xfrm>
            </p:grpSpPr>
            <p:pic>
              <p:nvPicPr>
                <p:cNvPr id="81" name="Picture 2">
                  <a:extLst>
                    <a:ext uri="{FF2B5EF4-FFF2-40B4-BE49-F238E27FC236}">
                      <a16:creationId xmlns:a16="http://schemas.microsoft.com/office/drawing/2014/main" id="{C5354A5E-F2C1-4F49-9425-C5AC86E8E539}"/>
                    </a:ext>
                  </a:extLst>
                </p:cNvPr>
                <p:cNvPicPr>
                  <a:picLocks noChangeAspect="1" noChangeArrowheads="1"/>
                </p:cNvPicPr>
                <p:nvPr/>
              </p:nvPicPr>
              <p:blipFill rotWithShape="1">
                <a:blip r:embed="rId5">
                  <a:duotone>
                    <a:prstClr val="black"/>
                    <a:schemeClr val="accent1">
                      <a:tint val="45000"/>
                      <a:satMod val="400000"/>
                    </a:schemeClr>
                  </a:duotone>
                  <a:extLst>
                    <a:ext uri="{BEBA8EAE-BF5A-486C-A8C5-ECC9F3942E4B}">
                      <a14:imgProps xmlns:a14="http://schemas.microsoft.com/office/drawing/2010/main">
                        <a14:imgLayer r:embed="rId3">
                          <a14:imgEffect>
                            <a14:backgroundRemoval t="10000" b="99630" l="547" r="99792">
                              <a14:foregroundMark x1="4922" y1="93194" x2="99792" y2="93194"/>
                              <a14:foregroundMark x1="99792" y1="93194" x2="99792" y2="93194"/>
                              <a14:foregroundMark x1="55339" y1="83194" x2="91667" y2="81991"/>
                              <a14:foregroundMark x1="91667" y1="81991" x2="93620" y2="81991"/>
                              <a14:foregroundMark x1="95833" y1="72824" x2="90417" y2="86806"/>
                              <a14:foregroundMark x1="4297" y1="85694" x2="9922" y2="94213"/>
                              <a14:foregroundMark x1="4922" y1="97407" x2="93828" y2="99630"/>
                              <a14:foregroundMark x1="1250" y1="92593" x2="547" y2="88009"/>
                              <a14:foregroundMark x1="67708" y1="70602" x2="67708" y2="70602"/>
                              <a14:foregroundMark x1="67786" y1="67176" x2="67786" y2="69630"/>
                              <a14:foregroundMark x1="77370" y1="69630" x2="76953" y2="58981"/>
                              <a14:foregroundMark x1="76953" y1="58981" x2="79297" y2="68148"/>
                              <a14:foregroundMark x1="2578" y1="72824" x2="3464" y2="64815"/>
                              <a14:foregroundMark x1="3464" y1="64815" x2="5286" y2="72824"/>
                              <a14:foregroundMark x1="5286" y1="72824" x2="3854" y2="64306"/>
                              <a14:foregroundMark x1="3854" y1="64306" x2="3411" y2="63843"/>
                              <a14:foregroundMark x1="10000" y1="64583" x2="9922" y2="63333"/>
                              <a14:foregroundMark x1="4036" y1="62963" x2="3750" y2="61111"/>
                              <a14:foregroundMark x1="3333" y1="63102" x2="3828" y2="61620"/>
                              <a14:foregroundMark x1="3464" y1="61481" x2="3828" y2="63935"/>
                              <a14:foregroundMark x1="3750" y1="61250" x2="5495" y2="64306"/>
                              <a14:backgroundMark x1="16042" y1="47176" x2="31146" y2="49954"/>
                              <a14:backgroundMark x1="31146" y1="49954" x2="33411" y2="48750"/>
                              <a14:backgroundMark x1="23047" y1="53333" x2="28333" y2="47176"/>
                              <a14:backgroundMark x1="30000" y1="37407" x2="27057" y2="53102"/>
                              <a14:backgroundMark x1="27057" y1="53102" x2="26458" y2="53704"/>
                              <a14:backgroundMark x1="27214" y1="49630" x2="16224" y2="56019"/>
                              <a14:backgroundMark x1="16224" y1="56019" x2="11979" y2="60602"/>
                              <a14:backgroundMark x1="11979" y1="60602" x2="7786" y2="58009"/>
                              <a14:backgroundMark x1="7786" y1="58009" x2="16068" y2="43519"/>
                              <a14:backgroundMark x1="16068" y1="43519" x2="15286" y2="54722"/>
                              <a14:backgroundMark x1="15286" y1="54722" x2="17865" y2="60093"/>
                              <a14:backgroundMark x1="17865" y1="60093" x2="12344" y2="65093"/>
                              <a14:backgroundMark x1="3297" y1="61553" x2="1693" y2="60926"/>
                              <a14:backgroundMark x1="9918" y1="64144" x2="3800" y2="61750"/>
                              <a14:backgroundMark x1="12344" y1="65093" x2="10069" y2="64203"/>
                              <a14:backgroundMark x1="4470" y1="61414" x2="10911" y2="62546"/>
                              <a14:backgroundMark x1="1693" y1="60926" x2="3896" y2="61313"/>
                              <a14:backgroundMark x1="10911" y1="62546" x2="25391" y2="72407"/>
                              <a14:backgroundMark x1="25391" y1="72407" x2="30156" y2="66667"/>
                              <a14:backgroundMark x1="30156" y1="66667" x2="43229" y2="59861"/>
                              <a14:backgroundMark x1="43229" y1="59861" x2="49089" y2="53380"/>
                              <a14:backgroundMark x1="49089" y1="53380" x2="54115" y2="53426"/>
                              <a14:backgroundMark x1="54115" y1="53426" x2="56224" y2="60602"/>
                              <a14:backgroundMark x1="56224" y1="60602" x2="63802" y2="53333"/>
                              <a14:backgroundMark x1="63802" y1="53333" x2="69193" y2="58704"/>
                              <a14:backgroundMark x1="69193" y1="58704" x2="78385" y2="51806"/>
                              <a14:backgroundMark x1="78385" y1="51806" x2="82214" y2="55509"/>
                              <a14:backgroundMark x1="82214" y1="55509" x2="86250" y2="55417"/>
                              <a14:backgroundMark x1="86250" y1="55417" x2="88307" y2="47917"/>
                              <a14:backgroundMark x1="88307" y1="47917" x2="92786" y2="43981"/>
                              <a14:backgroundMark x1="92786" y1="43981" x2="96198" y2="48380"/>
                              <a14:backgroundMark x1="96198" y1="48380" x2="98802" y2="33426"/>
                              <a14:backgroundMark x1="98802" y1="33426" x2="95260" y2="26852"/>
                              <a14:backgroundMark x1="95260" y1="26852" x2="81927" y2="48565"/>
                              <a14:backgroundMark x1="81927" y1="48565" x2="72057" y2="55231"/>
                              <a14:backgroundMark x1="72057" y1="55231" x2="43385" y2="50648"/>
                              <a14:backgroundMark x1="43385" y1="50648" x2="25182" y2="59907"/>
                              <a14:backgroundMark x1="25182" y1="59907" x2="18021" y2="50231"/>
                              <a14:backgroundMark x1="18021" y1="50231" x2="9870" y2="52593"/>
                              <a14:backgroundMark x1="9870" y1="52593" x2="5885" y2="61204"/>
                              <a14:backgroundMark x1="3144" y1="62416" x2="859" y2="63426"/>
                              <a14:backgroundMark x1="5885" y1="61204" x2="4660" y2="61746"/>
                              <a14:backgroundMark x1="859" y1="63426" x2="625" y2="72083"/>
                              <a14:backgroundMark x1="625" y1="72083" x2="625" y2="72083"/>
                              <a14:backgroundMark x1="17995" y1="52454" x2="32891" y2="44769"/>
                              <a14:backgroundMark x1="32891" y1="44769" x2="9740" y2="54213"/>
                              <a14:backgroundMark x1="9740" y1="54213" x2="27214" y2="44398"/>
                              <a14:backgroundMark x1="27214" y1="44398" x2="22161" y2="49954"/>
                              <a14:backgroundMark x1="22161" y1="49954" x2="28672" y2="50185"/>
                              <a14:backgroundMark x1="28672" y1="50185" x2="23646" y2="48148"/>
                              <a14:backgroundMark x1="23646" y1="48148" x2="19505" y2="51481"/>
                              <a14:backgroundMark x1="19505" y1="51481" x2="24792" y2="49630"/>
                              <a14:backgroundMark x1="29792" y1="46898" x2="17708" y2="50741"/>
                              <a14:backgroundMark x1="30286" y1="46898" x2="30911" y2="47176"/>
                              <a14:backgroundMark x1="32995" y1="47639" x2="33255" y2="50741"/>
                              <a14:backgroundMark x1="32161" y1="46667" x2="32708" y2="49491"/>
                              <a14:backgroundMark x1="31380" y1="47037" x2="31589" y2="49861"/>
                              <a14:backgroundMark x1="31536" y1="47037" x2="30625" y2="50000"/>
                              <a14:backgroundMark x1="30911" y1="46435" x2="30625" y2="49769"/>
                              <a14:backgroundMark x1="30625" y1="46528" x2="30755" y2="48889"/>
                              <a14:backgroundMark x1="30495" y1="47639" x2="33464" y2="49861"/>
                              <a14:backgroundMark x1="32422" y1="47176" x2="33542" y2="49028"/>
                              <a14:backgroundMark x1="32370" y1="48380" x2="33750" y2="48657"/>
                              <a14:backgroundMark x1="32578" y1="47176" x2="33880" y2="47407"/>
                              <a14:backgroundMark x1="32630" y1="47407" x2="33620" y2="47639"/>
                              <a14:backgroundMark x1="25078" y1="74676" x2="25078" y2="74676"/>
                              <a14:backgroundMark x1="25755" y1="81620" x2="27500" y2="70694"/>
                              <a14:backgroundMark x1="27500" y1="70694" x2="38177" y2="68657"/>
                              <a14:backgroundMark x1="38177" y1="68657" x2="41328" y2="64120"/>
                              <a14:backgroundMark x1="41328" y1="64120" x2="45599" y2="68611"/>
                              <a14:backgroundMark x1="45599" y1="68611" x2="48411" y2="61111"/>
                              <a14:backgroundMark x1="48411" y1="61111" x2="53438" y2="57778"/>
                              <a14:backgroundMark x1="53438" y1="57778" x2="56510" y2="62361"/>
                              <a14:backgroundMark x1="56510" y1="62361" x2="58880" y2="68472"/>
                              <a14:backgroundMark x1="58880" y1="68472" x2="58958" y2="69769"/>
                              <a14:backgroundMark x1="65495" y1="69630" x2="68828" y2="60000"/>
                              <a14:backgroundMark x1="68828" y1="60000" x2="71771" y2="70648"/>
                              <a14:backgroundMark x1="71771" y1="70648" x2="73203" y2="60185"/>
                              <a14:backgroundMark x1="73203" y1="60185" x2="72708" y2="58148"/>
                              <a14:backgroundMark x1="80625" y1="64444" x2="82005" y2="59028"/>
                              <a14:backgroundMark x1="94297" y1="56667" x2="95547" y2="49259"/>
                              <a14:backgroundMark x1="18203" y1="78519" x2="16302" y2="71157"/>
                              <a14:backgroundMark x1="16302" y1="71157" x2="13255" y2="70139"/>
                            </a14:backgroundRemoval>
                          </a14:imgEffect>
                        </a14:imgLayer>
                      </a14:imgProps>
                    </a:ext>
                    <a:ext uri="{28A0092B-C50C-407E-A947-70E740481C1C}">
                      <a14:useLocalDpi xmlns:a14="http://schemas.microsoft.com/office/drawing/2010/main" val="0"/>
                    </a:ext>
                  </a:extLst>
                </a:blip>
                <a:srcRect t="42328"/>
                <a:stretch/>
              </p:blipFill>
              <p:spPr bwMode="auto">
                <a:xfrm>
                  <a:off x="0" y="2902856"/>
                  <a:ext cx="12192000" cy="3955143"/>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Rounded Corners 81">
                  <a:extLst>
                    <a:ext uri="{FF2B5EF4-FFF2-40B4-BE49-F238E27FC236}">
                      <a16:creationId xmlns:a16="http://schemas.microsoft.com/office/drawing/2014/main" id="{7D073956-A4D2-4E3A-B80C-F8C07ECC4A1B}"/>
                    </a:ext>
                  </a:extLst>
                </p:cNvPr>
                <p:cNvSpPr/>
                <p:nvPr/>
              </p:nvSpPr>
              <p:spPr>
                <a:xfrm>
                  <a:off x="11239500" y="758826"/>
                  <a:ext cx="676275" cy="36195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3" name="Rectangle: Rounded Corners 82">
                  <a:extLst>
                    <a:ext uri="{FF2B5EF4-FFF2-40B4-BE49-F238E27FC236}">
                      <a16:creationId xmlns:a16="http://schemas.microsoft.com/office/drawing/2014/main" id="{1124585B-C0E2-4A9D-A0BF-073444FF2989}"/>
                    </a:ext>
                  </a:extLst>
                </p:cNvPr>
                <p:cNvSpPr/>
                <p:nvPr/>
              </p:nvSpPr>
              <p:spPr>
                <a:xfrm>
                  <a:off x="368300" y="736599"/>
                  <a:ext cx="352425" cy="6985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4" name="Rectangle: Rounded Corners 83">
                  <a:extLst>
                    <a:ext uri="{FF2B5EF4-FFF2-40B4-BE49-F238E27FC236}">
                      <a16:creationId xmlns:a16="http://schemas.microsoft.com/office/drawing/2014/main" id="{44825EF5-61DF-4D3A-AD44-026DFCF8FEE7}"/>
                    </a:ext>
                  </a:extLst>
                </p:cNvPr>
                <p:cNvSpPr/>
                <p:nvPr/>
              </p:nvSpPr>
              <p:spPr>
                <a:xfrm>
                  <a:off x="368300" y="869948"/>
                  <a:ext cx="352425" cy="6985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Rectangle: Rounded Corners 84">
                  <a:extLst>
                    <a:ext uri="{FF2B5EF4-FFF2-40B4-BE49-F238E27FC236}">
                      <a16:creationId xmlns:a16="http://schemas.microsoft.com/office/drawing/2014/main" id="{DC1C1BDB-C9F8-4F35-9B4B-1EF9219D8C31}"/>
                    </a:ext>
                  </a:extLst>
                </p:cNvPr>
                <p:cNvSpPr/>
                <p:nvPr/>
              </p:nvSpPr>
              <p:spPr>
                <a:xfrm>
                  <a:off x="368300" y="1003297"/>
                  <a:ext cx="352425" cy="6985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TextBox 85">
                  <a:extLst>
                    <a:ext uri="{FF2B5EF4-FFF2-40B4-BE49-F238E27FC236}">
                      <a16:creationId xmlns:a16="http://schemas.microsoft.com/office/drawing/2014/main" id="{78A1A1A0-C1A7-421E-8C66-AD83D9052254}"/>
                    </a:ext>
                  </a:extLst>
                </p:cNvPr>
                <p:cNvSpPr txBox="1"/>
                <p:nvPr/>
              </p:nvSpPr>
              <p:spPr>
                <a:xfrm>
                  <a:off x="4252164" y="2562225"/>
                  <a:ext cx="3897221" cy="12003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7200" b="0" i="0" u="none" strike="noStrike" kern="1200" cap="none" spc="0" normalizeH="0" baseline="0" noProof="0" dirty="0">
                      <a:ln>
                        <a:noFill/>
                      </a:ln>
                      <a:solidFill>
                        <a:prstClr val="white"/>
                      </a:solidFill>
                      <a:effectLst/>
                      <a:uLnTx/>
                      <a:uFillTx/>
                      <a:latin typeface="Felix Titling" panose="04060505060202020A04" pitchFamily="82" charset="0"/>
                      <a:ea typeface="+mn-ea"/>
                      <a:cs typeface="+mn-cs"/>
                    </a:rPr>
                    <a:t>FOREST </a:t>
                  </a:r>
                </a:p>
              </p:txBody>
            </p:sp>
          </p:grpSp>
          <p:sp>
            <p:nvSpPr>
              <p:cNvPr id="79" name="TextBox 78">
                <a:extLst>
                  <a:ext uri="{FF2B5EF4-FFF2-40B4-BE49-F238E27FC236}">
                    <a16:creationId xmlns:a16="http://schemas.microsoft.com/office/drawing/2014/main" id="{99BDF42D-0FB1-4E4B-BC6F-1B42C6212689}"/>
                  </a:ext>
                </a:extLst>
              </p:cNvPr>
              <p:cNvSpPr txBox="1"/>
              <p:nvPr/>
            </p:nvSpPr>
            <p:spPr>
              <a:xfrm>
                <a:off x="9540723" y="6236615"/>
                <a:ext cx="246093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Discuss about Modules</a:t>
                </a:r>
              </a:p>
            </p:txBody>
          </p:sp>
          <p:sp>
            <p:nvSpPr>
              <p:cNvPr id="80" name="TextBox 79">
                <a:extLst>
                  <a:ext uri="{FF2B5EF4-FFF2-40B4-BE49-F238E27FC236}">
                    <a16:creationId xmlns:a16="http://schemas.microsoft.com/office/drawing/2014/main" id="{B3C866F2-F806-4471-9C9A-32CBB8CF905D}"/>
                  </a:ext>
                </a:extLst>
              </p:cNvPr>
              <p:cNvSpPr txBox="1"/>
              <p:nvPr/>
            </p:nvSpPr>
            <p:spPr>
              <a:xfrm>
                <a:off x="211297" y="5988052"/>
                <a:ext cx="803425"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0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02</a:t>
                </a:r>
              </a:p>
            </p:txBody>
          </p:sp>
        </p:grpSp>
        <p:pic>
          <p:nvPicPr>
            <p:cNvPr id="77" name="Graphic 76" descr="Leaf with solid fill">
              <a:extLst>
                <a:ext uri="{FF2B5EF4-FFF2-40B4-BE49-F238E27FC236}">
                  <a16:creationId xmlns:a16="http://schemas.microsoft.com/office/drawing/2014/main" id="{9772F276-92FC-4C1F-8D0A-4DCB275BFE8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253477" y="1901828"/>
              <a:ext cx="720414" cy="720414"/>
            </a:xfrm>
            <a:prstGeom prst="rect">
              <a:avLst/>
            </a:prstGeom>
          </p:spPr>
        </p:pic>
      </p:grpSp>
      <p:grpSp>
        <p:nvGrpSpPr>
          <p:cNvPr id="7" name="Group 6">
            <a:extLst>
              <a:ext uri="{FF2B5EF4-FFF2-40B4-BE49-F238E27FC236}">
                <a16:creationId xmlns:a16="http://schemas.microsoft.com/office/drawing/2014/main" id="{E88A2184-8155-A065-4DBE-33866146CB9D}"/>
              </a:ext>
            </a:extLst>
          </p:cNvPr>
          <p:cNvGrpSpPr/>
          <p:nvPr/>
        </p:nvGrpSpPr>
        <p:grpSpPr>
          <a:xfrm>
            <a:off x="8997543" y="1739138"/>
            <a:ext cx="2179735" cy="4529800"/>
            <a:chOff x="8997543" y="1739138"/>
            <a:chExt cx="2179735" cy="4529800"/>
          </a:xfrm>
        </p:grpSpPr>
        <p:grpSp>
          <p:nvGrpSpPr>
            <p:cNvPr id="56" name="Group 55">
              <a:extLst>
                <a:ext uri="{FF2B5EF4-FFF2-40B4-BE49-F238E27FC236}">
                  <a16:creationId xmlns:a16="http://schemas.microsoft.com/office/drawing/2014/main" id="{ED2488E9-C6C0-4F3B-A26A-E2DEF62451CC}"/>
                </a:ext>
              </a:extLst>
            </p:cNvPr>
            <p:cNvGrpSpPr/>
            <p:nvPr/>
          </p:nvGrpSpPr>
          <p:grpSpPr>
            <a:xfrm>
              <a:off x="8997543" y="1739138"/>
              <a:ext cx="2179735" cy="4529800"/>
              <a:chOff x="8997543" y="1739138"/>
              <a:chExt cx="2179735" cy="4529800"/>
            </a:xfrm>
          </p:grpSpPr>
          <p:sp>
            <p:nvSpPr>
              <p:cNvPr id="54" name="Rectangle: Rounded Corners 53">
                <a:extLst>
                  <a:ext uri="{FF2B5EF4-FFF2-40B4-BE49-F238E27FC236}">
                    <a16:creationId xmlns:a16="http://schemas.microsoft.com/office/drawing/2014/main" id="{65622F28-F072-47C0-A35D-E73486CB200E}"/>
                  </a:ext>
                </a:extLst>
              </p:cNvPr>
              <p:cNvSpPr/>
              <p:nvPr/>
            </p:nvSpPr>
            <p:spPr>
              <a:xfrm>
                <a:off x="9062336" y="1739138"/>
                <a:ext cx="2114942" cy="4529800"/>
              </a:xfrm>
              <a:prstGeom prst="roundRect">
                <a:avLst/>
              </a:prstGeom>
              <a:blipFill>
                <a:blip r:embed="rId8">
                  <a:extLst>
                    <a:ext uri="{28A0092B-C50C-407E-A947-70E740481C1C}">
                      <a14:useLocalDpi xmlns:a14="http://schemas.microsoft.com/office/drawing/2010/main" val="0"/>
                    </a:ext>
                  </a:extLst>
                </a:blip>
                <a:srcRect/>
                <a:stretch>
                  <a:fillRect l="-26289" r="-27693"/>
                </a:stretch>
              </a:bli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Rectangle: Rounded Corners 58">
                <a:extLst>
                  <a:ext uri="{FF2B5EF4-FFF2-40B4-BE49-F238E27FC236}">
                    <a16:creationId xmlns:a16="http://schemas.microsoft.com/office/drawing/2014/main" id="{67E1A617-9DCD-442E-9D2D-DD6EBBF9C934}"/>
                  </a:ext>
                </a:extLst>
              </p:cNvPr>
              <p:cNvSpPr/>
              <p:nvPr/>
            </p:nvSpPr>
            <p:spPr>
              <a:xfrm>
                <a:off x="9748078" y="6076950"/>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TextBox 62">
                <a:extLst>
                  <a:ext uri="{FF2B5EF4-FFF2-40B4-BE49-F238E27FC236}">
                    <a16:creationId xmlns:a16="http://schemas.microsoft.com/office/drawing/2014/main" id="{22EF5182-869F-41BD-B808-3779B46CDB4E}"/>
                  </a:ext>
                </a:extLst>
              </p:cNvPr>
              <p:cNvSpPr txBox="1"/>
              <p:nvPr/>
            </p:nvSpPr>
            <p:spPr>
              <a:xfrm>
                <a:off x="8997543" y="5015120"/>
                <a:ext cx="1555234" cy="10156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chat</a:t>
                </a:r>
                <a:endPar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endParaRPr>
              </a:p>
            </p:txBody>
          </p:sp>
          <p:sp>
            <p:nvSpPr>
              <p:cNvPr id="67" name="TextBox 66">
                <a:extLst>
                  <a:ext uri="{FF2B5EF4-FFF2-40B4-BE49-F238E27FC236}">
                    <a16:creationId xmlns:a16="http://schemas.microsoft.com/office/drawing/2014/main" id="{9E130BE7-D9C0-4272-B47D-CAEF39FC08F7}"/>
                  </a:ext>
                </a:extLst>
              </p:cNvPr>
              <p:cNvSpPr txBox="1"/>
              <p:nvPr/>
            </p:nvSpPr>
            <p:spPr>
              <a:xfrm>
                <a:off x="9043600" y="4940970"/>
                <a:ext cx="104067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message</a:t>
                </a:r>
              </a:p>
            </p:txBody>
          </p:sp>
        </p:grpSp>
        <p:pic>
          <p:nvPicPr>
            <p:cNvPr id="14" name="Graphic 13" descr="Send">
              <a:hlinkClick r:id="rId9" action="ppaction://hlinksldjump"/>
              <a:extLst>
                <a:ext uri="{FF2B5EF4-FFF2-40B4-BE49-F238E27FC236}">
                  <a16:creationId xmlns:a16="http://schemas.microsoft.com/office/drawing/2014/main" id="{C38AB0D1-3660-428B-BDEC-21BA6A1FD61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9721288" y="2633152"/>
              <a:ext cx="914400" cy="914400"/>
            </a:xfrm>
            <a:prstGeom prst="rect">
              <a:avLst/>
            </a:prstGeom>
          </p:spPr>
        </p:pic>
      </p:grpSp>
      <p:grpSp>
        <p:nvGrpSpPr>
          <p:cNvPr id="4" name="Group 3">
            <a:extLst>
              <a:ext uri="{FF2B5EF4-FFF2-40B4-BE49-F238E27FC236}">
                <a16:creationId xmlns:a16="http://schemas.microsoft.com/office/drawing/2014/main" id="{07931981-1A42-174A-8A35-E5470D122EA4}"/>
              </a:ext>
            </a:extLst>
          </p:cNvPr>
          <p:cNvGrpSpPr/>
          <p:nvPr/>
        </p:nvGrpSpPr>
        <p:grpSpPr>
          <a:xfrm>
            <a:off x="3719822" y="1739138"/>
            <a:ext cx="2114942" cy="4529800"/>
            <a:chOff x="3719822" y="1739138"/>
            <a:chExt cx="2114942" cy="4529800"/>
          </a:xfrm>
        </p:grpSpPr>
        <p:grpSp>
          <p:nvGrpSpPr>
            <p:cNvPr id="48" name="Group 47">
              <a:extLst>
                <a:ext uri="{FF2B5EF4-FFF2-40B4-BE49-F238E27FC236}">
                  <a16:creationId xmlns:a16="http://schemas.microsoft.com/office/drawing/2014/main" id="{D81D031B-4F4E-44F0-9DAF-08737C97DC39}"/>
                </a:ext>
              </a:extLst>
            </p:cNvPr>
            <p:cNvGrpSpPr/>
            <p:nvPr/>
          </p:nvGrpSpPr>
          <p:grpSpPr>
            <a:xfrm>
              <a:off x="3719822" y="1739138"/>
              <a:ext cx="2114942" cy="4529800"/>
              <a:chOff x="3719822" y="1739138"/>
              <a:chExt cx="2114942" cy="4529800"/>
            </a:xfrm>
          </p:grpSpPr>
          <p:sp>
            <p:nvSpPr>
              <p:cNvPr id="52" name="Rectangle: Rounded Corners 51">
                <a:extLst>
                  <a:ext uri="{FF2B5EF4-FFF2-40B4-BE49-F238E27FC236}">
                    <a16:creationId xmlns:a16="http://schemas.microsoft.com/office/drawing/2014/main" id="{C7B37B75-7138-428C-81E2-5FECB2BC836E}"/>
                  </a:ext>
                </a:extLst>
              </p:cNvPr>
              <p:cNvSpPr/>
              <p:nvPr/>
            </p:nvSpPr>
            <p:spPr>
              <a:xfrm>
                <a:off x="3719822" y="1739138"/>
                <a:ext cx="2114942" cy="4529800"/>
              </a:xfrm>
              <a:prstGeom prst="roundRect">
                <a:avLst/>
              </a:prstGeom>
              <a:blipFill>
                <a:blip r:embed="rId12">
                  <a:extLst>
                    <a:ext uri="{28A0092B-C50C-407E-A947-70E740481C1C}">
                      <a14:useLocalDpi xmlns:a14="http://schemas.microsoft.com/office/drawing/2010/main" val="0"/>
                    </a:ext>
                  </a:extLst>
                </a:blip>
                <a:stretch>
                  <a:fillRect/>
                </a:stretch>
              </a:bli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Rectangle: Rounded Corners 56">
                <a:extLst>
                  <a:ext uri="{FF2B5EF4-FFF2-40B4-BE49-F238E27FC236}">
                    <a16:creationId xmlns:a16="http://schemas.microsoft.com/office/drawing/2014/main" id="{6FBD29E7-1B04-40F0-9898-7EF8E9831390}"/>
                  </a:ext>
                </a:extLst>
              </p:cNvPr>
              <p:cNvSpPr/>
              <p:nvPr/>
            </p:nvSpPr>
            <p:spPr>
              <a:xfrm>
                <a:off x="4405564" y="6076950"/>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6037DFF0-E8F2-4821-956E-A62788B4DA84}"/>
                  </a:ext>
                </a:extLst>
              </p:cNvPr>
              <p:cNvSpPr txBox="1"/>
              <p:nvPr/>
            </p:nvSpPr>
            <p:spPr>
              <a:xfrm>
                <a:off x="3883954" y="4940970"/>
                <a:ext cx="1771639"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6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post</a:t>
                </a:r>
                <a:endPar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endParaRPr>
              </a:p>
            </p:txBody>
          </p:sp>
          <p:sp>
            <p:nvSpPr>
              <p:cNvPr id="65" name="TextBox 64">
                <a:extLst>
                  <a:ext uri="{FF2B5EF4-FFF2-40B4-BE49-F238E27FC236}">
                    <a16:creationId xmlns:a16="http://schemas.microsoft.com/office/drawing/2014/main" id="{85149C55-CE7D-420C-A615-11989F365FDE}"/>
                  </a:ext>
                </a:extLst>
              </p:cNvPr>
              <p:cNvSpPr txBox="1"/>
              <p:nvPr/>
            </p:nvSpPr>
            <p:spPr>
              <a:xfrm>
                <a:off x="3883954" y="4990055"/>
                <a:ext cx="92845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Feature</a:t>
                </a:r>
              </a:p>
            </p:txBody>
          </p:sp>
        </p:grpSp>
        <p:pic>
          <p:nvPicPr>
            <p:cNvPr id="20" name="Graphic 19" descr="Mailbox">
              <a:hlinkClick r:id="rId13" action="ppaction://hlinksldjump"/>
              <a:extLst>
                <a:ext uri="{FF2B5EF4-FFF2-40B4-BE49-F238E27FC236}">
                  <a16:creationId xmlns:a16="http://schemas.microsoft.com/office/drawing/2014/main" id="{6ACD3FB8-C60D-4450-8FA0-6240D99A64E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365472" y="2656589"/>
              <a:ext cx="914400" cy="914400"/>
            </a:xfrm>
            <a:prstGeom prst="rect">
              <a:avLst/>
            </a:prstGeom>
          </p:spPr>
        </p:pic>
      </p:grpSp>
      <p:grpSp>
        <p:nvGrpSpPr>
          <p:cNvPr id="6" name="Group 5">
            <a:extLst>
              <a:ext uri="{FF2B5EF4-FFF2-40B4-BE49-F238E27FC236}">
                <a16:creationId xmlns:a16="http://schemas.microsoft.com/office/drawing/2014/main" id="{082D58BE-5C69-D4A6-1AD1-FB34D1239CB2}"/>
              </a:ext>
            </a:extLst>
          </p:cNvPr>
          <p:cNvGrpSpPr/>
          <p:nvPr/>
        </p:nvGrpSpPr>
        <p:grpSpPr>
          <a:xfrm>
            <a:off x="6344887" y="1739138"/>
            <a:ext cx="2127293" cy="4529800"/>
            <a:chOff x="6344887" y="1739138"/>
            <a:chExt cx="2127293" cy="4529800"/>
          </a:xfrm>
        </p:grpSpPr>
        <p:grpSp>
          <p:nvGrpSpPr>
            <p:cNvPr id="55" name="Group 54">
              <a:extLst>
                <a:ext uri="{FF2B5EF4-FFF2-40B4-BE49-F238E27FC236}">
                  <a16:creationId xmlns:a16="http://schemas.microsoft.com/office/drawing/2014/main" id="{1266E075-1420-42A9-BA05-695602677F37}"/>
                </a:ext>
              </a:extLst>
            </p:cNvPr>
            <p:cNvGrpSpPr/>
            <p:nvPr/>
          </p:nvGrpSpPr>
          <p:grpSpPr>
            <a:xfrm>
              <a:off x="6344887" y="1739138"/>
              <a:ext cx="2127293" cy="4529800"/>
              <a:chOff x="6344887" y="1739138"/>
              <a:chExt cx="2127293" cy="4529800"/>
            </a:xfrm>
          </p:grpSpPr>
          <p:sp>
            <p:nvSpPr>
              <p:cNvPr id="53" name="Rectangle: Rounded Corners 52">
                <a:extLst>
                  <a:ext uri="{FF2B5EF4-FFF2-40B4-BE49-F238E27FC236}">
                    <a16:creationId xmlns:a16="http://schemas.microsoft.com/office/drawing/2014/main" id="{138E6C7C-8270-4A88-9BC4-387989277ED1}"/>
                  </a:ext>
                </a:extLst>
              </p:cNvPr>
              <p:cNvSpPr/>
              <p:nvPr/>
            </p:nvSpPr>
            <p:spPr>
              <a:xfrm>
                <a:off x="6357238" y="1739138"/>
                <a:ext cx="2114942" cy="4529800"/>
              </a:xfrm>
              <a:prstGeom prst="roundRect">
                <a:avLst/>
              </a:prstGeom>
              <a:blipFill>
                <a:blip r:embed="rId16">
                  <a:extLst>
                    <a:ext uri="{28A0092B-C50C-407E-A947-70E740481C1C}">
                      <a14:useLocalDpi xmlns:a14="http://schemas.microsoft.com/office/drawing/2010/main" val="0"/>
                    </a:ext>
                  </a:extLst>
                </a:blip>
                <a:srcRect/>
                <a:stretch>
                  <a:fillRect l="-44972" t="630" r="-26372" b="-630"/>
                </a:stretch>
              </a:bli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Rectangle: Rounded Corners 57">
                <a:extLst>
                  <a:ext uri="{FF2B5EF4-FFF2-40B4-BE49-F238E27FC236}">
                    <a16:creationId xmlns:a16="http://schemas.microsoft.com/office/drawing/2014/main" id="{2EE00D75-3236-4029-BD84-D420A58B0BE9}"/>
                  </a:ext>
                </a:extLst>
              </p:cNvPr>
              <p:cNvSpPr/>
              <p:nvPr/>
            </p:nvSpPr>
            <p:spPr>
              <a:xfrm>
                <a:off x="7042980" y="6038851"/>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TextBox 61">
                <a:extLst>
                  <a:ext uri="{FF2B5EF4-FFF2-40B4-BE49-F238E27FC236}">
                    <a16:creationId xmlns:a16="http://schemas.microsoft.com/office/drawing/2014/main" id="{7A706F6B-D0CC-4D06-98B2-BF5023CDE9EC}"/>
                  </a:ext>
                </a:extLst>
              </p:cNvPr>
              <p:cNvSpPr txBox="1"/>
              <p:nvPr/>
            </p:nvSpPr>
            <p:spPr>
              <a:xfrm>
                <a:off x="6344887" y="5015120"/>
                <a:ext cx="2105063" cy="9387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55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profile</a:t>
                </a:r>
              </a:p>
            </p:txBody>
          </p:sp>
          <p:sp>
            <p:nvSpPr>
              <p:cNvPr id="66" name="TextBox 65">
                <a:extLst>
                  <a:ext uri="{FF2B5EF4-FFF2-40B4-BE49-F238E27FC236}">
                    <a16:creationId xmlns:a16="http://schemas.microsoft.com/office/drawing/2014/main" id="{C67F8A6C-E169-4D6F-857E-3546670044A3}"/>
                  </a:ext>
                </a:extLst>
              </p:cNvPr>
              <p:cNvSpPr txBox="1"/>
              <p:nvPr/>
            </p:nvSpPr>
            <p:spPr>
              <a:xfrm>
                <a:off x="6457042" y="5046202"/>
                <a:ext cx="76174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Views</a:t>
                </a:r>
              </a:p>
            </p:txBody>
          </p:sp>
        </p:grpSp>
        <p:pic>
          <p:nvPicPr>
            <p:cNvPr id="16" name="Graphic 15" descr="User">
              <a:hlinkClick r:id="rId17" action="ppaction://hlinksldjump"/>
              <a:extLst>
                <a:ext uri="{FF2B5EF4-FFF2-40B4-BE49-F238E27FC236}">
                  <a16:creationId xmlns:a16="http://schemas.microsoft.com/office/drawing/2014/main" id="{D603703D-1074-49A8-8747-635D72578B3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6940219" y="2615019"/>
              <a:ext cx="914400" cy="914400"/>
            </a:xfrm>
            <a:prstGeom prst="rect">
              <a:avLst/>
            </a:prstGeom>
          </p:spPr>
        </p:pic>
      </p:grpSp>
      <p:grpSp>
        <p:nvGrpSpPr>
          <p:cNvPr id="70" name="Group 69">
            <a:extLst>
              <a:ext uri="{FF2B5EF4-FFF2-40B4-BE49-F238E27FC236}">
                <a16:creationId xmlns:a16="http://schemas.microsoft.com/office/drawing/2014/main" id="{384DC920-2468-4E8C-A22E-218841C5DD1F}"/>
              </a:ext>
            </a:extLst>
          </p:cNvPr>
          <p:cNvGrpSpPr/>
          <p:nvPr/>
        </p:nvGrpSpPr>
        <p:grpSpPr>
          <a:xfrm>
            <a:off x="5180302" y="306411"/>
            <a:ext cx="2560316" cy="750049"/>
            <a:chOff x="5180302" y="306411"/>
            <a:chExt cx="2560316" cy="750049"/>
          </a:xfrm>
        </p:grpSpPr>
        <p:pic>
          <p:nvPicPr>
            <p:cNvPr id="69" name="Graphic 68" descr="Leaf with solid fill">
              <a:extLst>
                <a:ext uri="{FF2B5EF4-FFF2-40B4-BE49-F238E27FC236}">
                  <a16:creationId xmlns:a16="http://schemas.microsoft.com/office/drawing/2014/main" id="{C5054D4B-D218-49B0-868A-FC5DE07C302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224338" y="306411"/>
              <a:ext cx="265799" cy="265799"/>
            </a:xfrm>
            <a:prstGeom prst="rect">
              <a:avLst/>
            </a:prstGeom>
          </p:spPr>
        </p:pic>
        <p:sp>
          <p:nvSpPr>
            <p:cNvPr id="11" name="TextBox 10">
              <a:extLst>
                <a:ext uri="{FF2B5EF4-FFF2-40B4-BE49-F238E27FC236}">
                  <a16:creationId xmlns:a16="http://schemas.microsoft.com/office/drawing/2014/main" id="{29824780-F6B0-4CD7-A48E-AA40B35C5714}"/>
                </a:ext>
              </a:extLst>
            </p:cNvPr>
            <p:cNvSpPr txBox="1"/>
            <p:nvPr/>
          </p:nvSpPr>
          <p:spPr>
            <a:xfrm>
              <a:off x="5180302" y="410129"/>
              <a:ext cx="2560316"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3600" b="0" i="0" u="none" strike="noStrike" kern="1200" cap="none" spc="0" normalizeH="0" baseline="0" noProof="0" dirty="0">
                  <a:ln>
                    <a:noFill/>
                  </a:ln>
                  <a:solidFill>
                    <a:prstClr val="white"/>
                  </a:solidFill>
                  <a:effectLst/>
                  <a:uLnTx/>
                  <a:uFillTx/>
                  <a:latin typeface="Felix Titling" panose="04060505060202020A04" pitchFamily="82" charset="0"/>
                  <a:ea typeface="+mn-ea"/>
                  <a:cs typeface="+mn-cs"/>
                </a:rPr>
                <a:t>MODULES </a:t>
              </a:r>
            </a:p>
          </p:txBody>
        </p:sp>
      </p:grpSp>
      <p:grpSp>
        <p:nvGrpSpPr>
          <p:cNvPr id="114" name="Group 113">
            <a:extLst>
              <a:ext uri="{FF2B5EF4-FFF2-40B4-BE49-F238E27FC236}">
                <a16:creationId xmlns:a16="http://schemas.microsoft.com/office/drawing/2014/main" id="{EED953A4-820C-4212-832B-15473D3381D4}"/>
              </a:ext>
            </a:extLst>
          </p:cNvPr>
          <p:cNvGrpSpPr/>
          <p:nvPr/>
        </p:nvGrpSpPr>
        <p:grpSpPr>
          <a:xfrm>
            <a:off x="288054" y="391276"/>
            <a:ext cx="352425" cy="336551"/>
            <a:chOff x="288054" y="391276"/>
            <a:chExt cx="352425" cy="336551"/>
          </a:xfrm>
        </p:grpSpPr>
        <p:sp>
          <p:nvSpPr>
            <p:cNvPr id="115" name="Rectangle: Rounded Corners 114">
              <a:extLst>
                <a:ext uri="{FF2B5EF4-FFF2-40B4-BE49-F238E27FC236}">
                  <a16:creationId xmlns:a16="http://schemas.microsoft.com/office/drawing/2014/main" id="{51B9675D-6E07-41D7-8E27-AEDD6A205969}"/>
                </a:ext>
              </a:extLst>
            </p:cNvPr>
            <p:cNvSpPr/>
            <p:nvPr/>
          </p:nvSpPr>
          <p:spPr>
            <a:xfrm>
              <a:off x="288054" y="391276"/>
              <a:ext cx="352425" cy="6985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6" name="Rectangle: Rounded Corners 115">
              <a:extLst>
                <a:ext uri="{FF2B5EF4-FFF2-40B4-BE49-F238E27FC236}">
                  <a16:creationId xmlns:a16="http://schemas.microsoft.com/office/drawing/2014/main" id="{AD7E8773-CE03-453E-8643-88F278511707}"/>
                </a:ext>
              </a:extLst>
            </p:cNvPr>
            <p:cNvSpPr/>
            <p:nvPr/>
          </p:nvSpPr>
          <p:spPr>
            <a:xfrm>
              <a:off x="288054" y="524625"/>
              <a:ext cx="352425" cy="6985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7" name="Rectangle: Rounded Corners 116">
              <a:extLst>
                <a:ext uri="{FF2B5EF4-FFF2-40B4-BE49-F238E27FC236}">
                  <a16:creationId xmlns:a16="http://schemas.microsoft.com/office/drawing/2014/main" id="{C67C453E-432F-46BA-8A1A-E3D5AC452E2E}"/>
                </a:ext>
              </a:extLst>
            </p:cNvPr>
            <p:cNvSpPr/>
            <p:nvPr/>
          </p:nvSpPr>
          <p:spPr>
            <a:xfrm>
              <a:off x="288054" y="657974"/>
              <a:ext cx="352425" cy="6985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18" name="Group 117">
            <a:extLst>
              <a:ext uri="{FF2B5EF4-FFF2-40B4-BE49-F238E27FC236}">
                <a16:creationId xmlns:a16="http://schemas.microsoft.com/office/drawing/2014/main" id="{04E3AF89-EE7C-4B5E-898F-73F8D7F2C5A7}"/>
              </a:ext>
            </a:extLst>
          </p:cNvPr>
          <p:cNvGrpSpPr/>
          <p:nvPr/>
        </p:nvGrpSpPr>
        <p:grpSpPr>
          <a:xfrm>
            <a:off x="5139485" y="6769714"/>
            <a:ext cx="3963207" cy="4897617"/>
            <a:chOff x="5018226" y="1408163"/>
            <a:chExt cx="3963207" cy="4897617"/>
          </a:xfrm>
        </p:grpSpPr>
        <p:sp>
          <p:nvSpPr>
            <p:cNvPr id="119" name="TextBox 118">
              <a:extLst>
                <a:ext uri="{FF2B5EF4-FFF2-40B4-BE49-F238E27FC236}">
                  <a16:creationId xmlns:a16="http://schemas.microsoft.com/office/drawing/2014/main" id="{FB56D85F-2F19-49DC-9425-FA7DA6F7BEBD}"/>
                </a:ext>
              </a:extLst>
            </p:cNvPr>
            <p:cNvSpPr txBox="1"/>
            <p:nvPr/>
          </p:nvSpPr>
          <p:spPr>
            <a:xfrm>
              <a:off x="5018226" y="1408163"/>
              <a:ext cx="2820003"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400" b="1"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about seed</a:t>
              </a:r>
            </a:p>
          </p:txBody>
        </p:sp>
        <p:sp>
          <p:nvSpPr>
            <p:cNvPr id="120" name="TextBox 119">
              <a:extLst>
                <a:ext uri="{FF2B5EF4-FFF2-40B4-BE49-F238E27FC236}">
                  <a16:creationId xmlns:a16="http://schemas.microsoft.com/office/drawing/2014/main" id="{E05C9165-4256-4483-B155-06B7CC1551AA}"/>
                </a:ext>
              </a:extLst>
            </p:cNvPr>
            <p:cNvSpPr txBox="1"/>
            <p:nvPr/>
          </p:nvSpPr>
          <p:spPr>
            <a:xfrm>
              <a:off x="5037267" y="2211124"/>
              <a:ext cx="3944166" cy="3693319"/>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A seed is an embryonic plant enclosed in a protective outer covering. The formation of the seed is part of the process of reproduction in seed plants, the spermatophytes, including the gymnosperm and angiosperm plan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Seeds are the product of the ripened ovule, after fertilization by pollen and some growth within the mother plant. The embryo develops from the zygote, and the seed coat from the integuments of the ovule.</a:t>
              </a:r>
              <a:endParaRPr kumimoji="0" lang="en-MY" sz="18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endParaRPr>
            </a:p>
          </p:txBody>
        </p:sp>
        <p:sp>
          <p:nvSpPr>
            <p:cNvPr id="121" name="TextBox 120">
              <a:extLst>
                <a:ext uri="{FF2B5EF4-FFF2-40B4-BE49-F238E27FC236}">
                  <a16:creationId xmlns:a16="http://schemas.microsoft.com/office/drawing/2014/main" id="{657B3C84-7B63-4DE3-B747-032AC5154F81}"/>
                </a:ext>
              </a:extLst>
            </p:cNvPr>
            <p:cNvSpPr txBox="1"/>
            <p:nvPr/>
          </p:nvSpPr>
          <p:spPr>
            <a:xfrm>
              <a:off x="5044644" y="5936448"/>
              <a:ext cx="178766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design by hmpt </a:t>
              </a:r>
            </a:p>
          </p:txBody>
        </p:sp>
      </p:grpSp>
      <p:grpSp>
        <p:nvGrpSpPr>
          <p:cNvPr id="3" name="Group 2">
            <a:extLst>
              <a:ext uri="{FF2B5EF4-FFF2-40B4-BE49-F238E27FC236}">
                <a16:creationId xmlns:a16="http://schemas.microsoft.com/office/drawing/2014/main" id="{93DC7324-F9A3-677C-ED23-D9F7D7FAEC91}"/>
              </a:ext>
            </a:extLst>
          </p:cNvPr>
          <p:cNvGrpSpPr/>
          <p:nvPr/>
        </p:nvGrpSpPr>
        <p:grpSpPr>
          <a:xfrm>
            <a:off x="973974" y="1718600"/>
            <a:ext cx="2155690" cy="4529800"/>
            <a:chOff x="973974" y="1718600"/>
            <a:chExt cx="2155690" cy="4529800"/>
          </a:xfrm>
        </p:grpSpPr>
        <p:grpSp>
          <p:nvGrpSpPr>
            <p:cNvPr id="37" name="Group 36">
              <a:extLst>
                <a:ext uri="{FF2B5EF4-FFF2-40B4-BE49-F238E27FC236}">
                  <a16:creationId xmlns:a16="http://schemas.microsoft.com/office/drawing/2014/main" id="{0FC1E4AC-60E7-4AFC-948D-228D15E4478D}"/>
                </a:ext>
              </a:extLst>
            </p:cNvPr>
            <p:cNvGrpSpPr/>
            <p:nvPr/>
          </p:nvGrpSpPr>
          <p:grpSpPr>
            <a:xfrm>
              <a:off x="973974" y="1718600"/>
              <a:ext cx="2155690" cy="4529800"/>
              <a:chOff x="973974" y="1718600"/>
              <a:chExt cx="2155690" cy="4529800"/>
            </a:xfrm>
            <a:blipFill>
              <a:blip r:embed="rId20">
                <a:extLst>
                  <a:ext uri="{28A0092B-C50C-407E-A947-70E740481C1C}">
                    <a14:useLocalDpi xmlns:a14="http://schemas.microsoft.com/office/drawing/2010/main" val="0"/>
                  </a:ext>
                </a:extLst>
              </a:blip>
              <a:stretch>
                <a:fillRect/>
              </a:stretch>
            </a:blipFill>
          </p:grpSpPr>
          <p:sp>
            <p:nvSpPr>
              <p:cNvPr id="2" name="Rectangle: Rounded Corners 1">
                <a:extLst>
                  <a:ext uri="{FF2B5EF4-FFF2-40B4-BE49-F238E27FC236}">
                    <a16:creationId xmlns:a16="http://schemas.microsoft.com/office/drawing/2014/main" id="{C386F7BF-ADC1-4BEA-A64A-F10F6A764B92}"/>
                  </a:ext>
                </a:extLst>
              </p:cNvPr>
              <p:cNvSpPr/>
              <p:nvPr/>
            </p:nvSpPr>
            <p:spPr>
              <a:xfrm>
                <a:off x="1014722" y="1718600"/>
                <a:ext cx="2114942" cy="4529800"/>
              </a:xfrm>
              <a:prstGeom prst="roundRect">
                <a:avLst/>
              </a:prstGeom>
              <a:gr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Rectangle: Rounded Corners 35">
                <a:extLst>
                  <a:ext uri="{FF2B5EF4-FFF2-40B4-BE49-F238E27FC236}">
                    <a16:creationId xmlns:a16="http://schemas.microsoft.com/office/drawing/2014/main" id="{339EF822-9469-44BC-9C29-7E53CAB2088D}"/>
                  </a:ext>
                </a:extLst>
              </p:cNvPr>
              <p:cNvSpPr/>
              <p:nvPr/>
            </p:nvSpPr>
            <p:spPr>
              <a:xfrm>
                <a:off x="1700464" y="6076950"/>
                <a:ext cx="743457" cy="76198"/>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TextBox 60">
                <a:extLst>
                  <a:ext uri="{FF2B5EF4-FFF2-40B4-BE49-F238E27FC236}">
                    <a16:creationId xmlns:a16="http://schemas.microsoft.com/office/drawing/2014/main" id="{5F6F9C61-BE53-435C-BA53-3281EB7455DC}"/>
                  </a:ext>
                </a:extLst>
              </p:cNvPr>
              <p:cNvSpPr txBox="1"/>
              <p:nvPr/>
            </p:nvSpPr>
            <p:spPr>
              <a:xfrm>
                <a:off x="973974" y="4966035"/>
                <a:ext cx="1819729" cy="1015663"/>
              </a:xfrm>
              <a:prstGeom prst="rect">
                <a:avLst/>
              </a:prstGeom>
              <a:grp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login</a:t>
                </a:r>
                <a:endPar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endParaRPr>
              </a:p>
            </p:txBody>
          </p:sp>
          <p:sp>
            <p:nvSpPr>
              <p:cNvPr id="64" name="TextBox 63">
                <a:extLst>
                  <a:ext uri="{FF2B5EF4-FFF2-40B4-BE49-F238E27FC236}">
                    <a16:creationId xmlns:a16="http://schemas.microsoft.com/office/drawing/2014/main" id="{7EF82E43-714E-441E-93C8-2ADC86428163}"/>
                  </a:ext>
                </a:extLst>
              </p:cNvPr>
              <p:cNvSpPr txBox="1"/>
              <p:nvPr/>
            </p:nvSpPr>
            <p:spPr>
              <a:xfrm>
                <a:off x="1014722" y="4896377"/>
                <a:ext cx="94128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security</a:t>
                </a:r>
              </a:p>
            </p:txBody>
          </p:sp>
        </p:grpSp>
        <p:sp>
          <p:nvSpPr>
            <p:cNvPr id="68" name="Rectangle: Rounded Corners 67">
              <a:extLst>
                <a:ext uri="{FF2B5EF4-FFF2-40B4-BE49-F238E27FC236}">
                  <a16:creationId xmlns:a16="http://schemas.microsoft.com/office/drawing/2014/main" id="{14B71636-4AE3-4D20-A55E-3037FFECF7CB}"/>
                </a:ext>
              </a:extLst>
            </p:cNvPr>
            <p:cNvSpPr/>
            <p:nvPr/>
          </p:nvSpPr>
          <p:spPr>
            <a:xfrm>
              <a:off x="1706111" y="5972378"/>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Graphic 11" descr="Lock">
              <a:hlinkClick r:id="rId21" action="ppaction://hlinksldjump"/>
              <a:extLst>
                <a:ext uri="{FF2B5EF4-FFF2-40B4-BE49-F238E27FC236}">
                  <a16:creationId xmlns:a16="http://schemas.microsoft.com/office/drawing/2014/main" id="{4B8B8558-42AA-4717-97D2-0B0069BB3498}"/>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1481811" y="2589204"/>
              <a:ext cx="1180759" cy="1180759"/>
            </a:xfrm>
            <a:prstGeom prst="rect">
              <a:avLst/>
            </a:prstGeom>
          </p:spPr>
        </p:pic>
      </p:grpSp>
    </p:spTree>
    <p:extLst>
      <p:ext uri="{BB962C8B-B14F-4D97-AF65-F5344CB8AC3E}">
        <p14:creationId xmlns:p14="http://schemas.microsoft.com/office/powerpoint/2010/main" val="23527829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250" advTm="1000">
        <p159:morph option="byObject"/>
      </p:transition>
    </mc:Choice>
    <mc:Fallback xmlns="">
      <p:transition spd="slow" advTm="1000">
        <p:fade/>
      </p:transition>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537CA44-DE10-4502-A603-A0D76E4B8483}"/>
              </a:ext>
            </a:extLst>
          </p:cNvPr>
          <p:cNvSpPr>
            <a:spLocks noGrp="1" noRot="1" noMove="1" noResize="1" noEditPoints="1" noAdjustHandles="1" noChangeArrowheads="1" noChangeShapeType="1"/>
          </p:cNvSpPr>
          <p:nvPr/>
        </p:nvSpPr>
        <p:spPr>
          <a:xfrm>
            <a:off x="0" y="0"/>
            <a:ext cx="12217065" cy="6858000"/>
          </a:xfrm>
          <a:prstGeom prst="rect">
            <a:avLst/>
          </a:prstGeom>
          <a:solidFill>
            <a:srgbClr val="E1F6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srgbClr val="E2F6F3"/>
              </a:solidFill>
              <a:effectLst/>
              <a:uLnTx/>
              <a:uFillTx/>
              <a:latin typeface="Calibri" panose="020F0502020204030204"/>
              <a:ea typeface="+mn-ea"/>
              <a:cs typeface="+mn-cs"/>
            </a:endParaRPr>
          </a:p>
        </p:txBody>
      </p:sp>
      <p:sp>
        <p:nvSpPr>
          <p:cNvPr id="39" name="Oval 38">
            <a:extLst>
              <a:ext uri="{FF2B5EF4-FFF2-40B4-BE49-F238E27FC236}">
                <a16:creationId xmlns:a16="http://schemas.microsoft.com/office/drawing/2014/main" id="{66AB12C2-5392-4FD7-8B8F-EF05D58DE172}"/>
              </a:ext>
            </a:extLst>
          </p:cNvPr>
          <p:cNvSpPr/>
          <p:nvPr/>
        </p:nvSpPr>
        <p:spPr>
          <a:xfrm>
            <a:off x="6922678" y="674101"/>
            <a:ext cx="3441602" cy="3441602"/>
          </a:xfrm>
          <a:prstGeom prst="ellipse">
            <a:avLst/>
          </a:prstGeom>
          <a:solidFill>
            <a:srgbClr val="749AA2">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Oval 39">
            <a:extLst>
              <a:ext uri="{FF2B5EF4-FFF2-40B4-BE49-F238E27FC236}">
                <a16:creationId xmlns:a16="http://schemas.microsoft.com/office/drawing/2014/main" id="{4DB1BC4D-C390-4328-847B-615E62E36839}"/>
              </a:ext>
            </a:extLst>
          </p:cNvPr>
          <p:cNvSpPr/>
          <p:nvPr/>
        </p:nvSpPr>
        <p:spPr>
          <a:xfrm>
            <a:off x="7401269" y="972974"/>
            <a:ext cx="2677869" cy="2677869"/>
          </a:xfrm>
          <a:prstGeom prst="ellipse">
            <a:avLst/>
          </a:prstGeom>
          <a:solidFill>
            <a:srgbClr val="749AA2">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Oval 24">
            <a:extLst>
              <a:ext uri="{FF2B5EF4-FFF2-40B4-BE49-F238E27FC236}">
                <a16:creationId xmlns:a16="http://schemas.microsoft.com/office/drawing/2014/main" id="{8BEBA488-26C3-4061-931E-7E955983507D}"/>
              </a:ext>
            </a:extLst>
          </p:cNvPr>
          <p:cNvSpPr/>
          <p:nvPr/>
        </p:nvSpPr>
        <p:spPr>
          <a:xfrm rot="7681175">
            <a:off x="6553631" y="398596"/>
            <a:ext cx="4135748" cy="4019507"/>
          </a:xfrm>
          <a:prstGeom prst="ellipse">
            <a:avLst/>
          </a:prstGeom>
          <a:gradFill flip="none" rotWithShape="1">
            <a:gsLst>
              <a:gs pos="0">
                <a:srgbClr val="628890"/>
              </a:gs>
              <a:gs pos="34000">
                <a:srgbClr val="48ACA7"/>
              </a:gs>
              <a:gs pos="100000">
                <a:srgbClr val="E2FDFE"/>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Oval 21">
            <a:extLst>
              <a:ext uri="{FF2B5EF4-FFF2-40B4-BE49-F238E27FC236}">
                <a16:creationId xmlns:a16="http://schemas.microsoft.com/office/drawing/2014/main" id="{661B9809-72D9-405C-9019-D17F24B44334}"/>
              </a:ext>
            </a:extLst>
          </p:cNvPr>
          <p:cNvSpPr/>
          <p:nvPr/>
        </p:nvSpPr>
        <p:spPr>
          <a:xfrm rot="7681175">
            <a:off x="-681432" y="4914023"/>
            <a:ext cx="2771936" cy="2694027"/>
          </a:xfrm>
          <a:prstGeom prst="ellipse">
            <a:avLst/>
          </a:prstGeom>
          <a:gradFill flip="none" rotWithShape="1">
            <a:gsLst>
              <a:gs pos="0">
                <a:srgbClr val="628890"/>
              </a:gs>
              <a:gs pos="34000">
                <a:srgbClr val="48ACA7"/>
              </a:gs>
              <a:gs pos="100000">
                <a:srgbClr val="E2FDFE"/>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 name="Group 4">
            <a:extLst>
              <a:ext uri="{FF2B5EF4-FFF2-40B4-BE49-F238E27FC236}">
                <a16:creationId xmlns:a16="http://schemas.microsoft.com/office/drawing/2014/main" id="{6622396C-2DA3-4406-98C3-8EDC1895A0D7}"/>
              </a:ext>
            </a:extLst>
          </p:cNvPr>
          <p:cNvGrpSpPr>
            <a:grpSpLocks noGrp="1" noUngrp="1" noRot="1" noMove="1" noResize="1"/>
          </p:cNvGrpSpPr>
          <p:nvPr/>
        </p:nvGrpSpPr>
        <p:grpSpPr>
          <a:xfrm>
            <a:off x="5263347" y="1"/>
            <a:ext cx="6953716" cy="6857998"/>
            <a:chOff x="5263347" y="1"/>
            <a:chExt cx="6953716" cy="6857998"/>
          </a:xfrm>
        </p:grpSpPr>
        <p:pic>
          <p:nvPicPr>
            <p:cNvPr id="23" name="Picture 22" descr="A person standing on a stage&#10;&#10;Description automatically generated with low confidence">
              <a:extLst>
                <a:ext uri="{FF2B5EF4-FFF2-40B4-BE49-F238E27FC236}">
                  <a16:creationId xmlns:a16="http://schemas.microsoft.com/office/drawing/2014/main" id="{31DDA5C8-56CD-4F5A-BFC5-01A3DC42DD2C}"/>
                </a:ext>
              </a:extLst>
            </p:cNvPr>
            <p:cNvPicPr>
              <a:picLocks noGrp="1" noRot="1" noChangeAspect="1" noMove="1" noResize="1" noEditPoints="1" noAdjustHandles="1" noChangeArrowheads="1" noChangeShapeType="1" noCrop="1"/>
            </p:cNvPicPr>
            <p:nvPr/>
          </p:nvPicPr>
          <p:blipFill rotWithShape="1">
            <a:blip r:embed="rId2" cstate="print">
              <a:extLst>
                <a:ext uri="{28A0092B-C50C-407E-A947-70E740481C1C}">
                  <a14:useLocalDpi xmlns:a14="http://schemas.microsoft.com/office/drawing/2010/main" val="0"/>
                </a:ext>
              </a:extLst>
            </a:blip>
            <a:srcRect t="-2" r="6348" b="46416"/>
            <a:stretch/>
          </p:blipFill>
          <p:spPr>
            <a:xfrm flipH="1">
              <a:off x="5263348" y="1"/>
              <a:ext cx="6953715" cy="4457700"/>
            </a:xfrm>
            <a:prstGeom prst="rect">
              <a:avLst/>
            </a:prstGeom>
          </p:spPr>
        </p:pic>
        <p:pic>
          <p:nvPicPr>
            <p:cNvPr id="26" name="Picture 25" descr="A person standing on a stage&#10;&#10;Description automatically generated with low confidence">
              <a:extLst>
                <a:ext uri="{FF2B5EF4-FFF2-40B4-BE49-F238E27FC236}">
                  <a16:creationId xmlns:a16="http://schemas.microsoft.com/office/drawing/2014/main" id="{ACB8777B-30E8-4B7D-91BA-D85E0C7C8758}"/>
                </a:ext>
              </a:extLst>
            </p:cNvPr>
            <p:cNvPicPr>
              <a:picLocks noGrp="1" noRot="1" noChangeAspect="1" noMove="1" noResize="1" noEditPoints="1" noAdjustHandles="1" noChangeArrowheads="1" noChangeShapeType="1" noCrop="1"/>
            </p:cNvPicPr>
            <p:nvPr/>
          </p:nvPicPr>
          <p:blipFill rotWithShape="1">
            <a:blip r:embed="rId3" cstate="print">
              <a:extLst>
                <a:ext uri="{28A0092B-C50C-407E-A947-70E740481C1C}">
                  <a14:useLocalDpi xmlns:a14="http://schemas.microsoft.com/office/drawing/2010/main" val="0"/>
                </a:ext>
              </a:extLst>
            </a:blip>
            <a:srcRect/>
            <a:stretch/>
          </p:blipFill>
          <p:spPr>
            <a:xfrm flipH="1">
              <a:off x="5263347" y="4381712"/>
              <a:ext cx="6953715" cy="2476287"/>
            </a:xfrm>
            <a:prstGeom prst="rect">
              <a:avLst/>
            </a:prstGeom>
          </p:spPr>
        </p:pic>
      </p:grpSp>
      <p:grpSp>
        <p:nvGrpSpPr>
          <p:cNvPr id="3" name="Group 2">
            <a:extLst>
              <a:ext uri="{FF2B5EF4-FFF2-40B4-BE49-F238E27FC236}">
                <a16:creationId xmlns:a16="http://schemas.microsoft.com/office/drawing/2014/main" id="{A9335991-C241-E04B-8F4A-FC7820A445FF}"/>
              </a:ext>
            </a:extLst>
          </p:cNvPr>
          <p:cNvGrpSpPr/>
          <p:nvPr/>
        </p:nvGrpSpPr>
        <p:grpSpPr>
          <a:xfrm>
            <a:off x="323329" y="3117758"/>
            <a:ext cx="1823876" cy="1242850"/>
            <a:chOff x="795499" y="3142442"/>
            <a:chExt cx="1823876" cy="1242850"/>
          </a:xfrm>
        </p:grpSpPr>
        <p:sp>
          <p:nvSpPr>
            <p:cNvPr id="18" name="Rectangle: Rounded Corners 17">
              <a:hlinkHover r:id="rId4" action="ppaction://hlinksldjump"/>
              <a:extLst>
                <a:ext uri="{FF2B5EF4-FFF2-40B4-BE49-F238E27FC236}">
                  <a16:creationId xmlns:a16="http://schemas.microsoft.com/office/drawing/2014/main" id="{BF26927F-C9FB-427D-81FA-7CB0153130E9}"/>
                </a:ext>
              </a:extLst>
            </p:cNvPr>
            <p:cNvSpPr/>
            <p:nvPr/>
          </p:nvSpPr>
          <p:spPr>
            <a:xfrm>
              <a:off x="795499" y="3142442"/>
              <a:ext cx="1823876" cy="1242850"/>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26" name="Picture 2" descr="backpack green Illustration in PNG, SVG">
              <a:hlinkHover r:id="rId4" action="ppaction://hlinksldjump"/>
              <a:extLst>
                <a:ext uri="{FF2B5EF4-FFF2-40B4-BE49-F238E27FC236}">
                  <a16:creationId xmlns:a16="http://schemas.microsoft.com/office/drawing/2014/main" id="{47110F0F-B32D-48F8-8EEC-F1114E53761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00149" y="3300703"/>
              <a:ext cx="890589" cy="918420"/>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TextBox 31">
            <a:extLst>
              <a:ext uri="{FF2B5EF4-FFF2-40B4-BE49-F238E27FC236}">
                <a16:creationId xmlns:a16="http://schemas.microsoft.com/office/drawing/2014/main" id="{16F134F3-3519-4F9A-B7C4-975A4FECF13D}"/>
              </a:ext>
            </a:extLst>
          </p:cNvPr>
          <p:cNvSpPr txBox="1"/>
          <p:nvPr/>
        </p:nvSpPr>
        <p:spPr>
          <a:xfrm>
            <a:off x="713543" y="452613"/>
            <a:ext cx="6223178" cy="13234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8000" b="1" i="0" u="none" strike="noStrike" kern="1200" cap="none" spc="0" normalizeH="0" baseline="0" noProof="0" dirty="0">
                <a:ln>
                  <a:noFill/>
                </a:ln>
                <a:solidFill>
                  <a:srgbClr val="5E848C"/>
                </a:solidFill>
                <a:effectLst/>
                <a:uLnTx/>
                <a:uFillTx/>
                <a:latin typeface="Adam Bold" panose="02000403000000000000" pitchFamily="2" charset="0"/>
                <a:ea typeface="+mn-ea"/>
                <a:cs typeface="+mn-cs"/>
              </a:rPr>
              <a:t>TEAMMATES</a:t>
            </a:r>
          </a:p>
        </p:txBody>
      </p:sp>
      <p:sp>
        <p:nvSpPr>
          <p:cNvPr id="33" name="TextBox 32">
            <a:extLst>
              <a:ext uri="{FF2B5EF4-FFF2-40B4-BE49-F238E27FC236}">
                <a16:creationId xmlns:a16="http://schemas.microsoft.com/office/drawing/2014/main" id="{5759D475-16AD-41BE-9FDD-E10B8A59038B}"/>
              </a:ext>
            </a:extLst>
          </p:cNvPr>
          <p:cNvSpPr txBox="1"/>
          <p:nvPr/>
        </p:nvSpPr>
        <p:spPr>
          <a:xfrm>
            <a:off x="783331" y="1459602"/>
            <a:ext cx="6332795"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800" b="1" i="0" u="none" strike="noStrike" kern="1200" cap="none" spc="0" normalizeH="0" baseline="0" noProof="0" dirty="0">
                <a:ln>
                  <a:noFill/>
                </a:ln>
                <a:solidFill>
                  <a:srgbClr val="48ACA7"/>
                </a:solidFill>
                <a:effectLst/>
                <a:uLnTx/>
                <a:uFillTx/>
                <a:latin typeface="Adam Bold" panose="02000403000000000000" pitchFamily="2" charset="0"/>
                <a:ea typeface="+mn-ea"/>
                <a:cs typeface="+mn-cs"/>
              </a:rPr>
              <a:t>and their contribution</a:t>
            </a:r>
            <a:endParaRPr kumimoji="0" lang="en-MY" sz="7200" b="0" i="0" u="none" strike="noStrike" kern="1200" cap="none" spc="0" normalizeH="0" baseline="0" noProof="0" dirty="0">
              <a:ln>
                <a:noFill/>
              </a:ln>
              <a:solidFill>
                <a:srgbClr val="48ACA7"/>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0877BB92-3987-1DC1-296B-9789962C8F94}"/>
              </a:ext>
            </a:extLst>
          </p:cNvPr>
          <p:cNvGrpSpPr/>
          <p:nvPr/>
        </p:nvGrpSpPr>
        <p:grpSpPr>
          <a:xfrm>
            <a:off x="2450221" y="3138862"/>
            <a:ext cx="1823876" cy="1242850"/>
            <a:chOff x="2765875" y="3142442"/>
            <a:chExt cx="1823876" cy="1242850"/>
          </a:xfrm>
        </p:grpSpPr>
        <p:sp>
          <p:nvSpPr>
            <p:cNvPr id="19" name="Rectangle: Rounded Corners 18">
              <a:hlinkHover r:id="rId6" action="ppaction://hlinksldjump"/>
              <a:extLst>
                <a:ext uri="{FF2B5EF4-FFF2-40B4-BE49-F238E27FC236}">
                  <a16:creationId xmlns:a16="http://schemas.microsoft.com/office/drawing/2014/main" id="{D2A0F648-5F40-4AF0-A0B9-C0D33CBF9DD3}"/>
                </a:ext>
              </a:extLst>
            </p:cNvPr>
            <p:cNvSpPr/>
            <p:nvPr/>
          </p:nvSpPr>
          <p:spPr>
            <a:xfrm>
              <a:off x="2765875" y="3142442"/>
              <a:ext cx="1823876" cy="1242850"/>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7" name="Picture 36">
              <a:extLst>
                <a:ext uri="{FF2B5EF4-FFF2-40B4-BE49-F238E27FC236}">
                  <a16:creationId xmlns:a16="http://schemas.microsoft.com/office/drawing/2014/main" id="{1AEC77CB-A131-4E46-A2EB-0060F5230A15}"/>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3120580" y="3283504"/>
              <a:ext cx="1107416" cy="987597"/>
            </a:xfrm>
            <a:prstGeom prst="rect">
              <a:avLst/>
            </a:prstGeom>
          </p:spPr>
        </p:pic>
      </p:grpSp>
      <p:grpSp>
        <p:nvGrpSpPr>
          <p:cNvPr id="8" name="Group 7">
            <a:extLst>
              <a:ext uri="{FF2B5EF4-FFF2-40B4-BE49-F238E27FC236}">
                <a16:creationId xmlns:a16="http://schemas.microsoft.com/office/drawing/2014/main" id="{7CAD5B8B-359A-636C-FB03-D3B8C2CFF87E}"/>
              </a:ext>
            </a:extLst>
          </p:cNvPr>
          <p:cNvGrpSpPr/>
          <p:nvPr/>
        </p:nvGrpSpPr>
        <p:grpSpPr>
          <a:xfrm>
            <a:off x="4647036" y="3151421"/>
            <a:ext cx="1823876" cy="1242850"/>
            <a:chOff x="4736251" y="3142442"/>
            <a:chExt cx="1823876" cy="1242850"/>
          </a:xfrm>
        </p:grpSpPr>
        <p:sp>
          <p:nvSpPr>
            <p:cNvPr id="20" name="Rectangle: Rounded Corners 19">
              <a:hlinkHover r:id="rId8" action="ppaction://hlinksldjump"/>
              <a:extLst>
                <a:ext uri="{FF2B5EF4-FFF2-40B4-BE49-F238E27FC236}">
                  <a16:creationId xmlns:a16="http://schemas.microsoft.com/office/drawing/2014/main" id="{CFAF2C0B-1E62-4B06-A998-26420AF81655}"/>
                </a:ext>
              </a:extLst>
            </p:cNvPr>
            <p:cNvSpPr/>
            <p:nvPr/>
          </p:nvSpPr>
          <p:spPr>
            <a:xfrm>
              <a:off x="4736251" y="3142442"/>
              <a:ext cx="1823876" cy="1242850"/>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5" name="Picture 34">
              <a:hlinkHover r:id="rId8" action="ppaction://hlinksldjump"/>
              <a:extLst>
                <a:ext uri="{FF2B5EF4-FFF2-40B4-BE49-F238E27FC236}">
                  <a16:creationId xmlns:a16="http://schemas.microsoft.com/office/drawing/2014/main" id="{24B4B673-D9BB-4577-A135-9813EC5EDC6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63346" y="3363885"/>
              <a:ext cx="763355" cy="759193"/>
            </a:xfrm>
            <a:prstGeom prst="rect">
              <a:avLst/>
            </a:prstGeom>
          </p:spPr>
        </p:pic>
      </p:grpSp>
      <p:grpSp>
        <p:nvGrpSpPr>
          <p:cNvPr id="7" name="Group 6">
            <a:extLst>
              <a:ext uri="{FF2B5EF4-FFF2-40B4-BE49-F238E27FC236}">
                <a16:creationId xmlns:a16="http://schemas.microsoft.com/office/drawing/2014/main" id="{52CD282E-8A7C-DFAB-8FD8-8D789910297D}"/>
              </a:ext>
            </a:extLst>
          </p:cNvPr>
          <p:cNvGrpSpPr/>
          <p:nvPr/>
        </p:nvGrpSpPr>
        <p:grpSpPr>
          <a:xfrm>
            <a:off x="6768522" y="3163980"/>
            <a:ext cx="1823876" cy="1242850"/>
            <a:chOff x="6955139" y="3193494"/>
            <a:chExt cx="1823876" cy="1242850"/>
          </a:xfrm>
        </p:grpSpPr>
        <p:sp>
          <p:nvSpPr>
            <p:cNvPr id="75" name="Rectangle: Rounded Corners 74">
              <a:hlinkHover r:id="rId8" action="ppaction://hlinksldjump"/>
              <a:extLst>
                <a:ext uri="{FF2B5EF4-FFF2-40B4-BE49-F238E27FC236}">
                  <a16:creationId xmlns:a16="http://schemas.microsoft.com/office/drawing/2014/main" id="{A11C7E84-DC48-24E6-ABDD-0425D3D55B98}"/>
                </a:ext>
              </a:extLst>
            </p:cNvPr>
            <p:cNvSpPr/>
            <p:nvPr/>
          </p:nvSpPr>
          <p:spPr>
            <a:xfrm>
              <a:off x="6955139" y="3193494"/>
              <a:ext cx="1823876" cy="1242850"/>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6" name="Picture 75">
              <a:hlinkHover r:id="rId8" action="ppaction://hlinksldjump"/>
              <a:extLst>
                <a:ext uri="{FF2B5EF4-FFF2-40B4-BE49-F238E27FC236}">
                  <a16:creationId xmlns:a16="http://schemas.microsoft.com/office/drawing/2014/main" id="{09614B7B-431C-BA91-5560-971CEE9FFE1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482234" y="3414937"/>
              <a:ext cx="763355" cy="759193"/>
            </a:xfrm>
            <a:prstGeom prst="rect">
              <a:avLst/>
            </a:prstGeom>
          </p:spPr>
        </p:pic>
      </p:grpSp>
    </p:spTree>
    <p:extLst>
      <p:ext uri="{BB962C8B-B14F-4D97-AF65-F5344CB8AC3E}">
        <p14:creationId xmlns:p14="http://schemas.microsoft.com/office/powerpoint/2010/main" val="689162834"/>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F1923"/>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85DB707-4781-49F5-A5E1-7366AE8FF70A}"/>
              </a:ext>
            </a:extLst>
          </p:cNvPr>
          <p:cNvPicPr>
            <a:picLocks noChangeAspect="1"/>
          </p:cNvPicPr>
          <p:nvPr/>
        </p:nvPicPr>
        <p:blipFill rotWithShape="1">
          <a:blip r:embed="rId2"/>
          <a:srcRect l="24998" t="18214" b="28661"/>
          <a:stretch/>
        </p:blipFill>
        <p:spPr>
          <a:xfrm>
            <a:off x="0" y="-1"/>
            <a:ext cx="2958214" cy="6858001"/>
          </a:xfrm>
          <a:prstGeom prst="rect">
            <a:avLst/>
          </a:prstGeom>
        </p:spPr>
      </p:pic>
      <p:grpSp>
        <p:nvGrpSpPr>
          <p:cNvPr id="103" name="Group 102">
            <a:extLst>
              <a:ext uri="{FF2B5EF4-FFF2-40B4-BE49-F238E27FC236}">
                <a16:creationId xmlns:a16="http://schemas.microsoft.com/office/drawing/2014/main" id="{F926ECC8-3E5C-4D25-8303-6A33A8D46E03}"/>
              </a:ext>
            </a:extLst>
          </p:cNvPr>
          <p:cNvGrpSpPr/>
          <p:nvPr/>
        </p:nvGrpSpPr>
        <p:grpSpPr>
          <a:xfrm>
            <a:off x="5018226" y="1408163"/>
            <a:ext cx="4862809" cy="5327276"/>
            <a:chOff x="5018226" y="1408163"/>
            <a:chExt cx="3963207" cy="5327276"/>
          </a:xfrm>
        </p:grpSpPr>
        <p:sp>
          <p:nvSpPr>
            <p:cNvPr id="8" name="TextBox 7">
              <a:extLst>
                <a:ext uri="{FF2B5EF4-FFF2-40B4-BE49-F238E27FC236}">
                  <a16:creationId xmlns:a16="http://schemas.microsoft.com/office/drawing/2014/main" id="{CD16682A-F438-48CB-991E-18C24605039C}"/>
                </a:ext>
              </a:extLst>
            </p:cNvPr>
            <p:cNvSpPr txBox="1"/>
            <p:nvPr/>
          </p:nvSpPr>
          <p:spPr>
            <a:xfrm>
              <a:off x="5018226" y="1408163"/>
              <a:ext cx="2888932"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400" b="1"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about login</a:t>
              </a:r>
            </a:p>
          </p:txBody>
        </p:sp>
        <p:sp>
          <p:nvSpPr>
            <p:cNvPr id="9" name="TextBox 8">
              <a:extLst>
                <a:ext uri="{FF2B5EF4-FFF2-40B4-BE49-F238E27FC236}">
                  <a16:creationId xmlns:a16="http://schemas.microsoft.com/office/drawing/2014/main" id="{A08BFEA4-E7C4-4886-9DE7-E529D8A35A40}"/>
                </a:ext>
              </a:extLst>
            </p:cNvPr>
            <p:cNvSpPr txBox="1"/>
            <p:nvPr/>
          </p:nvSpPr>
          <p:spPr>
            <a:xfrm>
              <a:off x="5037267" y="2211124"/>
              <a:ext cx="3944166" cy="452431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In this Project, we add an </a:t>
              </a:r>
              <a:r>
                <a:rPr kumimoji="0" lang="en-US"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advance authentication system </a:t>
              </a:r>
              <a:r>
                <a:rPr kumimoji="0" lang="en-US"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with </a:t>
              </a:r>
              <a:r>
                <a:rPr kumimoji="0" lang="en-US" b="0" i="1" u="sng"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register</a:t>
              </a:r>
              <a:r>
                <a:rPr kumimoji="0" lang="en-US" b="0" i="1"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a:t>
              </a:r>
              <a:r>
                <a:rPr kumimoji="0" lang="en-US" b="0" i="1" u="sng"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login</a:t>
              </a:r>
              <a:r>
                <a:rPr kumimoji="0" lang="en-US" b="0" i="1"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a:t>
              </a:r>
              <a:r>
                <a:rPr kumimoji="0" lang="en-US" b="0" i="1" u="sng"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email verification</a:t>
              </a:r>
              <a:r>
                <a:rPr kumimoji="0" lang="en-US" b="0" i="1"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a:t>
              </a:r>
              <a:r>
                <a:rPr kumimoji="0" lang="en-US" b="0" i="1" u="sng"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forget password</a:t>
              </a:r>
              <a:r>
                <a:rPr kumimoji="0" lang="en-US" b="0" i="1"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a:t>
              </a:r>
              <a:r>
                <a:rPr kumimoji="0" lang="en-US" b="0" i="1" u="sng"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local storage session </a:t>
              </a:r>
              <a:r>
                <a:rPr kumimoji="0" lang="en-US"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etc.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you should to register to go further. Fill the all fields and after submitted the form the </a:t>
              </a:r>
              <a:r>
                <a:rPr kumimoji="0" lang="en-US"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verification code </a:t>
              </a:r>
              <a:r>
                <a:rPr kumimoji="0" lang="en-US"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sends to your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filled </a:t>
              </a:r>
              <a:r>
                <a:rPr kumimoji="0" lang="en-US"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email address</a:t>
              </a:r>
              <a:r>
                <a:rPr kumimoji="0" lang="en-US"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After that user open his email and verify the email and after that user can able to login in site otherwise user can’t able login on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application. </a:t>
              </a:r>
              <a:endParaRPr kumimoji="0" lang="en-MY"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endParaRPr>
            </a:p>
          </p:txBody>
        </p:sp>
      </p:grpSp>
      <p:pic>
        <p:nvPicPr>
          <p:cNvPr id="95" name="Picture 94">
            <a:extLst>
              <a:ext uri="{FF2B5EF4-FFF2-40B4-BE49-F238E27FC236}">
                <a16:creationId xmlns:a16="http://schemas.microsoft.com/office/drawing/2014/main" id="{F5504B8D-BBD5-4205-93B0-69EB07A7115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310323" y="248863"/>
            <a:ext cx="742401" cy="1342452"/>
          </a:xfrm>
          <a:prstGeom prst="rect">
            <a:avLst/>
          </a:prstGeom>
        </p:spPr>
      </p:pic>
      <p:pic>
        <p:nvPicPr>
          <p:cNvPr id="96" name="Picture 95">
            <a:extLst>
              <a:ext uri="{FF2B5EF4-FFF2-40B4-BE49-F238E27FC236}">
                <a16:creationId xmlns:a16="http://schemas.microsoft.com/office/drawing/2014/main" id="{3C4EE967-585A-4507-B3CD-3BB5ED8C486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0253476" y="431139"/>
            <a:ext cx="550703" cy="1012323"/>
          </a:xfrm>
          <a:prstGeom prst="rect">
            <a:avLst/>
          </a:prstGeom>
        </p:spPr>
      </p:pic>
      <p:pic>
        <p:nvPicPr>
          <p:cNvPr id="97" name="Picture 96">
            <a:extLst>
              <a:ext uri="{FF2B5EF4-FFF2-40B4-BE49-F238E27FC236}">
                <a16:creationId xmlns:a16="http://schemas.microsoft.com/office/drawing/2014/main" id="{365EA7EE-3743-43BF-B004-7B161A6E64D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0745460" y="426203"/>
            <a:ext cx="552944" cy="935396"/>
          </a:xfrm>
          <a:prstGeom prst="rect">
            <a:avLst/>
          </a:prstGeom>
        </p:spPr>
      </p:pic>
      <p:pic>
        <p:nvPicPr>
          <p:cNvPr id="98" name="Picture 97">
            <a:extLst>
              <a:ext uri="{FF2B5EF4-FFF2-40B4-BE49-F238E27FC236}">
                <a16:creationId xmlns:a16="http://schemas.microsoft.com/office/drawing/2014/main" id="{A73A9D7A-44E2-4288-956D-97D13023D66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1235992" y="430955"/>
            <a:ext cx="518485" cy="935396"/>
          </a:xfrm>
          <a:prstGeom prst="rect">
            <a:avLst/>
          </a:prstGeom>
        </p:spPr>
      </p:pic>
      <p:sp>
        <p:nvSpPr>
          <p:cNvPr id="99" name="Isosceles Triangle 98">
            <a:extLst>
              <a:ext uri="{FF2B5EF4-FFF2-40B4-BE49-F238E27FC236}">
                <a16:creationId xmlns:a16="http://schemas.microsoft.com/office/drawing/2014/main" id="{9C570991-A25D-4F57-B8FF-811105B30827}"/>
              </a:ext>
            </a:extLst>
          </p:cNvPr>
          <p:cNvSpPr/>
          <p:nvPr/>
        </p:nvSpPr>
        <p:spPr>
          <a:xfrm>
            <a:off x="9574843" y="1652833"/>
            <a:ext cx="213360" cy="17559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72" name="Group 71">
            <a:extLst>
              <a:ext uri="{FF2B5EF4-FFF2-40B4-BE49-F238E27FC236}">
                <a16:creationId xmlns:a16="http://schemas.microsoft.com/office/drawing/2014/main" id="{A6F931F9-BAE2-4F52-BC15-529545D70DEE}"/>
              </a:ext>
            </a:extLst>
          </p:cNvPr>
          <p:cNvGrpSpPr/>
          <p:nvPr/>
        </p:nvGrpSpPr>
        <p:grpSpPr>
          <a:xfrm>
            <a:off x="288054" y="391276"/>
            <a:ext cx="352425" cy="336551"/>
            <a:chOff x="288054" y="391276"/>
            <a:chExt cx="352425" cy="336551"/>
          </a:xfrm>
        </p:grpSpPr>
        <p:sp>
          <p:nvSpPr>
            <p:cNvPr id="100" name="Rectangle: Rounded Corners 99">
              <a:extLst>
                <a:ext uri="{FF2B5EF4-FFF2-40B4-BE49-F238E27FC236}">
                  <a16:creationId xmlns:a16="http://schemas.microsoft.com/office/drawing/2014/main" id="{061980F9-A541-4B7B-ACEA-141ECCAED2AA}"/>
                </a:ext>
              </a:extLst>
            </p:cNvPr>
            <p:cNvSpPr/>
            <p:nvPr/>
          </p:nvSpPr>
          <p:spPr>
            <a:xfrm>
              <a:off x="288054" y="391276"/>
              <a:ext cx="352425" cy="6985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1" name="Rectangle: Rounded Corners 100">
              <a:extLst>
                <a:ext uri="{FF2B5EF4-FFF2-40B4-BE49-F238E27FC236}">
                  <a16:creationId xmlns:a16="http://schemas.microsoft.com/office/drawing/2014/main" id="{83341450-D029-48FE-BBD3-93693A7FE489}"/>
                </a:ext>
              </a:extLst>
            </p:cNvPr>
            <p:cNvSpPr/>
            <p:nvPr/>
          </p:nvSpPr>
          <p:spPr>
            <a:xfrm>
              <a:off x="288054" y="524625"/>
              <a:ext cx="352425" cy="6985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 name="Rectangle: Rounded Corners 101">
              <a:extLst>
                <a:ext uri="{FF2B5EF4-FFF2-40B4-BE49-F238E27FC236}">
                  <a16:creationId xmlns:a16="http://schemas.microsoft.com/office/drawing/2014/main" id="{6D87AE08-A942-4FC7-839E-F9BDA5C22318}"/>
                </a:ext>
              </a:extLst>
            </p:cNvPr>
            <p:cNvSpPr/>
            <p:nvPr/>
          </p:nvSpPr>
          <p:spPr>
            <a:xfrm>
              <a:off x="288054" y="657974"/>
              <a:ext cx="352425" cy="6985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60" name="Group 59">
            <a:extLst>
              <a:ext uri="{FF2B5EF4-FFF2-40B4-BE49-F238E27FC236}">
                <a16:creationId xmlns:a16="http://schemas.microsoft.com/office/drawing/2014/main" id="{EC1E71CA-549A-20D4-7A22-BD3066638656}"/>
              </a:ext>
            </a:extLst>
          </p:cNvPr>
          <p:cNvGrpSpPr/>
          <p:nvPr/>
        </p:nvGrpSpPr>
        <p:grpSpPr>
          <a:xfrm>
            <a:off x="389239" y="1591314"/>
            <a:ext cx="2179735" cy="4529800"/>
            <a:chOff x="8997543" y="1739138"/>
            <a:chExt cx="2179735" cy="4529800"/>
          </a:xfrm>
        </p:grpSpPr>
        <p:grpSp>
          <p:nvGrpSpPr>
            <p:cNvPr id="61" name="Group 60">
              <a:extLst>
                <a:ext uri="{FF2B5EF4-FFF2-40B4-BE49-F238E27FC236}">
                  <a16:creationId xmlns:a16="http://schemas.microsoft.com/office/drawing/2014/main" id="{1E556C2B-E406-19FE-45F7-34C1A40B602E}"/>
                </a:ext>
              </a:extLst>
            </p:cNvPr>
            <p:cNvGrpSpPr/>
            <p:nvPr/>
          </p:nvGrpSpPr>
          <p:grpSpPr>
            <a:xfrm>
              <a:off x="8997543" y="1739138"/>
              <a:ext cx="2179735" cy="4529800"/>
              <a:chOff x="8997543" y="1739138"/>
              <a:chExt cx="2179735" cy="4529800"/>
            </a:xfrm>
          </p:grpSpPr>
          <p:sp>
            <p:nvSpPr>
              <p:cNvPr id="63" name="Rectangle: Rounded Corners 62">
                <a:extLst>
                  <a:ext uri="{FF2B5EF4-FFF2-40B4-BE49-F238E27FC236}">
                    <a16:creationId xmlns:a16="http://schemas.microsoft.com/office/drawing/2014/main" id="{CBF0B95F-3A0A-64FF-FF99-CD33ADB00E8A}"/>
                  </a:ext>
                </a:extLst>
              </p:cNvPr>
              <p:cNvSpPr/>
              <p:nvPr/>
            </p:nvSpPr>
            <p:spPr>
              <a:xfrm>
                <a:off x="9062336" y="1739138"/>
                <a:ext cx="2114942" cy="4529800"/>
              </a:xfrm>
              <a:prstGeom prst="roundRect">
                <a:avLst/>
              </a:prstGeom>
              <a:blipFill>
                <a:blip r:embed="rId11">
                  <a:extLst>
                    <a:ext uri="{28A0092B-C50C-407E-A947-70E740481C1C}">
                      <a14:useLocalDpi xmlns:a14="http://schemas.microsoft.com/office/drawing/2010/main" val="0"/>
                    </a:ext>
                  </a:extLst>
                </a:blip>
                <a:srcRect/>
                <a:stretch>
                  <a:fillRect l="-26289" r="-27693"/>
                </a:stretch>
              </a:bli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4" name="Rectangle: Rounded Corners 63">
                <a:extLst>
                  <a:ext uri="{FF2B5EF4-FFF2-40B4-BE49-F238E27FC236}">
                    <a16:creationId xmlns:a16="http://schemas.microsoft.com/office/drawing/2014/main" id="{839A1B3F-DE4D-2F59-3D08-406F1A5BD872}"/>
                  </a:ext>
                </a:extLst>
              </p:cNvPr>
              <p:cNvSpPr/>
              <p:nvPr/>
            </p:nvSpPr>
            <p:spPr>
              <a:xfrm>
                <a:off x="9748078" y="6076950"/>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TextBox 64">
                <a:extLst>
                  <a:ext uri="{FF2B5EF4-FFF2-40B4-BE49-F238E27FC236}">
                    <a16:creationId xmlns:a16="http://schemas.microsoft.com/office/drawing/2014/main" id="{88428A80-3A5E-BC83-B930-CE572A3E8D28}"/>
                  </a:ext>
                </a:extLst>
              </p:cNvPr>
              <p:cNvSpPr txBox="1"/>
              <p:nvPr/>
            </p:nvSpPr>
            <p:spPr>
              <a:xfrm>
                <a:off x="8997543" y="5015120"/>
                <a:ext cx="1555234" cy="10156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chat</a:t>
                </a:r>
                <a:endPar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endParaRPr>
              </a:p>
            </p:txBody>
          </p:sp>
          <p:sp>
            <p:nvSpPr>
              <p:cNvPr id="66" name="TextBox 65">
                <a:extLst>
                  <a:ext uri="{FF2B5EF4-FFF2-40B4-BE49-F238E27FC236}">
                    <a16:creationId xmlns:a16="http://schemas.microsoft.com/office/drawing/2014/main" id="{9B4EC310-6DD7-E055-D451-33A8A7CBFC8A}"/>
                  </a:ext>
                </a:extLst>
              </p:cNvPr>
              <p:cNvSpPr txBox="1"/>
              <p:nvPr/>
            </p:nvSpPr>
            <p:spPr>
              <a:xfrm>
                <a:off x="9043600" y="4940970"/>
                <a:ext cx="104067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message</a:t>
                </a:r>
              </a:p>
            </p:txBody>
          </p:sp>
        </p:grpSp>
        <p:pic>
          <p:nvPicPr>
            <p:cNvPr id="62" name="Graphic 61" descr="Send">
              <a:hlinkClick r:id="rId12" action="ppaction://hlinksldjump"/>
              <a:extLst>
                <a:ext uri="{FF2B5EF4-FFF2-40B4-BE49-F238E27FC236}">
                  <a16:creationId xmlns:a16="http://schemas.microsoft.com/office/drawing/2014/main" id="{686368B1-5A87-86E6-B6FE-748A7DB2E56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9721288" y="2633152"/>
              <a:ext cx="914400" cy="914400"/>
            </a:xfrm>
            <a:prstGeom prst="rect">
              <a:avLst/>
            </a:prstGeom>
          </p:spPr>
        </p:pic>
      </p:grpSp>
      <p:grpSp>
        <p:nvGrpSpPr>
          <p:cNvPr id="53" name="Group 52">
            <a:extLst>
              <a:ext uri="{FF2B5EF4-FFF2-40B4-BE49-F238E27FC236}">
                <a16:creationId xmlns:a16="http://schemas.microsoft.com/office/drawing/2014/main" id="{5718CF5C-B022-19A1-AD2F-3F4D353FC11E}"/>
              </a:ext>
            </a:extLst>
          </p:cNvPr>
          <p:cNvGrpSpPr/>
          <p:nvPr/>
        </p:nvGrpSpPr>
        <p:grpSpPr>
          <a:xfrm>
            <a:off x="810490" y="1570113"/>
            <a:ext cx="2127293" cy="4529800"/>
            <a:chOff x="6344887" y="1739138"/>
            <a:chExt cx="2127293" cy="4529800"/>
          </a:xfrm>
        </p:grpSpPr>
        <p:grpSp>
          <p:nvGrpSpPr>
            <p:cNvPr id="54" name="Group 53">
              <a:extLst>
                <a:ext uri="{FF2B5EF4-FFF2-40B4-BE49-F238E27FC236}">
                  <a16:creationId xmlns:a16="http://schemas.microsoft.com/office/drawing/2014/main" id="{0FCDE098-FB35-B081-75F0-902F1E653612}"/>
                </a:ext>
              </a:extLst>
            </p:cNvPr>
            <p:cNvGrpSpPr/>
            <p:nvPr/>
          </p:nvGrpSpPr>
          <p:grpSpPr>
            <a:xfrm>
              <a:off x="6344887" y="1739138"/>
              <a:ext cx="2127293" cy="4529800"/>
              <a:chOff x="6344887" y="1739138"/>
              <a:chExt cx="2127293" cy="4529800"/>
            </a:xfrm>
          </p:grpSpPr>
          <p:sp>
            <p:nvSpPr>
              <p:cNvPr id="56" name="Rectangle: Rounded Corners 55">
                <a:extLst>
                  <a:ext uri="{FF2B5EF4-FFF2-40B4-BE49-F238E27FC236}">
                    <a16:creationId xmlns:a16="http://schemas.microsoft.com/office/drawing/2014/main" id="{1107C86C-B605-FD10-C24C-C1CA01A900D4}"/>
                  </a:ext>
                </a:extLst>
              </p:cNvPr>
              <p:cNvSpPr/>
              <p:nvPr/>
            </p:nvSpPr>
            <p:spPr>
              <a:xfrm>
                <a:off x="6357238" y="1739138"/>
                <a:ext cx="2114942" cy="4529800"/>
              </a:xfrm>
              <a:prstGeom prst="roundRect">
                <a:avLst/>
              </a:prstGeom>
              <a:blipFill>
                <a:blip r:embed="rId15">
                  <a:extLst>
                    <a:ext uri="{28A0092B-C50C-407E-A947-70E740481C1C}">
                      <a14:useLocalDpi xmlns:a14="http://schemas.microsoft.com/office/drawing/2010/main" val="0"/>
                    </a:ext>
                  </a:extLst>
                </a:blip>
                <a:srcRect/>
                <a:stretch>
                  <a:fillRect l="-44972" t="630" r="-26372" b="-630"/>
                </a:stretch>
              </a:bli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Rectangle: Rounded Corners 56">
                <a:extLst>
                  <a:ext uri="{FF2B5EF4-FFF2-40B4-BE49-F238E27FC236}">
                    <a16:creationId xmlns:a16="http://schemas.microsoft.com/office/drawing/2014/main" id="{9FA0D535-016D-DD64-227E-F1B824CFFD46}"/>
                  </a:ext>
                </a:extLst>
              </p:cNvPr>
              <p:cNvSpPr/>
              <p:nvPr/>
            </p:nvSpPr>
            <p:spPr>
              <a:xfrm>
                <a:off x="7042980" y="6038851"/>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TextBox 57">
                <a:extLst>
                  <a:ext uri="{FF2B5EF4-FFF2-40B4-BE49-F238E27FC236}">
                    <a16:creationId xmlns:a16="http://schemas.microsoft.com/office/drawing/2014/main" id="{F1DDF537-6FA6-0BA7-CE62-E4884415ED13}"/>
                  </a:ext>
                </a:extLst>
              </p:cNvPr>
              <p:cNvSpPr txBox="1"/>
              <p:nvPr/>
            </p:nvSpPr>
            <p:spPr>
              <a:xfrm>
                <a:off x="6344887" y="5015120"/>
                <a:ext cx="2105063" cy="9387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55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profile</a:t>
                </a:r>
              </a:p>
            </p:txBody>
          </p:sp>
          <p:sp>
            <p:nvSpPr>
              <p:cNvPr id="59" name="TextBox 58">
                <a:extLst>
                  <a:ext uri="{FF2B5EF4-FFF2-40B4-BE49-F238E27FC236}">
                    <a16:creationId xmlns:a16="http://schemas.microsoft.com/office/drawing/2014/main" id="{46E3534B-8DC1-0BFA-9457-428DCFDF05EF}"/>
                  </a:ext>
                </a:extLst>
              </p:cNvPr>
              <p:cNvSpPr txBox="1"/>
              <p:nvPr/>
            </p:nvSpPr>
            <p:spPr>
              <a:xfrm>
                <a:off x="6457042" y="5046202"/>
                <a:ext cx="76174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Views</a:t>
                </a:r>
              </a:p>
            </p:txBody>
          </p:sp>
        </p:grpSp>
        <p:pic>
          <p:nvPicPr>
            <p:cNvPr id="55" name="Graphic 54" descr="User">
              <a:hlinkClick r:id="rId16" action="ppaction://hlinksldjump"/>
              <a:extLst>
                <a:ext uri="{FF2B5EF4-FFF2-40B4-BE49-F238E27FC236}">
                  <a16:creationId xmlns:a16="http://schemas.microsoft.com/office/drawing/2014/main" id="{EEAB0735-AE94-8B25-3FD4-2B87304D2EB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6940219" y="2615019"/>
              <a:ext cx="914400" cy="914400"/>
            </a:xfrm>
            <a:prstGeom prst="rect">
              <a:avLst/>
            </a:prstGeom>
          </p:spPr>
        </p:pic>
      </p:grpSp>
      <p:grpSp>
        <p:nvGrpSpPr>
          <p:cNvPr id="17" name="Group 16">
            <a:extLst>
              <a:ext uri="{FF2B5EF4-FFF2-40B4-BE49-F238E27FC236}">
                <a16:creationId xmlns:a16="http://schemas.microsoft.com/office/drawing/2014/main" id="{DC8253AF-F0D1-D74D-415F-32D771680D91}"/>
              </a:ext>
            </a:extLst>
          </p:cNvPr>
          <p:cNvGrpSpPr/>
          <p:nvPr/>
        </p:nvGrpSpPr>
        <p:grpSpPr>
          <a:xfrm>
            <a:off x="1222331" y="1591314"/>
            <a:ext cx="2114942" cy="4529800"/>
            <a:chOff x="3719822" y="1739138"/>
            <a:chExt cx="2114942" cy="4529800"/>
          </a:xfrm>
        </p:grpSpPr>
        <p:grpSp>
          <p:nvGrpSpPr>
            <p:cNvPr id="18" name="Group 17">
              <a:extLst>
                <a:ext uri="{FF2B5EF4-FFF2-40B4-BE49-F238E27FC236}">
                  <a16:creationId xmlns:a16="http://schemas.microsoft.com/office/drawing/2014/main" id="{40E44162-B08B-8BC4-3D73-0186A7D72100}"/>
                </a:ext>
              </a:extLst>
            </p:cNvPr>
            <p:cNvGrpSpPr/>
            <p:nvPr/>
          </p:nvGrpSpPr>
          <p:grpSpPr>
            <a:xfrm>
              <a:off x="3719822" y="1739138"/>
              <a:ext cx="2114942" cy="4529800"/>
              <a:chOff x="3719822" y="1739138"/>
              <a:chExt cx="2114942" cy="4529800"/>
            </a:xfrm>
          </p:grpSpPr>
          <p:sp>
            <p:nvSpPr>
              <p:cNvPr id="20" name="Rectangle: Rounded Corners 19">
                <a:extLst>
                  <a:ext uri="{FF2B5EF4-FFF2-40B4-BE49-F238E27FC236}">
                    <a16:creationId xmlns:a16="http://schemas.microsoft.com/office/drawing/2014/main" id="{B83F420B-FD35-EE68-9DB9-582873CFE81E}"/>
                  </a:ext>
                </a:extLst>
              </p:cNvPr>
              <p:cNvSpPr/>
              <p:nvPr/>
            </p:nvSpPr>
            <p:spPr>
              <a:xfrm>
                <a:off x="3719822" y="1739138"/>
                <a:ext cx="2114942" cy="4529800"/>
              </a:xfrm>
              <a:prstGeom prst="roundRect">
                <a:avLst/>
              </a:prstGeom>
              <a:blipFill>
                <a:blip r:embed="rId19">
                  <a:extLst>
                    <a:ext uri="{28A0092B-C50C-407E-A947-70E740481C1C}">
                      <a14:useLocalDpi xmlns:a14="http://schemas.microsoft.com/office/drawing/2010/main" val="0"/>
                    </a:ext>
                  </a:extLst>
                </a:blip>
                <a:stretch>
                  <a:fillRect/>
                </a:stretch>
              </a:bli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Rectangle: Rounded Corners 20">
                <a:extLst>
                  <a:ext uri="{FF2B5EF4-FFF2-40B4-BE49-F238E27FC236}">
                    <a16:creationId xmlns:a16="http://schemas.microsoft.com/office/drawing/2014/main" id="{E038D94E-8548-F5FE-9480-77E1FCEDD2B2}"/>
                  </a:ext>
                </a:extLst>
              </p:cNvPr>
              <p:cNvSpPr/>
              <p:nvPr/>
            </p:nvSpPr>
            <p:spPr>
              <a:xfrm>
                <a:off x="4405564" y="6076950"/>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743C3814-9333-B56F-3B7D-3A292D242DF4}"/>
                  </a:ext>
                </a:extLst>
              </p:cNvPr>
              <p:cNvSpPr txBox="1"/>
              <p:nvPr/>
            </p:nvSpPr>
            <p:spPr>
              <a:xfrm>
                <a:off x="3883954" y="4940970"/>
                <a:ext cx="1771639"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6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post</a:t>
                </a:r>
                <a:endPar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endParaRPr>
              </a:p>
            </p:txBody>
          </p:sp>
          <p:sp>
            <p:nvSpPr>
              <p:cNvPr id="23" name="TextBox 22">
                <a:extLst>
                  <a:ext uri="{FF2B5EF4-FFF2-40B4-BE49-F238E27FC236}">
                    <a16:creationId xmlns:a16="http://schemas.microsoft.com/office/drawing/2014/main" id="{A58DDAB5-730C-6BA6-BEFD-5B586B74465F}"/>
                  </a:ext>
                </a:extLst>
              </p:cNvPr>
              <p:cNvSpPr txBox="1"/>
              <p:nvPr/>
            </p:nvSpPr>
            <p:spPr>
              <a:xfrm>
                <a:off x="3883954" y="4990055"/>
                <a:ext cx="92845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Feature</a:t>
                </a:r>
              </a:p>
            </p:txBody>
          </p:sp>
        </p:grpSp>
        <p:pic>
          <p:nvPicPr>
            <p:cNvPr id="19" name="Graphic 18" descr="Mailbox">
              <a:hlinkClick r:id="rId20" action="ppaction://hlinksldjump"/>
              <a:extLst>
                <a:ext uri="{FF2B5EF4-FFF2-40B4-BE49-F238E27FC236}">
                  <a16:creationId xmlns:a16="http://schemas.microsoft.com/office/drawing/2014/main" id="{AE326DF1-FCDB-06F3-E5AB-1DC4EC683A0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p:blipFill>
          <p:spPr>
            <a:xfrm>
              <a:off x="4365472" y="2656589"/>
              <a:ext cx="914400" cy="914400"/>
            </a:xfrm>
            <a:prstGeom prst="rect">
              <a:avLst/>
            </a:prstGeom>
          </p:spPr>
        </p:pic>
      </p:grpSp>
      <p:grpSp>
        <p:nvGrpSpPr>
          <p:cNvPr id="3" name="Group 2">
            <a:extLst>
              <a:ext uri="{FF2B5EF4-FFF2-40B4-BE49-F238E27FC236}">
                <a16:creationId xmlns:a16="http://schemas.microsoft.com/office/drawing/2014/main" id="{DA7779DC-D4FF-74B5-681C-E712B131E67F}"/>
              </a:ext>
            </a:extLst>
          </p:cNvPr>
          <p:cNvGrpSpPr/>
          <p:nvPr/>
        </p:nvGrpSpPr>
        <p:grpSpPr>
          <a:xfrm>
            <a:off x="1752295" y="1645963"/>
            <a:ext cx="2155690" cy="4529800"/>
            <a:chOff x="973974" y="1718600"/>
            <a:chExt cx="2155690" cy="4529800"/>
          </a:xfrm>
        </p:grpSpPr>
        <p:grpSp>
          <p:nvGrpSpPr>
            <p:cNvPr id="4" name="Group 3">
              <a:extLst>
                <a:ext uri="{FF2B5EF4-FFF2-40B4-BE49-F238E27FC236}">
                  <a16:creationId xmlns:a16="http://schemas.microsoft.com/office/drawing/2014/main" id="{FBCE7D82-006F-1750-F24E-7FBADD36E5F8}"/>
                </a:ext>
              </a:extLst>
            </p:cNvPr>
            <p:cNvGrpSpPr/>
            <p:nvPr/>
          </p:nvGrpSpPr>
          <p:grpSpPr>
            <a:xfrm>
              <a:off x="973974" y="1718600"/>
              <a:ext cx="2155690" cy="4529800"/>
              <a:chOff x="973974" y="1718600"/>
              <a:chExt cx="2155690" cy="4529800"/>
            </a:xfrm>
            <a:blipFill>
              <a:blip r:embed="rId23">
                <a:extLst>
                  <a:ext uri="{28A0092B-C50C-407E-A947-70E740481C1C}">
                    <a14:useLocalDpi xmlns:a14="http://schemas.microsoft.com/office/drawing/2010/main" val="0"/>
                  </a:ext>
                </a:extLst>
              </a:blip>
              <a:stretch>
                <a:fillRect/>
              </a:stretch>
            </a:blipFill>
          </p:grpSpPr>
          <p:sp>
            <p:nvSpPr>
              <p:cNvPr id="7" name="Rectangle: Rounded Corners 6">
                <a:extLst>
                  <a:ext uri="{FF2B5EF4-FFF2-40B4-BE49-F238E27FC236}">
                    <a16:creationId xmlns:a16="http://schemas.microsoft.com/office/drawing/2014/main" id="{7F922FB4-A26D-BADD-FF72-0E7DC548FBE1}"/>
                  </a:ext>
                </a:extLst>
              </p:cNvPr>
              <p:cNvSpPr/>
              <p:nvPr/>
            </p:nvSpPr>
            <p:spPr>
              <a:xfrm>
                <a:off x="1014722" y="1718600"/>
                <a:ext cx="2114942" cy="4529800"/>
              </a:xfrm>
              <a:prstGeom prst="roundRect">
                <a:avLst/>
              </a:prstGeom>
              <a:gr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Rounded Corners 11">
                <a:extLst>
                  <a:ext uri="{FF2B5EF4-FFF2-40B4-BE49-F238E27FC236}">
                    <a16:creationId xmlns:a16="http://schemas.microsoft.com/office/drawing/2014/main" id="{DC0C4A60-52A4-E89E-1D22-8895A5D36CD3}"/>
                  </a:ext>
                </a:extLst>
              </p:cNvPr>
              <p:cNvSpPr/>
              <p:nvPr/>
            </p:nvSpPr>
            <p:spPr>
              <a:xfrm>
                <a:off x="1700464" y="6076950"/>
                <a:ext cx="743457" cy="76198"/>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F99F4C33-D580-69EA-7145-BD5BC6C00010}"/>
                  </a:ext>
                </a:extLst>
              </p:cNvPr>
              <p:cNvSpPr txBox="1"/>
              <p:nvPr/>
            </p:nvSpPr>
            <p:spPr>
              <a:xfrm>
                <a:off x="973974" y="4966035"/>
                <a:ext cx="1819729" cy="1015663"/>
              </a:xfrm>
              <a:prstGeom prst="rect">
                <a:avLst/>
              </a:prstGeom>
              <a:grp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login</a:t>
                </a:r>
                <a:endPar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endParaRPr>
              </a:p>
            </p:txBody>
          </p:sp>
          <p:sp>
            <p:nvSpPr>
              <p:cNvPr id="16" name="TextBox 15">
                <a:extLst>
                  <a:ext uri="{FF2B5EF4-FFF2-40B4-BE49-F238E27FC236}">
                    <a16:creationId xmlns:a16="http://schemas.microsoft.com/office/drawing/2014/main" id="{2E309C1F-6871-E7CB-C386-183278520402}"/>
                  </a:ext>
                </a:extLst>
              </p:cNvPr>
              <p:cNvSpPr txBox="1"/>
              <p:nvPr/>
            </p:nvSpPr>
            <p:spPr>
              <a:xfrm>
                <a:off x="1014722" y="4896377"/>
                <a:ext cx="94128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security</a:t>
                </a:r>
              </a:p>
            </p:txBody>
          </p:sp>
        </p:grpSp>
        <p:sp>
          <p:nvSpPr>
            <p:cNvPr id="5" name="Rectangle: Rounded Corners 4">
              <a:extLst>
                <a:ext uri="{FF2B5EF4-FFF2-40B4-BE49-F238E27FC236}">
                  <a16:creationId xmlns:a16="http://schemas.microsoft.com/office/drawing/2014/main" id="{AE5B305D-2BAE-6DF3-8BEF-91785174A2E8}"/>
                </a:ext>
              </a:extLst>
            </p:cNvPr>
            <p:cNvSpPr/>
            <p:nvPr/>
          </p:nvSpPr>
          <p:spPr>
            <a:xfrm>
              <a:off x="1706111" y="5972378"/>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Graphic 5" descr="Lock">
              <a:hlinkClick r:id="rId24" action="ppaction://hlinksldjump"/>
              <a:extLst>
                <a:ext uri="{FF2B5EF4-FFF2-40B4-BE49-F238E27FC236}">
                  <a16:creationId xmlns:a16="http://schemas.microsoft.com/office/drawing/2014/main" id="{01B235A2-B59F-05F6-5FF4-46B93CD1DDE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rcRect/>
            <a:stretch/>
          </p:blipFill>
          <p:spPr>
            <a:xfrm>
              <a:off x="1481811" y="2589204"/>
              <a:ext cx="1180759" cy="1180759"/>
            </a:xfrm>
            <a:prstGeom prst="rect">
              <a:avLst/>
            </a:prstGeom>
          </p:spPr>
        </p:pic>
      </p:grpSp>
      <p:sp>
        <p:nvSpPr>
          <p:cNvPr id="107" name="Rectangle: Rounded Corners 106">
            <a:extLst>
              <a:ext uri="{FF2B5EF4-FFF2-40B4-BE49-F238E27FC236}">
                <a16:creationId xmlns:a16="http://schemas.microsoft.com/office/drawing/2014/main" id="{72205329-E98F-5FD4-E960-1191A750C2A9}"/>
              </a:ext>
            </a:extLst>
          </p:cNvPr>
          <p:cNvSpPr/>
          <p:nvPr/>
        </p:nvSpPr>
        <p:spPr>
          <a:xfrm>
            <a:off x="862832" y="455252"/>
            <a:ext cx="562123" cy="278342"/>
          </a:xfrm>
          <a:prstGeom prst="roundRect">
            <a:avLst>
              <a:gd name="adj" fmla="val 47436"/>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TextBox 107">
            <a:extLst>
              <a:ext uri="{FF2B5EF4-FFF2-40B4-BE49-F238E27FC236}">
                <a16:creationId xmlns:a16="http://schemas.microsoft.com/office/drawing/2014/main" id="{C7F4DA79-61E5-EAB3-A6A7-8C8DF605203A}"/>
              </a:ext>
            </a:extLst>
          </p:cNvPr>
          <p:cNvSpPr txBox="1"/>
          <p:nvPr/>
        </p:nvSpPr>
        <p:spPr>
          <a:xfrm>
            <a:off x="804077" y="390572"/>
            <a:ext cx="256192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login  post  profile  chat</a:t>
            </a:r>
          </a:p>
        </p:txBody>
      </p:sp>
    </p:spTree>
    <p:extLst>
      <p:ext uri="{BB962C8B-B14F-4D97-AF65-F5344CB8AC3E}">
        <p14:creationId xmlns:p14="http://schemas.microsoft.com/office/powerpoint/2010/main" val="39262532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advTm="1000">
        <p159:morph option="byObject"/>
      </p:transition>
    </mc:Choice>
    <mc:Fallback xmlns="">
      <p:transition spd="slow" advTm="1000">
        <p:fade/>
      </p:transition>
    </mc:Fallback>
  </mc:AlternateContent>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7217B45F-F6BD-4A5C-89D5-5212F530185E}"/>
              </a:ext>
            </a:extLst>
          </p:cNvPr>
          <p:cNvSpPr txBox="1"/>
          <p:nvPr/>
        </p:nvSpPr>
        <p:spPr>
          <a:xfrm>
            <a:off x="12744161" y="2466704"/>
            <a:ext cx="5596404" cy="13234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8000" b="1" i="0" u="none" strike="noStrike" kern="1200" cap="none" spc="0" normalizeH="0" baseline="0" noProof="0" dirty="0">
                <a:ln>
                  <a:noFill/>
                </a:ln>
                <a:solidFill>
                  <a:srgbClr val="5E848C"/>
                </a:solidFill>
                <a:effectLst/>
                <a:uLnTx/>
                <a:uFillTx/>
                <a:latin typeface="Adam Bold" panose="02000403000000000000" pitchFamily="2" charset="0"/>
                <a:ea typeface="+mn-ea"/>
                <a:cs typeface="+mn-cs"/>
              </a:rPr>
              <a:t>BAG GOOD</a:t>
            </a:r>
          </a:p>
        </p:txBody>
      </p:sp>
      <p:sp>
        <p:nvSpPr>
          <p:cNvPr id="29" name="TextBox 28">
            <a:extLst>
              <a:ext uri="{FF2B5EF4-FFF2-40B4-BE49-F238E27FC236}">
                <a16:creationId xmlns:a16="http://schemas.microsoft.com/office/drawing/2014/main" id="{64392D9A-DFF6-4187-9A18-E1E890E53832}"/>
              </a:ext>
            </a:extLst>
          </p:cNvPr>
          <p:cNvSpPr txBox="1"/>
          <p:nvPr/>
        </p:nvSpPr>
        <p:spPr>
          <a:xfrm>
            <a:off x="16247405" y="3607944"/>
            <a:ext cx="447614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Yesterday, I accidentally swallowed some food coloring. The doctor says I’m okay, but I feel like I’ve dyed a little inside.</a:t>
            </a:r>
            <a:endParaRPr kumimoji="0" lang="en-MY" sz="14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2" name="Rectangle 1">
            <a:hlinkHover r:id="rId2" action="ppaction://hlinksldjump"/>
            <a:extLst>
              <a:ext uri="{FF2B5EF4-FFF2-40B4-BE49-F238E27FC236}">
                <a16:creationId xmlns:a16="http://schemas.microsoft.com/office/drawing/2014/main" id="{A537CA44-DE10-4502-A603-A0D76E4B8483}"/>
              </a:ext>
            </a:extLst>
          </p:cNvPr>
          <p:cNvSpPr>
            <a:spLocks noGrp="1" noRot="1" noMove="1" noResize="1" noEditPoints="1" noAdjustHandles="1" noChangeArrowheads="1" noChangeShapeType="1"/>
          </p:cNvSpPr>
          <p:nvPr/>
        </p:nvSpPr>
        <p:spPr>
          <a:xfrm>
            <a:off x="0" y="0"/>
            <a:ext cx="12217065" cy="6858000"/>
          </a:xfrm>
          <a:prstGeom prst="rect">
            <a:avLst/>
          </a:prstGeom>
          <a:solidFill>
            <a:srgbClr val="E1F6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srgbClr val="E2F6F3"/>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1F0D601F-C253-46F5-ACCA-B7CA1B1145F7}"/>
              </a:ext>
            </a:extLst>
          </p:cNvPr>
          <p:cNvSpPr/>
          <p:nvPr/>
        </p:nvSpPr>
        <p:spPr>
          <a:xfrm>
            <a:off x="5648402" y="-2580622"/>
            <a:ext cx="5830055" cy="5830055"/>
          </a:xfrm>
          <a:prstGeom prst="ellipse">
            <a:avLst/>
          </a:prstGeom>
          <a:solidFill>
            <a:srgbClr val="5E848C">
              <a:alpha val="5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Oval 2">
            <a:extLst>
              <a:ext uri="{FF2B5EF4-FFF2-40B4-BE49-F238E27FC236}">
                <a16:creationId xmlns:a16="http://schemas.microsoft.com/office/drawing/2014/main" id="{6D66CD4A-CE45-4E79-B699-F06750A2C385}"/>
              </a:ext>
            </a:extLst>
          </p:cNvPr>
          <p:cNvSpPr/>
          <p:nvPr/>
        </p:nvSpPr>
        <p:spPr>
          <a:xfrm>
            <a:off x="6258240" y="-1910652"/>
            <a:ext cx="4726530" cy="4726530"/>
          </a:xfrm>
          <a:prstGeom prst="ellipse">
            <a:avLst/>
          </a:prstGeom>
          <a:solidFill>
            <a:srgbClr val="749AA2">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Oval 21">
            <a:extLst>
              <a:ext uri="{FF2B5EF4-FFF2-40B4-BE49-F238E27FC236}">
                <a16:creationId xmlns:a16="http://schemas.microsoft.com/office/drawing/2014/main" id="{661B9809-72D9-405C-9019-D17F24B44334}"/>
              </a:ext>
            </a:extLst>
          </p:cNvPr>
          <p:cNvSpPr/>
          <p:nvPr/>
        </p:nvSpPr>
        <p:spPr>
          <a:xfrm rot="7681175">
            <a:off x="-1055678" y="5141923"/>
            <a:ext cx="2771936" cy="2694027"/>
          </a:xfrm>
          <a:prstGeom prst="ellipse">
            <a:avLst/>
          </a:prstGeom>
          <a:gradFill flip="none" rotWithShape="1">
            <a:gsLst>
              <a:gs pos="0">
                <a:srgbClr val="628890"/>
              </a:gs>
              <a:gs pos="34000">
                <a:srgbClr val="48ACA7"/>
              </a:gs>
              <a:gs pos="100000">
                <a:srgbClr val="E2FDFE"/>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Oval 24">
            <a:extLst>
              <a:ext uri="{FF2B5EF4-FFF2-40B4-BE49-F238E27FC236}">
                <a16:creationId xmlns:a16="http://schemas.microsoft.com/office/drawing/2014/main" id="{8BEBA488-26C3-4061-931E-7E955983507D}"/>
              </a:ext>
            </a:extLst>
          </p:cNvPr>
          <p:cNvSpPr/>
          <p:nvPr/>
        </p:nvSpPr>
        <p:spPr>
          <a:xfrm rot="7681175">
            <a:off x="6553631" y="-1555332"/>
            <a:ext cx="4135748" cy="4019507"/>
          </a:xfrm>
          <a:prstGeom prst="ellipse">
            <a:avLst/>
          </a:prstGeom>
          <a:gradFill flip="none" rotWithShape="1">
            <a:gsLst>
              <a:gs pos="0">
                <a:srgbClr val="628890"/>
              </a:gs>
              <a:gs pos="34000">
                <a:srgbClr val="48ACA7"/>
              </a:gs>
              <a:gs pos="100000">
                <a:srgbClr val="E2FDFE"/>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Rounded Corners 17">
            <a:hlinkHover r:id="" action="ppaction://hlinkshowjump?jump=previousslide"/>
            <a:extLst>
              <a:ext uri="{FF2B5EF4-FFF2-40B4-BE49-F238E27FC236}">
                <a16:creationId xmlns:a16="http://schemas.microsoft.com/office/drawing/2014/main" id="{BF26927F-C9FB-427D-81FA-7CB0153130E9}"/>
              </a:ext>
            </a:extLst>
          </p:cNvPr>
          <p:cNvSpPr/>
          <p:nvPr/>
        </p:nvSpPr>
        <p:spPr>
          <a:xfrm>
            <a:off x="795498" y="3249433"/>
            <a:ext cx="2261088" cy="1540781"/>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Rounded Corners 18">
            <a:extLst>
              <a:ext uri="{FF2B5EF4-FFF2-40B4-BE49-F238E27FC236}">
                <a16:creationId xmlns:a16="http://schemas.microsoft.com/office/drawing/2014/main" id="{D2A0F648-5F40-4AF0-A0B9-C0D33CBF9DD3}"/>
              </a:ext>
            </a:extLst>
          </p:cNvPr>
          <p:cNvSpPr/>
          <p:nvPr/>
        </p:nvSpPr>
        <p:spPr>
          <a:xfrm>
            <a:off x="3188193" y="3249434"/>
            <a:ext cx="1245362" cy="848631"/>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Rounded Corners 19">
            <a:extLst>
              <a:ext uri="{FF2B5EF4-FFF2-40B4-BE49-F238E27FC236}">
                <a16:creationId xmlns:a16="http://schemas.microsoft.com/office/drawing/2014/main" id="{CFAF2C0B-1E62-4B06-A998-26420AF81655}"/>
              </a:ext>
            </a:extLst>
          </p:cNvPr>
          <p:cNvSpPr/>
          <p:nvPr/>
        </p:nvSpPr>
        <p:spPr>
          <a:xfrm>
            <a:off x="4584821" y="3249434"/>
            <a:ext cx="1245362" cy="848631"/>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26" name="Picture 2" descr="backpack green Illustration in PNG, SVG">
            <a:hlinkClick r:id="rId3" action="ppaction://hlinksldjump"/>
            <a:extLst>
              <a:ext uri="{FF2B5EF4-FFF2-40B4-BE49-F238E27FC236}">
                <a16:creationId xmlns:a16="http://schemas.microsoft.com/office/drawing/2014/main" id="{47110F0F-B32D-48F8-8EEC-F1114E53761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296425">
            <a:off x="1244705" y="3131192"/>
            <a:ext cx="1636182" cy="1687313"/>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6622396C-2DA3-4406-98C3-8EDC1895A0D7}"/>
              </a:ext>
            </a:extLst>
          </p:cNvPr>
          <p:cNvGrpSpPr>
            <a:grpSpLocks noGrp="1" noUngrp="1" noRot="1" noMove="1" noResize="1"/>
          </p:cNvGrpSpPr>
          <p:nvPr/>
        </p:nvGrpSpPr>
        <p:grpSpPr>
          <a:xfrm>
            <a:off x="5263347" y="1"/>
            <a:ext cx="6953716" cy="6857998"/>
            <a:chOff x="5263347" y="1"/>
            <a:chExt cx="6953716" cy="6857998"/>
          </a:xfrm>
        </p:grpSpPr>
        <p:pic>
          <p:nvPicPr>
            <p:cNvPr id="23" name="Picture 22" descr="A person standing on a stage&#10;&#10;Description automatically generated with low confidence">
              <a:extLst>
                <a:ext uri="{FF2B5EF4-FFF2-40B4-BE49-F238E27FC236}">
                  <a16:creationId xmlns:a16="http://schemas.microsoft.com/office/drawing/2014/main" id="{31DDA5C8-56CD-4F5A-BFC5-01A3DC42DD2C}"/>
                </a:ext>
              </a:extLst>
            </p:cNvPr>
            <p:cNvPicPr>
              <a:picLocks noGrp="1" noRot="1" noChangeAspect="1" noMove="1" noResize="1" noEditPoints="1" noAdjustHandles="1" noChangeArrowheads="1" noChangeShapeType="1" noCrop="1"/>
            </p:cNvPicPr>
            <p:nvPr/>
          </p:nvPicPr>
          <p:blipFill rotWithShape="1">
            <a:blip r:embed="rId5" cstate="print">
              <a:extLst>
                <a:ext uri="{28A0092B-C50C-407E-A947-70E740481C1C}">
                  <a14:useLocalDpi xmlns:a14="http://schemas.microsoft.com/office/drawing/2010/main" val="0"/>
                </a:ext>
              </a:extLst>
            </a:blip>
            <a:srcRect t="-2" r="6348" b="46416"/>
            <a:stretch/>
          </p:blipFill>
          <p:spPr>
            <a:xfrm flipH="1">
              <a:off x="5263348" y="1"/>
              <a:ext cx="6953715" cy="4457700"/>
            </a:xfrm>
            <a:prstGeom prst="rect">
              <a:avLst/>
            </a:prstGeom>
          </p:spPr>
        </p:pic>
        <p:pic>
          <p:nvPicPr>
            <p:cNvPr id="26" name="Picture 25" descr="A person standing on a stage&#10;&#10;Description automatically generated with low confidence">
              <a:extLst>
                <a:ext uri="{FF2B5EF4-FFF2-40B4-BE49-F238E27FC236}">
                  <a16:creationId xmlns:a16="http://schemas.microsoft.com/office/drawing/2014/main" id="{ACB8777B-30E8-4B7D-91BA-D85E0C7C8758}"/>
                </a:ext>
              </a:extLst>
            </p:cNvPr>
            <p:cNvPicPr>
              <a:picLocks noGrp="1" noRot="1" noChangeAspect="1" noMove="1" noResize="1" noEditPoints="1" noAdjustHandles="1" noChangeArrowheads="1" noChangeShapeType="1" noCrop="1"/>
            </p:cNvPicPr>
            <p:nvPr/>
          </p:nvPicPr>
          <p:blipFill rotWithShape="1">
            <a:blip r:embed="rId6" cstate="print">
              <a:extLst>
                <a:ext uri="{28A0092B-C50C-407E-A947-70E740481C1C}">
                  <a14:useLocalDpi xmlns:a14="http://schemas.microsoft.com/office/drawing/2010/main" val="0"/>
                </a:ext>
              </a:extLst>
            </a:blip>
            <a:srcRect/>
            <a:stretch/>
          </p:blipFill>
          <p:spPr>
            <a:xfrm flipH="1">
              <a:off x="5263347" y="4381712"/>
              <a:ext cx="6953715" cy="2476287"/>
            </a:xfrm>
            <a:prstGeom prst="rect">
              <a:avLst/>
            </a:prstGeom>
          </p:spPr>
        </p:pic>
      </p:grpSp>
      <p:sp>
        <p:nvSpPr>
          <p:cNvPr id="16" name="TextBox 15">
            <a:extLst>
              <a:ext uri="{FF2B5EF4-FFF2-40B4-BE49-F238E27FC236}">
                <a16:creationId xmlns:a16="http://schemas.microsoft.com/office/drawing/2014/main" id="{0D6A7463-9C53-4364-89C3-E182D2BF57E0}"/>
              </a:ext>
            </a:extLst>
          </p:cNvPr>
          <p:cNvSpPr txBox="1"/>
          <p:nvPr/>
        </p:nvSpPr>
        <p:spPr>
          <a:xfrm>
            <a:off x="1375103" y="4887830"/>
            <a:ext cx="127021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srgbClr val="628890"/>
                </a:solidFill>
                <a:effectLst/>
                <a:uLnTx/>
                <a:uFillTx/>
                <a:latin typeface="Century Gothic" panose="020B0502020202020204" pitchFamily="34" charset="0"/>
                <a:ea typeface="+mn-ea"/>
                <a:cs typeface="+mn-cs"/>
              </a:rPr>
              <a:t>DIVYA</a:t>
            </a:r>
          </a:p>
        </p:txBody>
      </p:sp>
      <p:pic>
        <p:nvPicPr>
          <p:cNvPr id="17" name="Picture 16">
            <a:extLst>
              <a:ext uri="{FF2B5EF4-FFF2-40B4-BE49-F238E27FC236}">
                <a16:creationId xmlns:a16="http://schemas.microsoft.com/office/drawing/2014/main" id="{A88D817F-90C7-4BD3-AB8E-A6D0E6C5EA8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56397" y="3445533"/>
            <a:ext cx="458934" cy="456432"/>
          </a:xfrm>
          <a:prstGeom prst="rect">
            <a:avLst/>
          </a:prstGeom>
        </p:spPr>
      </p:pic>
      <p:pic>
        <p:nvPicPr>
          <p:cNvPr id="24" name="Picture 23">
            <a:extLst>
              <a:ext uri="{FF2B5EF4-FFF2-40B4-BE49-F238E27FC236}">
                <a16:creationId xmlns:a16="http://schemas.microsoft.com/office/drawing/2014/main" id="{597F7630-15DF-4E5D-81BB-DB1A282EFF49}"/>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3410870" y="3341448"/>
            <a:ext cx="763355" cy="680762"/>
          </a:xfrm>
          <a:prstGeom prst="rect">
            <a:avLst/>
          </a:prstGeom>
        </p:spPr>
      </p:pic>
      <p:sp>
        <p:nvSpPr>
          <p:cNvPr id="31" name="Rectangle: Rounded Corners 30">
            <a:extLst>
              <a:ext uri="{FF2B5EF4-FFF2-40B4-BE49-F238E27FC236}">
                <a16:creationId xmlns:a16="http://schemas.microsoft.com/office/drawing/2014/main" id="{0383A10F-3694-076B-47F1-995083133860}"/>
              </a:ext>
            </a:extLst>
          </p:cNvPr>
          <p:cNvSpPr/>
          <p:nvPr/>
        </p:nvSpPr>
        <p:spPr>
          <a:xfrm>
            <a:off x="5981679" y="3251211"/>
            <a:ext cx="1245362" cy="848631"/>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2" name="Picture 31">
            <a:extLst>
              <a:ext uri="{FF2B5EF4-FFF2-40B4-BE49-F238E27FC236}">
                <a16:creationId xmlns:a16="http://schemas.microsoft.com/office/drawing/2014/main" id="{C2FCA6C9-95F7-14BE-08DA-048390ED606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53255" y="3447310"/>
            <a:ext cx="458934" cy="456432"/>
          </a:xfrm>
          <a:prstGeom prst="rect">
            <a:avLst/>
          </a:prstGeom>
        </p:spPr>
      </p:pic>
      <p:sp>
        <p:nvSpPr>
          <p:cNvPr id="33" name="TextBox 32">
            <a:extLst>
              <a:ext uri="{FF2B5EF4-FFF2-40B4-BE49-F238E27FC236}">
                <a16:creationId xmlns:a16="http://schemas.microsoft.com/office/drawing/2014/main" id="{BD675868-0BDE-7EA3-8DE7-6ED57DEB3384}"/>
              </a:ext>
            </a:extLst>
          </p:cNvPr>
          <p:cNvSpPr txBox="1"/>
          <p:nvPr/>
        </p:nvSpPr>
        <p:spPr>
          <a:xfrm>
            <a:off x="713543" y="452613"/>
            <a:ext cx="6223178" cy="13234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8000" b="1" i="0" u="none" strike="noStrike" kern="1200" cap="none" spc="0" normalizeH="0" baseline="0" noProof="0" dirty="0">
                <a:ln>
                  <a:noFill/>
                </a:ln>
                <a:solidFill>
                  <a:srgbClr val="5E848C"/>
                </a:solidFill>
                <a:effectLst/>
                <a:uLnTx/>
                <a:uFillTx/>
                <a:latin typeface="Adam Bold" panose="02000403000000000000" pitchFamily="2" charset="0"/>
                <a:ea typeface="+mn-ea"/>
                <a:cs typeface="+mn-cs"/>
              </a:rPr>
              <a:t>TEAMMATES</a:t>
            </a:r>
          </a:p>
        </p:txBody>
      </p:sp>
      <p:sp>
        <p:nvSpPr>
          <p:cNvPr id="34" name="TextBox 33">
            <a:extLst>
              <a:ext uri="{FF2B5EF4-FFF2-40B4-BE49-F238E27FC236}">
                <a16:creationId xmlns:a16="http://schemas.microsoft.com/office/drawing/2014/main" id="{96B18498-20A1-E567-18B3-E90CCCFEA244}"/>
              </a:ext>
            </a:extLst>
          </p:cNvPr>
          <p:cNvSpPr txBox="1"/>
          <p:nvPr/>
        </p:nvSpPr>
        <p:spPr>
          <a:xfrm>
            <a:off x="783331" y="1459602"/>
            <a:ext cx="6332795"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800" b="1" i="0" u="none" strike="noStrike" kern="1200" cap="none" spc="0" normalizeH="0" baseline="0" noProof="0" dirty="0">
                <a:ln>
                  <a:noFill/>
                </a:ln>
                <a:solidFill>
                  <a:srgbClr val="48ACA7"/>
                </a:solidFill>
                <a:effectLst/>
                <a:uLnTx/>
                <a:uFillTx/>
                <a:latin typeface="Adam Bold" panose="02000403000000000000" pitchFamily="2" charset="0"/>
                <a:ea typeface="+mn-ea"/>
                <a:cs typeface="+mn-cs"/>
              </a:rPr>
              <a:t>and their contribution</a:t>
            </a:r>
            <a:endParaRPr kumimoji="0" lang="en-MY" sz="7200" b="0" i="0" u="none" strike="noStrike" kern="1200" cap="none" spc="0" normalizeH="0" baseline="0" noProof="0" dirty="0">
              <a:ln>
                <a:noFill/>
              </a:ln>
              <a:solidFill>
                <a:srgbClr val="48ACA7"/>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0243640"/>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F1923"/>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85DB707-4781-49F5-A5E1-7366AE8FF70A}"/>
              </a:ext>
            </a:extLst>
          </p:cNvPr>
          <p:cNvPicPr>
            <a:picLocks noChangeAspect="1"/>
          </p:cNvPicPr>
          <p:nvPr/>
        </p:nvPicPr>
        <p:blipFill rotWithShape="1">
          <a:blip r:embed="rId2"/>
          <a:srcRect l="24998" t="18214" b="28661"/>
          <a:stretch/>
        </p:blipFill>
        <p:spPr>
          <a:xfrm>
            <a:off x="0" y="-1"/>
            <a:ext cx="2958214" cy="6858001"/>
          </a:xfrm>
          <a:prstGeom prst="rect">
            <a:avLst/>
          </a:prstGeom>
        </p:spPr>
      </p:pic>
      <p:sp>
        <p:nvSpPr>
          <p:cNvPr id="2" name="Rectangle: Rounded Corners 1">
            <a:extLst>
              <a:ext uri="{FF2B5EF4-FFF2-40B4-BE49-F238E27FC236}">
                <a16:creationId xmlns:a16="http://schemas.microsoft.com/office/drawing/2014/main" id="{6C1FA912-1651-42BA-82BB-535759928345}"/>
              </a:ext>
            </a:extLst>
          </p:cNvPr>
          <p:cNvSpPr/>
          <p:nvPr/>
        </p:nvSpPr>
        <p:spPr>
          <a:xfrm>
            <a:off x="1465261" y="453120"/>
            <a:ext cx="562123" cy="278342"/>
          </a:xfrm>
          <a:prstGeom prst="roundRect">
            <a:avLst>
              <a:gd name="adj" fmla="val 47436"/>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1769A5A3-B2B9-41C1-B552-2EFB4CA90F95}"/>
              </a:ext>
            </a:extLst>
          </p:cNvPr>
          <p:cNvSpPr txBox="1"/>
          <p:nvPr/>
        </p:nvSpPr>
        <p:spPr>
          <a:xfrm>
            <a:off x="822841" y="388755"/>
            <a:ext cx="256192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login  post  profile  chat</a:t>
            </a:r>
          </a:p>
        </p:txBody>
      </p:sp>
      <p:grpSp>
        <p:nvGrpSpPr>
          <p:cNvPr id="103" name="Group 102">
            <a:extLst>
              <a:ext uri="{FF2B5EF4-FFF2-40B4-BE49-F238E27FC236}">
                <a16:creationId xmlns:a16="http://schemas.microsoft.com/office/drawing/2014/main" id="{F926ECC8-3E5C-4D25-8303-6A33A8D46E03}"/>
              </a:ext>
            </a:extLst>
          </p:cNvPr>
          <p:cNvGrpSpPr/>
          <p:nvPr/>
        </p:nvGrpSpPr>
        <p:grpSpPr>
          <a:xfrm>
            <a:off x="5018226" y="1408163"/>
            <a:ext cx="4679640" cy="4773279"/>
            <a:chOff x="5018226" y="1408163"/>
            <a:chExt cx="3963207" cy="4773279"/>
          </a:xfrm>
        </p:grpSpPr>
        <p:sp>
          <p:nvSpPr>
            <p:cNvPr id="8" name="TextBox 7">
              <a:extLst>
                <a:ext uri="{FF2B5EF4-FFF2-40B4-BE49-F238E27FC236}">
                  <a16:creationId xmlns:a16="http://schemas.microsoft.com/office/drawing/2014/main" id="{CD16682A-F438-48CB-991E-18C24605039C}"/>
                </a:ext>
              </a:extLst>
            </p:cNvPr>
            <p:cNvSpPr txBox="1"/>
            <p:nvPr/>
          </p:nvSpPr>
          <p:spPr>
            <a:xfrm>
              <a:off x="5018226" y="1408163"/>
              <a:ext cx="2751074"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400" b="1"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about post</a:t>
              </a:r>
            </a:p>
          </p:txBody>
        </p:sp>
        <p:sp>
          <p:nvSpPr>
            <p:cNvPr id="9" name="TextBox 8">
              <a:extLst>
                <a:ext uri="{FF2B5EF4-FFF2-40B4-BE49-F238E27FC236}">
                  <a16:creationId xmlns:a16="http://schemas.microsoft.com/office/drawing/2014/main" id="{A08BFEA4-E7C4-4886-9DE7-E529D8A35A40}"/>
                </a:ext>
              </a:extLst>
            </p:cNvPr>
            <p:cNvSpPr txBox="1"/>
            <p:nvPr/>
          </p:nvSpPr>
          <p:spPr>
            <a:xfrm>
              <a:off x="5037267" y="2211124"/>
              <a:ext cx="3944166" cy="3970318"/>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In this project, every user can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upload image or video </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file as a post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which can see by their </a:t>
              </a: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followers</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and it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helps to </a:t>
              </a: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share</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moments, celebrate joy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with others.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It basically easy to upload, you need to click on create button and a </a:t>
              </a: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modal</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pop up and you can upload any image or video from your file directory and add a caption and simply click on post. Your image or video is now </a:t>
              </a: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posted</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You can see your post in your </a:t>
              </a: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profile</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and your </a:t>
              </a: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post feed</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a:t>
              </a:r>
              <a:endParaRPr kumimoji="0" lang="en-MY"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endParaRPr>
            </a:p>
          </p:txBody>
        </p:sp>
      </p:grpSp>
      <p:pic>
        <p:nvPicPr>
          <p:cNvPr id="95" name="Picture 94">
            <a:extLst>
              <a:ext uri="{FF2B5EF4-FFF2-40B4-BE49-F238E27FC236}">
                <a16:creationId xmlns:a16="http://schemas.microsoft.com/office/drawing/2014/main" id="{F5504B8D-BBD5-4205-93B0-69EB07A7115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470004" y="461129"/>
            <a:ext cx="548031" cy="990981"/>
          </a:xfrm>
          <a:prstGeom prst="rect">
            <a:avLst/>
          </a:prstGeom>
        </p:spPr>
      </p:pic>
      <p:pic>
        <p:nvPicPr>
          <p:cNvPr id="96" name="Picture 95">
            <a:extLst>
              <a:ext uri="{FF2B5EF4-FFF2-40B4-BE49-F238E27FC236}">
                <a16:creationId xmlns:a16="http://schemas.microsoft.com/office/drawing/2014/main" id="{3C4EE967-585A-4507-B3CD-3BB5ED8C486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0033827" y="239843"/>
            <a:ext cx="763759" cy="1403970"/>
          </a:xfrm>
          <a:prstGeom prst="rect">
            <a:avLst/>
          </a:prstGeom>
        </p:spPr>
      </p:pic>
      <p:pic>
        <p:nvPicPr>
          <p:cNvPr id="97" name="Picture 96">
            <a:extLst>
              <a:ext uri="{FF2B5EF4-FFF2-40B4-BE49-F238E27FC236}">
                <a16:creationId xmlns:a16="http://schemas.microsoft.com/office/drawing/2014/main" id="{365EA7EE-3743-43BF-B004-7B161A6E64D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0745460" y="426203"/>
            <a:ext cx="552944" cy="935396"/>
          </a:xfrm>
          <a:prstGeom prst="rect">
            <a:avLst/>
          </a:prstGeom>
        </p:spPr>
      </p:pic>
      <p:pic>
        <p:nvPicPr>
          <p:cNvPr id="98" name="Picture 97">
            <a:extLst>
              <a:ext uri="{FF2B5EF4-FFF2-40B4-BE49-F238E27FC236}">
                <a16:creationId xmlns:a16="http://schemas.microsoft.com/office/drawing/2014/main" id="{A73A9D7A-44E2-4288-956D-97D13023D66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1235992" y="430955"/>
            <a:ext cx="518485" cy="935396"/>
          </a:xfrm>
          <a:prstGeom prst="rect">
            <a:avLst/>
          </a:prstGeom>
        </p:spPr>
      </p:pic>
      <p:sp>
        <p:nvSpPr>
          <p:cNvPr id="99" name="Isosceles Triangle 98">
            <a:extLst>
              <a:ext uri="{FF2B5EF4-FFF2-40B4-BE49-F238E27FC236}">
                <a16:creationId xmlns:a16="http://schemas.microsoft.com/office/drawing/2014/main" id="{9C570991-A25D-4F57-B8FF-811105B30827}"/>
              </a:ext>
            </a:extLst>
          </p:cNvPr>
          <p:cNvSpPr/>
          <p:nvPr/>
        </p:nvSpPr>
        <p:spPr>
          <a:xfrm>
            <a:off x="10290414" y="1635650"/>
            <a:ext cx="213360" cy="17559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72" name="Group 71">
            <a:extLst>
              <a:ext uri="{FF2B5EF4-FFF2-40B4-BE49-F238E27FC236}">
                <a16:creationId xmlns:a16="http://schemas.microsoft.com/office/drawing/2014/main" id="{A6F931F9-BAE2-4F52-BC15-529545D70DEE}"/>
              </a:ext>
            </a:extLst>
          </p:cNvPr>
          <p:cNvGrpSpPr/>
          <p:nvPr/>
        </p:nvGrpSpPr>
        <p:grpSpPr>
          <a:xfrm>
            <a:off x="288054" y="391276"/>
            <a:ext cx="352425" cy="336551"/>
            <a:chOff x="288054" y="391276"/>
            <a:chExt cx="352425" cy="336551"/>
          </a:xfrm>
        </p:grpSpPr>
        <p:sp>
          <p:nvSpPr>
            <p:cNvPr id="100" name="Rectangle: Rounded Corners 99">
              <a:extLst>
                <a:ext uri="{FF2B5EF4-FFF2-40B4-BE49-F238E27FC236}">
                  <a16:creationId xmlns:a16="http://schemas.microsoft.com/office/drawing/2014/main" id="{061980F9-A541-4B7B-ACEA-141ECCAED2AA}"/>
                </a:ext>
              </a:extLst>
            </p:cNvPr>
            <p:cNvSpPr/>
            <p:nvPr/>
          </p:nvSpPr>
          <p:spPr>
            <a:xfrm>
              <a:off x="288054" y="391276"/>
              <a:ext cx="352425" cy="6985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1" name="Rectangle: Rounded Corners 100">
              <a:extLst>
                <a:ext uri="{FF2B5EF4-FFF2-40B4-BE49-F238E27FC236}">
                  <a16:creationId xmlns:a16="http://schemas.microsoft.com/office/drawing/2014/main" id="{83341450-D029-48FE-BBD3-93693A7FE489}"/>
                </a:ext>
              </a:extLst>
            </p:cNvPr>
            <p:cNvSpPr/>
            <p:nvPr/>
          </p:nvSpPr>
          <p:spPr>
            <a:xfrm>
              <a:off x="288054" y="524625"/>
              <a:ext cx="352425" cy="6985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 name="Rectangle: Rounded Corners 101">
              <a:extLst>
                <a:ext uri="{FF2B5EF4-FFF2-40B4-BE49-F238E27FC236}">
                  <a16:creationId xmlns:a16="http://schemas.microsoft.com/office/drawing/2014/main" id="{6D87AE08-A942-4FC7-839E-F9BDA5C22318}"/>
                </a:ext>
              </a:extLst>
            </p:cNvPr>
            <p:cNvSpPr/>
            <p:nvPr/>
          </p:nvSpPr>
          <p:spPr>
            <a:xfrm>
              <a:off x="288054" y="657974"/>
              <a:ext cx="352425" cy="6985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60" name="Group 59">
            <a:extLst>
              <a:ext uri="{FF2B5EF4-FFF2-40B4-BE49-F238E27FC236}">
                <a16:creationId xmlns:a16="http://schemas.microsoft.com/office/drawing/2014/main" id="{EC1E71CA-549A-20D4-7A22-BD3066638656}"/>
              </a:ext>
            </a:extLst>
          </p:cNvPr>
          <p:cNvGrpSpPr/>
          <p:nvPr/>
        </p:nvGrpSpPr>
        <p:grpSpPr>
          <a:xfrm>
            <a:off x="389239" y="1591314"/>
            <a:ext cx="2179735" cy="4529800"/>
            <a:chOff x="8997543" y="1739138"/>
            <a:chExt cx="2179735" cy="4529800"/>
          </a:xfrm>
        </p:grpSpPr>
        <p:grpSp>
          <p:nvGrpSpPr>
            <p:cNvPr id="61" name="Group 60">
              <a:extLst>
                <a:ext uri="{FF2B5EF4-FFF2-40B4-BE49-F238E27FC236}">
                  <a16:creationId xmlns:a16="http://schemas.microsoft.com/office/drawing/2014/main" id="{1E556C2B-E406-19FE-45F7-34C1A40B602E}"/>
                </a:ext>
              </a:extLst>
            </p:cNvPr>
            <p:cNvGrpSpPr/>
            <p:nvPr/>
          </p:nvGrpSpPr>
          <p:grpSpPr>
            <a:xfrm>
              <a:off x="8997543" y="1739138"/>
              <a:ext cx="2179735" cy="4529800"/>
              <a:chOff x="8997543" y="1739138"/>
              <a:chExt cx="2179735" cy="4529800"/>
            </a:xfrm>
          </p:grpSpPr>
          <p:sp>
            <p:nvSpPr>
              <p:cNvPr id="63" name="Rectangle: Rounded Corners 62">
                <a:extLst>
                  <a:ext uri="{FF2B5EF4-FFF2-40B4-BE49-F238E27FC236}">
                    <a16:creationId xmlns:a16="http://schemas.microsoft.com/office/drawing/2014/main" id="{CBF0B95F-3A0A-64FF-FF99-CD33ADB00E8A}"/>
                  </a:ext>
                </a:extLst>
              </p:cNvPr>
              <p:cNvSpPr/>
              <p:nvPr/>
            </p:nvSpPr>
            <p:spPr>
              <a:xfrm>
                <a:off x="9062336" y="1739138"/>
                <a:ext cx="2114942" cy="4529800"/>
              </a:xfrm>
              <a:prstGeom prst="roundRect">
                <a:avLst/>
              </a:prstGeom>
              <a:blipFill>
                <a:blip r:embed="rId11">
                  <a:extLst>
                    <a:ext uri="{28A0092B-C50C-407E-A947-70E740481C1C}">
                      <a14:useLocalDpi xmlns:a14="http://schemas.microsoft.com/office/drawing/2010/main" val="0"/>
                    </a:ext>
                  </a:extLst>
                </a:blip>
                <a:srcRect/>
                <a:stretch>
                  <a:fillRect l="-26289" r="-27693"/>
                </a:stretch>
              </a:bli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4" name="Rectangle: Rounded Corners 63">
                <a:extLst>
                  <a:ext uri="{FF2B5EF4-FFF2-40B4-BE49-F238E27FC236}">
                    <a16:creationId xmlns:a16="http://schemas.microsoft.com/office/drawing/2014/main" id="{839A1B3F-DE4D-2F59-3D08-406F1A5BD872}"/>
                  </a:ext>
                </a:extLst>
              </p:cNvPr>
              <p:cNvSpPr/>
              <p:nvPr/>
            </p:nvSpPr>
            <p:spPr>
              <a:xfrm>
                <a:off x="9748078" y="6076950"/>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TextBox 64">
                <a:extLst>
                  <a:ext uri="{FF2B5EF4-FFF2-40B4-BE49-F238E27FC236}">
                    <a16:creationId xmlns:a16="http://schemas.microsoft.com/office/drawing/2014/main" id="{88428A80-3A5E-BC83-B930-CE572A3E8D28}"/>
                  </a:ext>
                </a:extLst>
              </p:cNvPr>
              <p:cNvSpPr txBox="1"/>
              <p:nvPr/>
            </p:nvSpPr>
            <p:spPr>
              <a:xfrm>
                <a:off x="8997543" y="5015120"/>
                <a:ext cx="1555234" cy="10156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chat</a:t>
                </a:r>
                <a:endPar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endParaRPr>
              </a:p>
            </p:txBody>
          </p:sp>
          <p:sp>
            <p:nvSpPr>
              <p:cNvPr id="66" name="TextBox 65">
                <a:extLst>
                  <a:ext uri="{FF2B5EF4-FFF2-40B4-BE49-F238E27FC236}">
                    <a16:creationId xmlns:a16="http://schemas.microsoft.com/office/drawing/2014/main" id="{9B4EC310-6DD7-E055-D451-33A8A7CBFC8A}"/>
                  </a:ext>
                </a:extLst>
              </p:cNvPr>
              <p:cNvSpPr txBox="1"/>
              <p:nvPr/>
            </p:nvSpPr>
            <p:spPr>
              <a:xfrm>
                <a:off x="9043600" y="4940970"/>
                <a:ext cx="104067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message</a:t>
                </a:r>
              </a:p>
            </p:txBody>
          </p:sp>
        </p:grpSp>
        <p:pic>
          <p:nvPicPr>
            <p:cNvPr id="62" name="Graphic 61" descr="Send">
              <a:hlinkClick r:id="rId12" action="ppaction://hlinksldjump"/>
              <a:extLst>
                <a:ext uri="{FF2B5EF4-FFF2-40B4-BE49-F238E27FC236}">
                  <a16:creationId xmlns:a16="http://schemas.microsoft.com/office/drawing/2014/main" id="{686368B1-5A87-86E6-B6FE-748A7DB2E56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9721288" y="2633152"/>
              <a:ext cx="914400" cy="914400"/>
            </a:xfrm>
            <a:prstGeom prst="rect">
              <a:avLst/>
            </a:prstGeom>
          </p:spPr>
        </p:pic>
      </p:grpSp>
      <p:grpSp>
        <p:nvGrpSpPr>
          <p:cNvPr id="53" name="Group 52">
            <a:extLst>
              <a:ext uri="{FF2B5EF4-FFF2-40B4-BE49-F238E27FC236}">
                <a16:creationId xmlns:a16="http://schemas.microsoft.com/office/drawing/2014/main" id="{5718CF5C-B022-19A1-AD2F-3F4D353FC11E}"/>
              </a:ext>
            </a:extLst>
          </p:cNvPr>
          <p:cNvGrpSpPr/>
          <p:nvPr/>
        </p:nvGrpSpPr>
        <p:grpSpPr>
          <a:xfrm>
            <a:off x="810490" y="1570113"/>
            <a:ext cx="2127293" cy="4529800"/>
            <a:chOff x="6344887" y="1739138"/>
            <a:chExt cx="2127293" cy="4529800"/>
          </a:xfrm>
        </p:grpSpPr>
        <p:grpSp>
          <p:nvGrpSpPr>
            <p:cNvPr id="54" name="Group 53">
              <a:extLst>
                <a:ext uri="{FF2B5EF4-FFF2-40B4-BE49-F238E27FC236}">
                  <a16:creationId xmlns:a16="http://schemas.microsoft.com/office/drawing/2014/main" id="{0FCDE098-FB35-B081-75F0-902F1E653612}"/>
                </a:ext>
              </a:extLst>
            </p:cNvPr>
            <p:cNvGrpSpPr/>
            <p:nvPr/>
          </p:nvGrpSpPr>
          <p:grpSpPr>
            <a:xfrm>
              <a:off x="6344887" y="1739138"/>
              <a:ext cx="2127293" cy="4529800"/>
              <a:chOff x="6344887" y="1739138"/>
              <a:chExt cx="2127293" cy="4529800"/>
            </a:xfrm>
          </p:grpSpPr>
          <p:sp>
            <p:nvSpPr>
              <p:cNvPr id="56" name="Rectangle: Rounded Corners 55">
                <a:extLst>
                  <a:ext uri="{FF2B5EF4-FFF2-40B4-BE49-F238E27FC236}">
                    <a16:creationId xmlns:a16="http://schemas.microsoft.com/office/drawing/2014/main" id="{1107C86C-B605-FD10-C24C-C1CA01A900D4}"/>
                  </a:ext>
                </a:extLst>
              </p:cNvPr>
              <p:cNvSpPr/>
              <p:nvPr/>
            </p:nvSpPr>
            <p:spPr>
              <a:xfrm>
                <a:off x="6357238" y="1739138"/>
                <a:ext cx="2114942" cy="4529800"/>
              </a:xfrm>
              <a:prstGeom prst="roundRect">
                <a:avLst/>
              </a:prstGeom>
              <a:blipFill>
                <a:blip r:embed="rId15">
                  <a:extLst>
                    <a:ext uri="{28A0092B-C50C-407E-A947-70E740481C1C}">
                      <a14:useLocalDpi xmlns:a14="http://schemas.microsoft.com/office/drawing/2010/main" val="0"/>
                    </a:ext>
                  </a:extLst>
                </a:blip>
                <a:srcRect/>
                <a:stretch>
                  <a:fillRect l="-44972" t="630" r="-26372" b="-630"/>
                </a:stretch>
              </a:bli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Rectangle: Rounded Corners 56">
                <a:extLst>
                  <a:ext uri="{FF2B5EF4-FFF2-40B4-BE49-F238E27FC236}">
                    <a16:creationId xmlns:a16="http://schemas.microsoft.com/office/drawing/2014/main" id="{9FA0D535-016D-DD64-227E-F1B824CFFD46}"/>
                  </a:ext>
                </a:extLst>
              </p:cNvPr>
              <p:cNvSpPr/>
              <p:nvPr/>
            </p:nvSpPr>
            <p:spPr>
              <a:xfrm>
                <a:off x="7042980" y="6038851"/>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TextBox 57">
                <a:extLst>
                  <a:ext uri="{FF2B5EF4-FFF2-40B4-BE49-F238E27FC236}">
                    <a16:creationId xmlns:a16="http://schemas.microsoft.com/office/drawing/2014/main" id="{F1DDF537-6FA6-0BA7-CE62-E4884415ED13}"/>
                  </a:ext>
                </a:extLst>
              </p:cNvPr>
              <p:cNvSpPr txBox="1"/>
              <p:nvPr/>
            </p:nvSpPr>
            <p:spPr>
              <a:xfrm>
                <a:off x="6344887" y="5015120"/>
                <a:ext cx="2105063" cy="9387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55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profile</a:t>
                </a:r>
              </a:p>
            </p:txBody>
          </p:sp>
          <p:sp>
            <p:nvSpPr>
              <p:cNvPr id="59" name="TextBox 58">
                <a:extLst>
                  <a:ext uri="{FF2B5EF4-FFF2-40B4-BE49-F238E27FC236}">
                    <a16:creationId xmlns:a16="http://schemas.microsoft.com/office/drawing/2014/main" id="{46E3534B-8DC1-0BFA-9457-428DCFDF05EF}"/>
                  </a:ext>
                </a:extLst>
              </p:cNvPr>
              <p:cNvSpPr txBox="1"/>
              <p:nvPr/>
            </p:nvSpPr>
            <p:spPr>
              <a:xfrm>
                <a:off x="6457042" y="5046202"/>
                <a:ext cx="76174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Views</a:t>
                </a:r>
              </a:p>
            </p:txBody>
          </p:sp>
        </p:grpSp>
        <p:pic>
          <p:nvPicPr>
            <p:cNvPr id="55" name="Graphic 54" descr="User">
              <a:hlinkClick r:id="rId16" action="ppaction://hlinksldjump"/>
              <a:extLst>
                <a:ext uri="{FF2B5EF4-FFF2-40B4-BE49-F238E27FC236}">
                  <a16:creationId xmlns:a16="http://schemas.microsoft.com/office/drawing/2014/main" id="{EEAB0735-AE94-8B25-3FD4-2B87304D2EB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6940219" y="2615019"/>
              <a:ext cx="914400" cy="914400"/>
            </a:xfrm>
            <a:prstGeom prst="rect">
              <a:avLst/>
            </a:prstGeom>
          </p:spPr>
        </p:pic>
      </p:grpSp>
      <p:grpSp>
        <p:nvGrpSpPr>
          <p:cNvPr id="17" name="Group 16">
            <a:extLst>
              <a:ext uri="{FF2B5EF4-FFF2-40B4-BE49-F238E27FC236}">
                <a16:creationId xmlns:a16="http://schemas.microsoft.com/office/drawing/2014/main" id="{DC8253AF-F0D1-D74D-415F-32D771680D91}"/>
              </a:ext>
            </a:extLst>
          </p:cNvPr>
          <p:cNvGrpSpPr/>
          <p:nvPr/>
        </p:nvGrpSpPr>
        <p:grpSpPr>
          <a:xfrm>
            <a:off x="1222331" y="1591314"/>
            <a:ext cx="2114942" cy="4529800"/>
            <a:chOff x="3719822" y="1739138"/>
            <a:chExt cx="2114942" cy="4529800"/>
          </a:xfrm>
        </p:grpSpPr>
        <p:grpSp>
          <p:nvGrpSpPr>
            <p:cNvPr id="18" name="Group 17">
              <a:extLst>
                <a:ext uri="{FF2B5EF4-FFF2-40B4-BE49-F238E27FC236}">
                  <a16:creationId xmlns:a16="http://schemas.microsoft.com/office/drawing/2014/main" id="{40E44162-B08B-8BC4-3D73-0186A7D72100}"/>
                </a:ext>
              </a:extLst>
            </p:cNvPr>
            <p:cNvGrpSpPr/>
            <p:nvPr/>
          </p:nvGrpSpPr>
          <p:grpSpPr>
            <a:xfrm>
              <a:off x="3719822" y="1739138"/>
              <a:ext cx="2114942" cy="4529800"/>
              <a:chOff x="3719822" y="1739138"/>
              <a:chExt cx="2114942" cy="4529800"/>
            </a:xfrm>
          </p:grpSpPr>
          <p:sp>
            <p:nvSpPr>
              <p:cNvPr id="20" name="Rectangle: Rounded Corners 19">
                <a:extLst>
                  <a:ext uri="{FF2B5EF4-FFF2-40B4-BE49-F238E27FC236}">
                    <a16:creationId xmlns:a16="http://schemas.microsoft.com/office/drawing/2014/main" id="{B83F420B-FD35-EE68-9DB9-582873CFE81E}"/>
                  </a:ext>
                </a:extLst>
              </p:cNvPr>
              <p:cNvSpPr/>
              <p:nvPr/>
            </p:nvSpPr>
            <p:spPr>
              <a:xfrm>
                <a:off x="3719822" y="1739138"/>
                <a:ext cx="2114942" cy="4529800"/>
              </a:xfrm>
              <a:prstGeom prst="roundRect">
                <a:avLst/>
              </a:prstGeom>
              <a:blipFill>
                <a:blip r:embed="rId19">
                  <a:extLst>
                    <a:ext uri="{28A0092B-C50C-407E-A947-70E740481C1C}">
                      <a14:useLocalDpi xmlns:a14="http://schemas.microsoft.com/office/drawing/2010/main" val="0"/>
                    </a:ext>
                  </a:extLst>
                </a:blip>
                <a:stretch>
                  <a:fillRect/>
                </a:stretch>
              </a:bli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Rectangle: Rounded Corners 20">
                <a:extLst>
                  <a:ext uri="{FF2B5EF4-FFF2-40B4-BE49-F238E27FC236}">
                    <a16:creationId xmlns:a16="http://schemas.microsoft.com/office/drawing/2014/main" id="{E038D94E-8548-F5FE-9480-77E1FCEDD2B2}"/>
                  </a:ext>
                </a:extLst>
              </p:cNvPr>
              <p:cNvSpPr/>
              <p:nvPr/>
            </p:nvSpPr>
            <p:spPr>
              <a:xfrm>
                <a:off x="4405564" y="6076950"/>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743C3814-9333-B56F-3B7D-3A292D242DF4}"/>
                  </a:ext>
                </a:extLst>
              </p:cNvPr>
              <p:cNvSpPr txBox="1"/>
              <p:nvPr/>
            </p:nvSpPr>
            <p:spPr>
              <a:xfrm>
                <a:off x="3883954" y="4940970"/>
                <a:ext cx="1771639"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6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post</a:t>
                </a:r>
                <a:endPar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endParaRPr>
              </a:p>
            </p:txBody>
          </p:sp>
          <p:sp>
            <p:nvSpPr>
              <p:cNvPr id="23" name="TextBox 22">
                <a:extLst>
                  <a:ext uri="{FF2B5EF4-FFF2-40B4-BE49-F238E27FC236}">
                    <a16:creationId xmlns:a16="http://schemas.microsoft.com/office/drawing/2014/main" id="{A58DDAB5-730C-6BA6-BEFD-5B586B74465F}"/>
                  </a:ext>
                </a:extLst>
              </p:cNvPr>
              <p:cNvSpPr txBox="1"/>
              <p:nvPr/>
            </p:nvSpPr>
            <p:spPr>
              <a:xfrm>
                <a:off x="3883954" y="4990055"/>
                <a:ext cx="92845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Feature</a:t>
                </a:r>
              </a:p>
            </p:txBody>
          </p:sp>
        </p:grpSp>
        <p:pic>
          <p:nvPicPr>
            <p:cNvPr id="19" name="Graphic 18" descr="Mailbox">
              <a:hlinkClick r:id="rId20" action="ppaction://hlinksldjump"/>
              <a:extLst>
                <a:ext uri="{FF2B5EF4-FFF2-40B4-BE49-F238E27FC236}">
                  <a16:creationId xmlns:a16="http://schemas.microsoft.com/office/drawing/2014/main" id="{AE326DF1-FCDB-06F3-E5AB-1DC4EC683A0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p:blipFill>
          <p:spPr>
            <a:xfrm>
              <a:off x="4365472" y="2656589"/>
              <a:ext cx="914400" cy="914400"/>
            </a:xfrm>
            <a:prstGeom prst="rect">
              <a:avLst/>
            </a:prstGeom>
          </p:spPr>
        </p:pic>
      </p:grpSp>
      <p:grpSp>
        <p:nvGrpSpPr>
          <p:cNvPr id="3" name="Group 2">
            <a:extLst>
              <a:ext uri="{FF2B5EF4-FFF2-40B4-BE49-F238E27FC236}">
                <a16:creationId xmlns:a16="http://schemas.microsoft.com/office/drawing/2014/main" id="{DA7779DC-D4FF-74B5-681C-E712B131E67F}"/>
              </a:ext>
            </a:extLst>
          </p:cNvPr>
          <p:cNvGrpSpPr/>
          <p:nvPr/>
        </p:nvGrpSpPr>
        <p:grpSpPr>
          <a:xfrm>
            <a:off x="12301025" y="1475524"/>
            <a:ext cx="2155690" cy="4529800"/>
            <a:chOff x="973974" y="1718600"/>
            <a:chExt cx="2155690" cy="4529800"/>
          </a:xfrm>
        </p:grpSpPr>
        <p:grpSp>
          <p:nvGrpSpPr>
            <p:cNvPr id="4" name="Group 3">
              <a:extLst>
                <a:ext uri="{FF2B5EF4-FFF2-40B4-BE49-F238E27FC236}">
                  <a16:creationId xmlns:a16="http://schemas.microsoft.com/office/drawing/2014/main" id="{FBCE7D82-006F-1750-F24E-7FBADD36E5F8}"/>
                </a:ext>
              </a:extLst>
            </p:cNvPr>
            <p:cNvGrpSpPr/>
            <p:nvPr/>
          </p:nvGrpSpPr>
          <p:grpSpPr>
            <a:xfrm>
              <a:off x="973974" y="1718600"/>
              <a:ext cx="2155690" cy="4529800"/>
              <a:chOff x="973974" y="1718600"/>
              <a:chExt cx="2155690" cy="4529800"/>
            </a:xfrm>
            <a:blipFill>
              <a:blip r:embed="rId23">
                <a:extLst>
                  <a:ext uri="{28A0092B-C50C-407E-A947-70E740481C1C}">
                    <a14:useLocalDpi xmlns:a14="http://schemas.microsoft.com/office/drawing/2010/main" val="0"/>
                  </a:ext>
                </a:extLst>
              </a:blip>
              <a:stretch>
                <a:fillRect/>
              </a:stretch>
            </a:blipFill>
          </p:grpSpPr>
          <p:sp>
            <p:nvSpPr>
              <p:cNvPr id="7" name="Rectangle: Rounded Corners 6">
                <a:extLst>
                  <a:ext uri="{FF2B5EF4-FFF2-40B4-BE49-F238E27FC236}">
                    <a16:creationId xmlns:a16="http://schemas.microsoft.com/office/drawing/2014/main" id="{7F922FB4-A26D-BADD-FF72-0E7DC548FBE1}"/>
                  </a:ext>
                </a:extLst>
              </p:cNvPr>
              <p:cNvSpPr/>
              <p:nvPr/>
            </p:nvSpPr>
            <p:spPr>
              <a:xfrm>
                <a:off x="1014722" y="1718600"/>
                <a:ext cx="2114942" cy="4529800"/>
              </a:xfrm>
              <a:prstGeom prst="roundRect">
                <a:avLst/>
              </a:prstGeom>
              <a:gr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Rounded Corners 11">
                <a:extLst>
                  <a:ext uri="{FF2B5EF4-FFF2-40B4-BE49-F238E27FC236}">
                    <a16:creationId xmlns:a16="http://schemas.microsoft.com/office/drawing/2014/main" id="{DC0C4A60-52A4-E89E-1D22-8895A5D36CD3}"/>
                  </a:ext>
                </a:extLst>
              </p:cNvPr>
              <p:cNvSpPr/>
              <p:nvPr/>
            </p:nvSpPr>
            <p:spPr>
              <a:xfrm>
                <a:off x="1700464" y="6076950"/>
                <a:ext cx="743457" cy="76198"/>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F99F4C33-D580-69EA-7145-BD5BC6C00010}"/>
                  </a:ext>
                </a:extLst>
              </p:cNvPr>
              <p:cNvSpPr txBox="1"/>
              <p:nvPr/>
            </p:nvSpPr>
            <p:spPr>
              <a:xfrm>
                <a:off x="973974" y="4966035"/>
                <a:ext cx="1819729" cy="1015663"/>
              </a:xfrm>
              <a:prstGeom prst="rect">
                <a:avLst/>
              </a:prstGeom>
              <a:grp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login</a:t>
                </a:r>
                <a:endPar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endParaRPr>
              </a:p>
            </p:txBody>
          </p:sp>
          <p:sp>
            <p:nvSpPr>
              <p:cNvPr id="16" name="TextBox 15">
                <a:extLst>
                  <a:ext uri="{FF2B5EF4-FFF2-40B4-BE49-F238E27FC236}">
                    <a16:creationId xmlns:a16="http://schemas.microsoft.com/office/drawing/2014/main" id="{2E309C1F-6871-E7CB-C386-183278520402}"/>
                  </a:ext>
                </a:extLst>
              </p:cNvPr>
              <p:cNvSpPr txBox="1"/>
              <p:nvPr/>
            </p:nvSpPr>
            <p:spPr>
              <a:xfrm>
                <a:off x="1014722" y="4896377"/>
                <a:ext cx="94128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security</a:t>
                </a:r>
              </a:p>
            </p:txBody>
          </p:sp>
        </p:grpSp>
        <p:sp>
          <p:nvSpPr>
            <p:cNvPr id="5" name="Rectangle: Rounded Corners 4">
              <a:extLst>
                <a:ext uri="{FF2B5EF4-FFF2-40B4-BE49-F238E27FC236}">
                  <a16:creationId xmlns:a16="http://schemas.microsoft.com/office/drawing/2014/main" id="{AE5B305D-2BAE-6DF3-8BEF-91785174A2E8}"/>
                </a:ext>
              </a:extLst>
            </p:cNvPr>
            <p:cNvSpPr/>
            <p:nvPr/>
          </p:nvSpPr>
          <p:spPr>
            <a:xfrm>
              <a:off x="1706111" y="5972378"/>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Graphic 5" descr="Lock">
              <a:hlinkClick r:id="rId24" action="ppaction://hlinksldjump"/>
              <a:extLst>
                <a:ext uri="{FF2B5EF4-FFF2-40B4-BE49-F238E27FC236}">
                  <a16:creationId xmlns:a16="http://schemas.microsoft.com/office/drawing/2014/main" id="{01B235A2-B59F-05F6-5FF4-46B93CD1DDE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rcRect/>
            <a:stretch/>
          </p:blipFill>
          <p:spPr>
            <a:xfrm>
              <a:off x="1481811" y="2589204"/>
              <a:ext cx="1180759" cy="1180759"/>
            </a:xfrm>
            <a:prstGeom prst="rect">
              <a:avLst/>
            </a:prstGeom>
          </p:spPr>
        </p:pic>
      </p:grpSp>
    </p:spTree>
    <p:extLst>
      <p:ext uri="{BB962C8B-B14F-4D97-AF65-F5344CB8AC3E}">
        <p14:creationId xmlns:p14="http://schemas.microsoft.com/office/powerpoint/2010/main" val="42116651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advTm="1000">
        <p159:morph option="byObject"/>
      </p:transition>
    </mc:Choice>
    <mc:Fallback xmlns="">
      <p:transition spd="slow" advTm="1000">
        <p:fade/>
      </p:transition>
    </mc:Fallback>
  </mc:AlternateContent>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Hover r:id="rId2" action="ppaction://hlinksldjump"/>
            <a:extLst>
              <a:ext uri="{FF2B5EF4-FFF2-40B4-BE49-F238E27FC236}">
                <a16:creationId xmlns:a16="http://schemas.microsoft.com/office/drawing/2014/main" id="{A537CA44-DE10-4502-A603-A0D76E4B8483}"/>
              </a:ext>
            </a:extLst>
          </p:cNvPr>
          <p:cNvSpPr>
            <a:spLocks noGrp="1" noRot="1" noMove="1" noResize="1" noEditPoints="1" noAdjustHandles="1" noChangeArrowheads="1" noChangeShapeType="1"/>
          </p:cNvSpPr>
          <p:nvPr/>
        </p:nvSpPr>
        <p:spPr>
          <a:xfrm>
            <a:off x="0" y="0"/>
            <a:ext cx="12217065" cy="6858000"/>
          </a:xfrm>
          <a:prstGeom prst="rect">
            <a:avLst/>
          </a:prstGeom>
          <a:solidFill>
            <a:srgbClr val="E1F6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srgbClr val="E2F6F3"/>
              </a:solidFill>
              <a:effectLst/>
              <a:uLnTx/>
              <a:uFillTx/>
              <a:latin typeface="Calibri" panose="020F0502020204030204"/>
              <a:ea typeface="+mn-ea"/>
              <a:cs typeface="+mn-cs"/>
            </a:endParaRPr>
          </a:p>
        </p:txBody>
      </p:sp>
      <p:sp>
        <p:nvSpPr>
          <p:cNvPr id="21" name="Rectangle: Rounded Corners 20">
            <a:extLst>
              <a:ext uri="{FF2B5EF4-FFF2-40B4-BE49-F238E27FC236}">
                <a16:creationId xmlns:a16="http://schemas.microsoft.com/office/drawing/2014/main" id="{B8FEB4D0-70FA-4356-8625-71B8918EA2EC}"/>
              </a:ext>
            </a:extLst>
          </p:cNvPr>
          <p:cNvSpPr/>
          <p:nvPr/>
        </p:nvSpPr>
        <p:spPr>
          <a:xfrm>
            <a:off x="878987" y="3125653"/>
            <a:ext cx="1245362" cy="848631"/>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Rounded Corners 18">
            <a:extLst>
              <a:ext uri="{FF2B5EF4-FFF2-40B4-BE49-F238E27FC236}">
                <a16:creationId xmlns:a16="http://schemas.microsoft.com/office/drawing/2014/main" id="{D2A0F648-5F40-4AF0-A0B9-C0D33CBF9DD3}"/>
              </a:ext>
            </a:extLst>
          </p:cNvPr>
          <p:cNvSpPr/>
          <p:nvPr/>
        </p:nvSpPr>
        <p:spPr>
          <a:xfrm>
            <a:off x="2256446" y="3125653"/>
            <a:ext cx="2351295" cy="1602251"/>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26" name="Picture 2" descr="backpack green Illustration in PNG, SVG">
            <a:hlinkHover r:id="rId3" action="ppaction://hlinksldjump"/>
            <a:extLst>
              <a:ext uri="{FF2B5EF4-FFF2-40B4-BE49-F238E27FC236}">
                <a16:creationId xmlns:a16="http://schemas.microsoft.com/office/drawing/2014/main" id="{47110F0F-B32D-48F8-8EEC-F1114E53761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07230" y="3230030"/>
            <a:ext cx="621215" cy="64062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a:extLst>
              <a:ext uri="{FF2B5EF4-FFF2-40B4-BE49-F238E27FC236}">
                <a16:creationId xmlns:a16="http://schemas.microsoft.com/office/drawing/2014/main" id="{1AEC77CB-A131-4E46-A2EB-0060F5230A1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rot="16956808">
            <a:off x="2208141" y="2902452"/>
            <a:ext cx="2200084" cy="1962042"/>
          </a:xfrm>
          <a:prstGeom prst="rect">
            <a:avLst/>
          </a:prstGeom>
        </p:spPr>
      </p:pic>
      <p:sp>
        <p:nvSpPr>
          <p:cNvPr id="27" name="TextBox 26">
            <a:extLst>
              <a:ext uri="{FF2B5EF4-FFF2-40B4-BE49-F238E27FC236}">
                <a16:creationId xmlns:a16="http://schemas.microsoft.com/office/drawing/2014/main" id="{9060956E-16E4-4F40-A58F-89CF79D11941}"/>
              </a:ext>
            </a:extLst>
          </p:cNvPr>
          <p:cNvSpPr txBox="1"/>
          <p:nvPr/>
        </p:nvSpPr>
        <p:spPr>
          <a:xfrm>
            <a:off x="2463107" y="4986529"/>
            <a:ext cx="193797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srgbClr val="628890"/>
                </a:solidFill>
                <a:effectLst/>
                <a:uLnTx/>
                <a:uFillTx/>
                <a:latin typeface="Century Gothic" panose="020B0502020202020204" pitchFamily="34" charset="0"/>
                <a:ea typeface="+mn-ea"/>
                <a:cs typeface="+mn-cs"/>
              </a:rPr>
              <a:t>PAWAN GUPTA</a:t>
            </a:r>
          </a:p>
        </p:txBody>
      </p:sp>
      <p:sp>
        <p:nvSpPr>
          <p:cNvPr id="41" name="Oval 40">
            <a:extLst>
              <a:ext uri="{FF2B5EF4-FFF2-40B4-BE49-F238E27FC236}">
                <a16:creationId xmlns:a16="http://schemas.microsoft.com/office/drawing/2014/main" id="{F667D6AA-4CEA-49F8-B630-A5F0AC8F6ABC}"/>
              </a:ext>
            </a:extLst>
          </p:cNvPr>
          <p:cNvSpPr/>
          <p:nvPr/>
        </p:nvSpPr>
        <p:spPr>
          <a:xfrm>
            <a:off x="5648403" y="-2670387"/>
            <a:ext cx="6011835" cy="6011835"/>
          </a:xfrm>
          <a:prstGeom prst="ellipse">
            <a:avLst/>
          </a:prstGeom>
          <a:solidFill>
            <a:srgbClr val="E1B771">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Oval 41">
            <a:extLst>
              <a:ext uri="{FF2B5EF4-FFF2-40B4-BE49-F238E27FC236}">
                <a16:creationId xmlns:a16="http://schemas.microsoft.com/office/drawing/2014/main" id="{173BA2E2-A55B-48D1-8D02-E1D5625660C8}"/>
              </a:ext>
            </a:extLst>
          </p:cNvPr>
          <p:cNvSpPr/>
          <p:nvPr/>
        </p:nvSpPr>
        <p:spPr>
          <a:xfrm>
            <a:off x="6258240" y="-1910652"/>
            <a:ext cx="4726530" cy="4726530"/>
          </a:xfrm>
          <a:prstGeom prst="ellipse">
            <a:avLst/>
          </a:prstGeom>
          <a:solidFill>
            <a:srgbClr val="749AA2">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56691E45-07A7-4E34-ADE8-4D3448B836FE}"/>
              </a:ext>
            </a:extLst>
          </p:cNvPr>
          <p:cNvSpPr/>
          <p:nvPr/>
        </p:nvSpPr>
        <p:spPr>
          <a:xfrm rot="7681175">
            <a:off x="-1055678" y="5141923"/>
            <a:ext cx="2771936" cy="2694027"/>
          </a:xfrm>
          <a:prstGeom prst="ellipse">
            <a:avLst/>
          </a:prstGeom>
          <a:gradFill flip="none" rotWithShape="1">
            <a:gsLst>
              <a:gs pos="0">
                <a:srgbClr val="628890"/>
              </a:gs>
              <a:gs pos="34000">
                <a:srgbClr val="48ACA7"/>
              </a:gs>
              <a:gs pos="100000">
                <a:srgbClr val="E2FDFE"/>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4" name="Oval 43">
            <a:extLst>
              <a:ext uri="{FF2B5EF4-FFF2-40B4-BE49-F238E27FC236}">
                <a16:creationId xmlns:a16="http://schemas.microsoft.com/office/drawing/2014/main" id="{6BE628FF-B4DD-4151-93E5-2A8157E99D9D}"/>
              </a:ext>
            </a:extLst>
          </p:cNvPr>
          <p:cNvSpPr/>
          <p:nvPr/>
        </p:nvSpPr>
        <p:spPr>
          <a:xfrm rot="7681175">
            <a:off x="6553631" y="-1555332"/>
            <a:ext cx="4135748" cy="4019507"/>
          </a:xfrm>
          <a:prstGeom prst="ellipse">
            <a:avLst/>
          </a:prstGeom>
          <a:gradFill flip="none" rotWithShape="1">
            <a:gsLst>
              <a:gs pos="0">
                <a:srgbClr val="628890"/>
              </a:gs>
              <a:gs pos="34000">
                <a:srgbClr val="48ACA7"/>
              </a:gs>
              <a:gs pos="100000">
                <a:srgbClr val="E2FDFE"/>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 name="Group 4">
            <a:extLst>
              <a:ext uri="{FF2B5EF4-FFF2-40B4-BE49-F238E27FC236}">
                <a16:creationId xmlns:a16="http://schemas.microsoft.com/office/drawing/2014/main" id="{6622396C-2DA3-4406-98C3-8EDC1895A0D7}"/>
              </a:ext>
            </a:extLst>
          </p:cNvPr>
          <p:cNvGrpSpPr>
            <a:grpSpLocks noGrp="1" noUngrp="1" noRot="1" noMove="1" noResize="1"/>
          </p:cNvGrpSpPr>
          <p:nvPr/>
        </p:nvGrpSpPr>
        <p:grpSpPr>
          <a:xfrm>
            <a:off x="5263347" y="1"/>
            <a:ext cx="6953716" cy="6857998"/>
            <a:chOff x="5263347" y="1"/>
            <a:chExt cx="6953716" cy="6857998"/>
          </a:xfrm>
        </p:grpSpPr>
        <p:pic>
          <p:nvPicPr>
            <p:cNvPr id="23" name="Picture 22" descr="A person standing on a stage&#10;&#10;Description automatically generated with low confidence">
              <a:extLst>
                <a:ext uri="{FF2B5EF4-FFF2-40B4-BE49-F238E27FC236}">
                  <a16:creationId xmlns:a16="http://schemas.microsoft.com/office/drawing/2014/main" id="{31DDA5C8-56CD-4F5A-BFC5-01A3DC42DD2C}"/>
                </a:ext>
              </a:extLst>
            </p:cNvPr>
            <p:cNvPicPr>
              <a:picLocks noGrp="1" noRot="1" noChangeAspect="1" noMove="1" noResize="1" noEditPoints="1" noAdjustHandles="1" noChangeArrowheads="1" noChangeShapeType="1" noCrop="1"/>
            </p:cNvPicPr>
            <p:nvPr/>
          </p:nvPicPr>
          <p:blipFill rotWithShape="1">
            <a:blip r:embed="rId6" cstate="print">
              <a:extLst>
                <a:ext uri="{28A0092B-C50C-407E-A947-70E740481C1C}">
                  <a14:useLocalDpi xmlns:a14="http://schemas.microsoft.com/office/drawing/2010/main" val="0"/>
                </a:ext>
              </a:extLst>
            </a:blip>
            <a:srcRect t="-2" r="6348" b="46416"/>
            <a:stretch/>
          </p:blipFill>
          <p:spPr>
            <a:xfrm flipH="1">
              <a:off x="5263348" y="1"/>
              <a:ext cx="6953715" cy="4457700"/>
            </a:xfrm>
            <a:prstGeom prst="rect">
              <a:avLst/>
            </a:prstGeom>
          </p:spPr>
        </p:pic>
        <p:pic>
          <p:nvPicPr>
            <p:cNvPr id="26" name="Picture 25" descr="A person standing on a stage&#10;&#10;Description automatically generated with low confidence">
              <a:extLst>
                <a:ext uri="{FF2B5EF4-FFF2-40B4-BE49-F238E27FC236}">
                  <a16:creationId xmlns:a16="http://schemas.microsoft.com/office/drawing/2014/main" id="{ACB8777B-30E8-4B7D-91BA-D85E0C7C8758}"/>
                </a:ext>
              </a:extLst>
            </p:cNvPr>
            <p:cNvPicPr>
              <a:picLocks noGrp="1" noRot="1" noChangeAspect="1" noMove="1" noResize="1" noEditPoints="1" noAdjustHandles="1" noChangeArrowheads="1" noChangeShapeType="1" noCrop="1"/>
            </p:cNvPicPr>
            <p:nvPr/>
          </p:nvPicPr>
          <p:blipFill rotWithShape="1">
            <a:blip r:embed="rId7" cstate="print">
              <a:extLst>
                <a:ext uri="{28A0092B-C50C-407E-A947-70E740481C1C}">
                  <a14:useLocalDpi xmlns:a14="http://schemas.microsoft.com/office/drawing/2010/main" val="0"/>
                </a:ext>
              </a:extLst>
            </a:blip>
            <a:srcRect/>
            <a:stretch/>
          </p:blipFill>
          <p:spPr>
            <a:xfrm flipH="1">
              <a:off x="5263347" y="4381712"/>
              <a:ext cx="6953715" cy="2476287"/>
            </a:xfrm>
            <a:prstGeom prst="rect">
              <a:avLst/>
            </a:prstGeom>
          </p:spPr>
        </p:pic>
      </p:grpSp>
      <p:sp>
        <p:nvSpPr>
          <p:cNvPr id="24" name="Rectangle: Rounded Corners 23">
            <a:extLst>
              <a:ext uri="{FF2B5EF4-FFF2-40B4-BE49-F238E27FC236}">
                <a16:creationId xmlns:a16="http://schemas.microsoft.com/office/drawing/2014/main" id="{D4217BD8-0C7C-4580-B906-431BEEFBE86E}"/>
              </a:ext>
            </a:extLst>
          </p:cNvPr>
          <p:cNvSpPr/>
          <p:nvPr/>
        </p:nvSpPr>
        <p:spPr>
          <a:xfrm>
            <a:off x="4769295" y="3140173"/>
            <a:ext cx="1245362" cy="848631"/>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5" name="Picture 34">
            <a:extLst>
              <a:ext uri="{FF2B5EF4-FFF2-40B4-BE49-F238E27FC236}">
                <a16:creationId xmlns:a16="http://schemas.microsoft.com/office/drawing/2014/main" id="{24B4B673-D9BB-4577-A135-9813EC5EDC6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142493" y="3343351"/>
            <a:ext cx="479666" cy="477051"/>
          </a:xfrm>
          <a:prstGeom prst="rect">
            <a:avLst/>
          </a:prstGeom>
        </p:spPr>
      </p:pic>
      <p:sp>
        <p:nvSpPr>
          <p:cNvPr id="47" name="TextBox 46">
            <a:extLst>
              <a:ext uri="{FF2B5EF4-FFF2-40B4-BE49-F238E27FC236}">
                <a16:creationId xmlns:a16="http://schemas.microsoft.com/office/drawing/2014/main" id="{9A23384F-C649-5E12-4B2B-DB911170E681}"/>
              </a:ext>
            </a:extLst>
          </p:cNvPr>
          <p:cNvSpPr txBox="1"/>
          <p:nvPr/>
        </p:nvSpPr>
        <p:spPr>
          <a:xfrm>
            <a:off x="713543" y="452613"/>
            <a:ext cx="6223178" cy="13234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8000" b="1" i="0" u="none" strike="noStrike" kern="1200" cap="none" spc="0" normalizeH="0" baseline="0" noProof="0" dirty="0">
                <a:ln>
                  <a:noFill/>
                </a:ln>
                <a:solidFill>
                  <a:srgbClr val="5E848C"/>
                </a:solidFill>
                <a:effectLst/>
                <a:uLnTx/>
                <a:uFillTx/>
                <a:latin typeface="Adam Bold" panose="02000403000000000000" pitchFamily="2" charset="0"/>
                <a:ea typeface="+mn-ea"/>
                <a:cs typeface="+mn-cs"/>
              </a:rPr>
              <a:t>TEAMMATES</a:t>
            </a:r>
          </a:p>
        </p:txBody>
      </p:sp>
      <p:sp>
        <p:nvSpPr>
          <p:cNvPr id="64" name="TextBox 63">
            <a:extLst>
              <a:ext uri="{FF2B5EF4-FFF2-40B4-BE49-F238E27FC236}">
                <a16:creationId xmlns:a16="http://schemas.microsoft.com/office/drawing/2014/main" id="{23F48820-DB37-7A5F-54A5-58C5592D992C}"/>
              </a:ext>
            </a:extLst>
          </p:cNvPr>
          <p:cNvSpPr txBox="1"/>
          <p:nvPr/>
        </p:nvSpPr>
        <p:spPr>
          <a:xfrm>
            <a:off x="783331" y="1459602"/>
            <a:ext cx="6332795"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800" b="1" i="0" u="none" strike="noStrike" kern="1200" cap="none" spc="0" normalizeH="0" baseline="0" noProof="0" dirty="0">
                <a:ln>
                  <a:noFill/>
                </a:ln>
                <a:solidFill>
                  <a:srgbClr val="48ACA7"/>
                </a:solidFill>
                <a:effectLst/>
                <a:uLnTx/>
                <a:uFillTx/>
                <a:latin typeface="Adam Bold" panose="02000403000000000000" pitchFamily="2" charset="0"/>
                <a:ea typeface="+mn-ea"/>
                <a:cs typeface="+mn-cs"/>
              </a:rPr>
              <a:t>and their contribution</a:t>
            </a:r>
            <a:endParaRPr kumimoji="0" lang="en-MY" sz="7200" b="0" i="0" u="none" strike="noStrike" kern="1200" cap="none" spc="0" normalizeH="0" baseline="0" noProof="0" dirty="0">
              <a:ln>
                <a:noFill/>
              </a:ln>
              <a:solidFill>
                <a:srgbClr val="48ACA7"/>
              </a:solidFill>
              <a:effectLst/>
              <a:uLnTx/>
              <a:uFillTx/>
              <a:latin typeface="Calibri" panose="020F0502020204030204"/>
              <a:ea typeface="+mn-ea"/>
              <a:cs typeface="+mn-cs"/>
            </a:endParaRPr>
          </a:p>
        </p:txBody>
      </p:sp>
      <p:sp>
        <p:nvSpPr>
          <p:cNvPr id="65" name="Rectangle: Rounded Corners 64">
            <a:extLst>
              <a:ext uri="{FF2B5EF4-FFF2-40B4-BE49-F238E27FC236}">
                <a16:creationId xmlns:a16="http://schemas.microsoft.com/office/drawing/2014/main" id="{C365E13F-FA68-87FD-27FB-47F0D9764D81}"/>
              </a:ext>
            </a:extLst>
          </p:cNvPr>
          <p:cNvSpPr/>
          <p:nvPr/>
        </p:nvSpPr>
        <p:spPr>
          <a:xfrm>
            <a:off x="6246266" y="3125653"/>
            <a:ext cx="1296331" cy="863151"/>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6" name="Picture 65">
            <a:extLst>
              <a:ext uri="{FF2B5EF4-FFF2-40B4-BE49-F238E27FC236}">
                <a16:creationId xmlns:a16="http://schemas.microsoft.com/office/drawing/2014/main" id="{C234421B-D183-B185-D7AF-8439C7261AE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604366" y="3297588"/>
            <a:ext cx="476492" cy="473894"/>
          </a:xfrm>
          <a:prstGeom prst="rect">
            <a:avLst/>
          </a:prstGeom>
        </p:spPr>
      </p:pic>
    </p:spTree>
    <p:extLst>
      <p:ext uri="{BB962C8B-B14F-4D97-AF65-F5344CB8AC3E}">
        <p14:creationId xmlns:p14="http://schemas.microsoft.com/office/powerpoint/2010/main" val="3823345283"/>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Icon&#10;&#10;Description automatically generated">
            <a:extLst>
              <a:ext uri="{FF2B5EF4-FFF2-40B4-BE49-F238E27FC236}">
                <a16:creationId xmlns:a16="http://schemas.microsoft.com/office/drawing/2014/main" id="{0BFFC5E7-E550-4093-87C2-67EF1B22266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0556309">
            <a:off x="1936102" y="-454989"/>
            <a:ext cx="8319793" cy="9442482"/>
          </a:xfrm>
          <a:prstGeom prst="rect">
            <a:avLst/>
          </a:prstGeom>
        </p:spPr>
      </p:pic>
      <mc:AlternateContent xmlns:mc="http://schemas.openxmlformats.org/markup-compatibility/2006">
        <mc:Choice xmlns:psuz="http://schemas.microsoft.com/office/powerpoint/2016/summaryzoom" Requires="psuz">
          <p:graphicFrame>
            <p:nvGraphicFramePr>
              <p:cNvPr id="5" name="Summary Zoom 4">
                <a:extLst>
                  <a:ext uri="{FF2B5EF4-FFF2-40B4-BE49-F238E27FC236}">
                    <a16:creationId xmlns:a16="http://schemas.microsoft.com/office/drawing/2014/main" id="{9727D4F0-47C5-495C-9DAF-BE6C8223B2CB}"/>
                  </a:ext>
                </a:extLst>
              </p:cNvPr>
              <p:cNvGraphicFramePr>
                <a:graphicFrameLocks noChangeAspect="1"/>
              </p:cNvGraphicFramePr>
              <p:nvPr>
                <p:extLst>
                  <p:ext uri="{D42A27DB-BD31-4B8C-83A1-F6EECF244321}">
                    <p14:modId xmlns:p14="http://schemas.microsoft.com/office/powerpoint/2010/main" val="2988020764"/>
                  </p:ext>
                </p:extLst>
              </p:nvPr>
            </p:nvGraphicFramePr>
            <p:xfrm>
              <a:off x="838200" y="0"/>
              <a:ext cx="10515600" cy="6858000"/>
            </p:xfrm>
            <a:graphic>
              <a:graphicData uri="http://schemas.microsoft.com/office/powerpoint/2016/summaryzoom">
                <psuz:summaryZm>
                  <psuz:gridLayout/>
                </psuz:summaryZm>
              </a:graphicData>
            </a:graphic>
          </p:graphicFrame>
        </mc:Choice>
        <mc:Fallback>
          <p:grpSp>
            <p:nvGrpSpPr>
              <p:cNvPr id="5" name="Summary Zoom 4">
                <a:extLst>
                  <a:ext uri="{FF2B5EF4-FFF2-40B4-BE49-F238E27FC236}">
                    <a16:creationId xmlns:a16="http://schemas.microsoft.com/office/drawing/2014/main" id="{9727D4F0-47C5-495C-9DAF-BE6C8223B2CB}"/>
                  </a:ext>
                </a:extLst>
              </p:cNvPr>
              <p:cNvGrpSpPr>
                <a:grpSpLocks noGrp="1" noUngrp="1" noRot="1" noChangeAspect="1" noMove="1" noResize="1"/>
              </p:cNvGrpSpPr>
              <p:nvPr/>
            </p:nvGrpSpPr>
            <p:grpSpPr>
              <a:xfrm>
                <a:off x="838200" y="0"/>
                <a:ext cx="10515600" cy="6858000"/>
                <a:chOff x="838200" y="0"/>
                <a:chExt cx="10515600" cy="6858000"/>
              </a:xfrm>
            </p:grpSpPr>
          </p:grpSp>
        </mc:Fallback>
      </mc:AlternateContent>
      <p:sp>
        <p:nvSpPr>
          <p:cNvPr id="7" name="TextBox 6">
            <a:extLst>
              <a:ext uri="{FF2B5EF4-FFF2-40B4-BE49-F238E27FC236}">
                <a16:creationId xmlns:a16="http://schemas.microsoft.com/office/drawing/2014/main" id="{FFFCDC79-DD8C-4138-B0CA-2F2CB49BF192}"/>
              </a:ext>
            </a:extLst>
          </p:cNvPr>
          <p:cNvSpPr txBox="1"/>
          <p:nvPr/>
        </p:nvSpPr>
        <p:spPr>
          <a:xfrm>
            <a:off x="3157533" y="2273399"/>
            <a:ext cx="5876930" cy="398570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15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ontent</a:t>
            </a:r>
            <a:endParaRPr kumimoji="0" lang="en-MY" sz="166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13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9" name="TextBox 8">
            <a:extLst>
              <a:ext uri="{FF2B5EF4-FFF2-40B4-BE49-F238E27FC236}">
                <a16:creationId xmlns:a16="http://schemas.microsoft.com/office/drawing/2014/main" id="{DA9F3D57-6DC2-4476-8413-DF5902C176C5}"/>
              </a:ext>
            </a:extLst>
          </p:cNvPr>
          <p:cNvSpPr txBox="1"/>
          <p:nvPr/>
        </p:nvSpPr>
        <p:spPr>
          <a:xfrm>
            <a:off x="-8566199" y="7716087"/>
            <a:ext cx="31794281" cy="142192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78000" b="1" i="0" u="none" strike="noStrike" kern="1200" cap="none" spc="0" normalizeH="0" baseline="0" noProof="0" dirty="0" err="1">
                <a:ln>
                  <a:noFill/>
                </a:ln>
                <a:solidFill>
                  <a:prstClr val="white"/>
                </a:solidFill>
                <a:effectLst/>
                <a:uLnTx/>
                <a:uFillTx/>
                <a:latin typeface="Century Gothic" panose="020B0502020202020204" pitchFamily="34" charset="0"/>
                <a:ea typeface="+mn-ea"/>
                <a:cs typeface="+mn-cs"/>
              </a:rPr>
              <a:t>hmppt</a:t>
            </a:r>
            <a:endParaRPr kumimoji="0" lang="en-MY" sz="78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13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mc:AlternateContent xmlns:mc="http://schemas.openxmlformats.org/markup-compatibility/2006" xmlns:psez="http://schemas.microsoft.com/office/powerpoint/2016/sectionzoom">
        <mc:Choice Requires="psez">
          <p:graphicFrame>
            <p:nvGraphicFramePr>
              <p:cNvPr id="14" name="Section Zoom 13">
                <a:extLst>
                  <a:ext uri="{FF2B5EF4-FFF2-40B4-BE49-F238E27FC236}">
                    <a16:creationId xmlns:a16="http://schemas.microsoft.com/office/drawing/2014/main" id="{B5B2A7C6-6831-3FFC-3ACB-E7F7754F53CE}"/>
                  </a:ext>
                </a:extLst>
              </p:cNvPr>
              <p:cNvGraphicFramePr>
                <a:graphicFrameLocks noChangeAspect="1"/>
              </p:cNvGraphicFramePr>
              <p:nvPr>
                <p:extLst>
                  <p:ext uri="{D42A27DB-BD31-4B8C-83A1-F6EECF244321}">
                    <p14:modId xmlns:p14="http://schemas.microsoft.com/office/powerpoint/2010/main" val="1811822405"/>
                  </p:ext>
                </p:extLst>
              </p:nvPr>
            </p:nvGraphicFramePr>
            <p:xfrm>
              <a:off x="9097963" y="1656332"/>
              <a:ext cx="3048000" cy="1714500"/>
            </p:xfrm>
            <a:graphic>
              <a:graphicData uri="http://schemas.microsoft.com/office/powerpoint/2016/sectionzoom">
                <psez:sectionZm>
                  <psez:sectionZmObj sectionId="{F21185F9-6EC3-4E60-963D-01DA28214FDF}">
                    <psez:zmPr id="{5DB1DCAF-351D-4D05-A2BE-44295BA08B2A}" transitionDur="1000">
                      <p166:blipFill xmlns:p166="http://schemas.microsoft.com/office/powerpoint/2016/6/main">
                        <a:blip r:embed="rId3"/>
                        <a:stretch>
                          <a:fillRect/>
                        </a:stretch>
                      </p166:blipFill>
                      <p166:spPr xmlns:p166="http://schemas.microsoft.com/office/powerpoint/2016/6/main">
                        <a:xfrm>
                          <a:off x="0" y="0"/>
                          <a:ext cx="3048000" cy="1714500"/>
                        </a:xfrm>
                        <a:prstGeom prst="rect">
                          <a:avLst/>
                        </a:prstGeom>
                        <a:ln w="3175">
                          <a:solidFill>
                            <a:prstClr val="ltGray"/>
                          </a:solidFill>
                        </a:ln>
                      </p166:spPr>
                    </psez:zmPr>
                  </psez:sectionZmObj>
                </psez:sectionZm>
              </a:graphicData>
            </a:graphic>
          </p:graphicFrame>
        </mc:Choice>
        <mc:Fallback xmlns="">
          <p:pic>
            <p:nvPicPr>
              <p:cNvPr id="14" name="Section Zoom 13">
                <a:hlinkClick r:id="rId4" action="ppaction://hlinksldjump"/>
                <a:extLst>
                  <a:ext uri="{FF2B5EF4-FFF2-40B4-BE49-F238E27FC236}">
                    <a16:creationId xmlns:a16="http://schemas.microsoft.com/office/drawing/2014/main" id="{B5B2A7C6-6831-3FFC-3ACB-E7F7754F53CE}"/>
                  </a:ext>
                </a:extLst>
              </p:cNvPr>
              <p:cNvPicPr>
                <a:picLocks noGrp="1" noRot="1" noChangeAspect="1" noMove="1" noResize="1" noEditPoints="1" noAdjustHandles="1" noChangeArrowheads="1" noChangeShapeType="1"/>
              </p:cNvPicPr>
              <p:nvPr/>
            </p:nvPicPr>
            <p:blipFill>
              <a:blip r:embed="rId5"/>
              <a:stretch>
                <a:fillRect/>
              </a:stretch>
            </p:blipFill>
            <p:spPr>
              <a:xfrm>
                <a:off x="9097963" y="1656332"/>
                <a:ext cx="3048000" cy="1714500"/>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16" name="Section Zoom 15">
                <a:extLst>
                  <a:ext uri="{FF2B5EF4-FFF2-40B4-BE49-F238E27FC236}">
                    <a16:creationId xmlns:a16="http://schemas.microsoft.com/office/drawing/2014/main" id="{7443ACF2-0090-2EE1-7298-5F1421864F66}"/>
                  </a:ext>
                </a:extLst>
              </p:cNvPr>
              <p:cNvGraphicFramePr>
                <a:graphicFrameLocks noChangeAspect="1"/>
              </p:cNvGraphicFramePr>
              <p:nvPr>
                <p:extLst>
                  <p:ext uri="{D42A27DB-BD31-4B8C-83A1-F6EECF244321}">
                    <p14:modId xmlns:p14="http://schemas.microsoft.com/office/powerpoint/2010/main" val="1076215021"/>
                  </p:ext>
                </p:extLst>
              </p:nvPr>
            </p:nvGraphicFramePr>
            <p:xfrm>
              <a:off x="9085263" y="3394349"/>
              <a:ext cx="3048000" cy="1714500"/>
            </p:xfrm>
            <a:graphic>
              <a:graphicData uri="http://schemas.microsoft.com/office/powerpoint/2016/sectionzoom">
                <psez:sectionZm>
                  <psez:sectionZmObj sectionId="{5AA40B47-5624-4227-BE22-D682583F25AF}">
                    <psez:zmPr id="{FC6777C8-D844-4710-B79B-122209948751}" transitionDur="1000">
                      <p166:blipFill xmlns:p166="http://schemas.microsoft.com/office/powerpoint/2016/6/main">
                        <a:blip r:embed="rId6"/>
                        <a:stretch>
                          <a:fillRect/>
                        </a:stretch>
                      </p166:blipFill>
                      <p166:spPr xmlns:p166="http://schemas.microsoft.com/office/powerpoint/2016/6/main">
                        <a:xfrm>
                          <a:off x="0" y="0"/>
                          <a:ext cx="3048000" cy="1714500"/>
                        </a:xfrm>
                        <a:prstGeom prst="rect">
                          <a:avLst/>
                        </a:prstGeom>
                        <a:ln w="3175">
                          <a:solidFill>
                            <a:prstClr val="ltGray"/>
                          </a:solidFill>
                        </a:ln>
                      </p166:spPr>
                    </psez:zmPr>
                  </psez:sectionZmObj>
                </psez:sectionZm>
              </a:graphicData>
            </a:graphic>
          </p:graphicFrame>
        </mc:Choice>
        <mc:Fallback xmlns="">
          <p:pic>
            <p:nvPicPr>
              <p:cNvPr id="16" name="Section Zoom 15">
                <a:hlinkClick r:id="rId7" action="ppaction://hlinksldjump"/>
                <a:extLst>
                  <a:ext uri="{FF2B5EF4-FFF2-40B4-BE49-F238E27FC236}">
                    <a16:creationId xmlns:a16="http://schemas.microsoft.com/office/drawing/2014/main" id="{7443ACF2-0090-2EE1-7298-5F1421864F66}"/>
                  </a:ext>
                </a:extLst>
              </p:cNvPr>
              <p:cNvPicPr>
                <a:picLocks noGrp="1" noRot="1" noChangeAspect="1" noMove="1" noResize="1" noEditPoints="1" noAdjustHandles="1" noChangeArrowheads="1" noChangeShapeType="1"/>
              </p:cNvPicPr>
              <p:nvPr/>
            </p:nvPicPr>
            <p:blipFill>
              <a:blip r:embed="rId8"/>
              <a:stretch>
                <a:fillRect/>
              </a:stretch>
            </p:blipFill>
            <p:spPr>
              <a:xfrm>
                <a:off x="9085263" y="3394349"/>
                <a:ext cx="3048000" cy="1714500"/>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18" name="Section Zoom 17">
                <a:extLst>
                  <a:ext uri="{FF2B5EF4-FFF2-40B4-BE49-F238E27FC236}">
                    <a16:creationId xmlns:a16="http://schemas.microsoft.com/office/drawing/2014/main" id="{A077F060-F0C4-FF6F-AF2F-5A338B4AEAFF}"/>
                  </a:ext>
                </a:extLst>
              </p:cNvPr>
              <p:cNvGraphicFramePr>
                <a:graphicFrameLocks noChangeAspect="1"/>
              </p:cNvGraphicFramePr>
              <p:nvPr>
                <p:extLst>
                  <p:ext uri="{D42A27DB-BD31-4B8C-83A1-F6EECF244321}">
                    <p14:modId xmlns:p14="http://schemas.microsoft.com/office/powerpoint/2010/main" val="1464002109"/>
                  </p:ext>
                </p:extLst>
              </p:nvPr>
            </p:nvGraphicFramePr>
            <p:xfrm>
              <a:off x="9061939" y="5150512"/>
              <a:ext cx="3048000" cy="1714500"/>
            </p:xfrm>
            <a:graphic>
              <a:graphicData uri="http://schemas.microsoft.com/office/powerpoint/2016/sectionzoom">
                <psez:sectionZm>
                  <psez:sectionZmObj sectionId="{6E676CF4-E2BD-47E0-97EF-7C366DEA76D6}">
                    <psez:zmPr id="{E5E5E702-D09F-4356-8A96-73E5EBBCC809}" transitionDur="1000">
                      <p166:blipFill xmlns:p166="http://schemas.microsoft.com/office/powerpoint/2016/6/main">
                        <a:blip r:embed="rId9"/>
                        <a:stretch>
                          <a:fillRect/>
                        </a:stretch>
                      </p166:blipFill>
                      <p166:spPr xmlns:p166="http://schemas.microsoft.com/office/powerpoint/2016/6/main">
                        <a:xfrm>
                          <a:off x="0" y="0"/>
                          <a:ext cx="3048000" cy="1714500"/>
                        </a:xfrm>
                        <a:prstGeom prst="rect">
                          <a:avLst/>
                        </a:prstGeom>
                        <a:ln w="3175">
                          <a:solidFill>
                            <a:prstClr val="ltGray"/>
                          </a:solidFill>
                        </a:ln>
                      </p166:spPr>
                    </psez:zmPr>
                  </psez:sectionZmObj>
                </psez:sectionZm>
              </a:graphicData>
            </a:graphic>
          </p:graphicFrame>
        </mc:Choice>
        <mc:Fallback xmlns="">
          <p:pic>
            <p:nvPicPr>
              <p:cNvPr id="18" name="Section Zoom 17">
                <a:hlinkClick r:id="rId10" action="ppaction://hlinksldjump"/>
                <a:extLst>
                  <a:ext uri="{FF2B5EF4-FFF2-40B4-BE49-F238E27FC236}">
                    <a16:creationId xmlns:a16="http://schemas.microsoft.com/office/drawing/2014/main" id="{A077F060-F0C4-FF6F-AF2F-5A338B4AEAFF}"/>
                  </a:ext>
                </a:extLst>
              </p:cNvPr>
              <p:cNvPicPr>
                <a:picLocks noGrp="1" noRot="1" noChangeAspect="1" noMove="1" noResize="1" noEditPoints="1" noAdjustHandles="1" noChangeArrowheads="1" noChangeShapeType="1"/>
              </p:cNvPicPr>
              <p:nvPr/>
            </p:nvPicPr>
            <p:blipFill>
              <a:blip r:embed="rId11"/>
              <a:stretch>
                <a:fillRect/>
              </a:stretch>
            </p:blipFill>
            <p:spPr>
              <a:xfrm>
                <a:off x="9061939" y="5150512"/>
                <a:ext cx="3048000" cy="1714500"/>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20" name="Section Zoom 19">
                <a:extLst>
                  <a:ext uri="{FF2B5EF4-FFF2-40B4-BE49-F238E27FC236}">
                    <a16:creationId xmlns:a16="http://schemas.microsoft.com/office/drawing/2014/main" id="{66CCDEAA-0484-A14D-3710-516F74D2B73A}"/>
                  </a:ext>
                </a:extLst>
              </p:cNvPr>
              <p:cNvGraphicFramePr>
                <a:graphicFrameLocks noChangeAspect="1"/>
              </p:cNvGraphicFramePr>
              <p:nvPr>
                <p:extLst>
                  <p:ext uri="{D42A27DB-BD31-4B8C-83A1-F6EECF244321}">
                    <p14:modId xmlns:p14="http://schemas.microsoft.com/office/powerpoint/2010/main" val="2689592839"/>
                  </p:ext>
                </p:extLst>
              </p:nvPr>
            </p:nvGraphicFramePr>
            <p:xfrm>
              <a:off x="9097963" y="-106659"/>
              <a:ext cx="3048000" cy="1714500"/>
            </p:xfrm>
            <a:graphic>
              <a:graphicData uri="http://schemas.microsoft.com/office/powerpoint/2016/sectionzoom">
                <psez:sectionZm>
                  <psez:sectionZmObj sectionId="{D9FDA72A-4CB3-42C9-BEAA-87C985F2F64E}">
                    <psez:zmPr id="{4D6AB67F-BF65-403C-A4D8-C2C80AD24835}" transitionDur="1000">
                      <p166:blipFill xmlns:p166="http://schemas.microsoft.com/office/powerpoint/2016/6/main">
                        <a:blip r:embed="rId12"/>
                        <a:stretch>
                          <a:fillRect/>
                        </a:stretch>
                      </p166:blipFill>
                      <p166:spPr xmlns:p166="http://schemas.microsoft.com/office/powerpoint/2016/6/main">
                        <a:xfrm>
                          <a:off x="0" y="0"/>
                          <a:ext cx="3048000" cy="1714500"/>
                        </a:xfrm>
                        <a:prstGeom prst="rect">
                          <a:avLst/>
                        </a:prstGeom>
                        <a:ln w="3175">
                          <a:solidFill>
                            <a:prstClr val="ltGray"/>
                          </a:solidFill>
                        </a:ln>
                      </p166:spPr>
                    </psez:zmPr>
                  </psez:sectionZmObj>
                </psez:sectionZm>
              </a:graphicData>
            </a:graphic>
          </p:graphicFrame>
        </mc:Choice>
        <mc:Fallback xmlns="">
          <p:pic>
            <p:nvPicPr>
              <p:cNvPr id="20" name="Section Zoom 19">
                <a:hlinkClick r:id="rId13" action="ppaction://hlinksldjump"/>
                <a:extLst>
                  <a:ext uri="{FF2B5EF4-FFF2-40B4-BE49-F238E27FC236}">
                    <a16:creationId xmlns:a16="http://schemas.microsoft.com/office/drawing/2014/main" id="{66CCDEAA-0484-A14D-3710-516F74D2B73A}"/>
                  </a:ext>
                </a:extLst>
              </p:cNvPr>
              <p:cNvPicPr>
                <a:picLocks noGrp="1" noRot="1" noChangeAspect="1" noMove="1" noResize="1" noEditPoints="1" noAdjustHandles="1" noChangeArrowheads="1" noChangeShapeType="1"/>
              </p:cNvPicPr>
              <p:nvPr/>
            </p:nvPicPr>
            <p:blipFill>
              <a:blip r:embed="rId14"/>
              <a:stretch>
                <a:fillRect/>
              </a:stretch>
            </p:blipFill>
            <p:spPr>
              <a:xfrm>
                <a:off x="9097963" y="-106659"/>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36187724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F1923"/>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85DB707-4781-49F5-A5E1-7366AE8FF70A}"/>
              </a:ext>
            </a:extLst>
          </p:cNvPr>
          <p:cNvPicPr>
            <a:picLocks noChangeAspect="1"/>
          </p:cNvPicPr>
          <p:nvPr/>
        </p:nvPicPr>
        <p:blipFill rotWithShape="1">
          <a:blip r:embed="rId2"/>
          <a:srcRect l="24998" t="18214" b="28661"/>
          <a:stretch/>
        </p:blipFill>
        <p:spPr>
          <a:xfrm>
            <a:off x="0" y="-1"/>
            <a:ext cx="2958214" cy="6858001"/>
          </a:xfrm>
          <a:prstGeom prst="rect">
            <a:avLst/>
          </a:prstGeom>
        </p:spPr>
      </p:pic>
      <p:sp>
        <p:nvSpPr>
          <p:cNvPr id="2" name="Rectangle: Rounded Corners 1">
            <a:extLst>
              <a:ext uri="{FF2B5EF4-FFF2-40B4-BE49-F238E27FC236}">
                <a16:creationId xmlns:a16="http://schemas.microsoft.com/office/drawing/2014/main" id="{6C1FA912-1651-42BA-82BB-535759928345}"/>
              </a:ext>
            </a:extLst>
          </p:cNvPr>
          <p:cNvSpPr/>
          <p:nvPr/>
        </p:nvSpPr>
        <p:spPr>
          <a:xfrm>
            <a:off x="2027384" y="479258"/>
            <a:ext cx="754997" cy="252204"/>
          </a:xfrm>
          <a:prstGeom prst="roundRect">
            <a:avLst>
              <a:gd name="adj" fmla="val 47436"/>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1769A5A3-B2B9-41C1-B552-2EFB4CA90F95}"/>
              </a:ext>
            </a:extLst>
          </p:cNvPr>
          <p:cNvSpPr txBox="1"/>
          <p:nvPr/>
        </p:nvSpPr>
        <p:spPr>
          <a:xfrm>
            <a:off x="822841" y="406078"/>
            <a:ext cx="256192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login  post  profile  chat</a:t>
            </a:r>
          </a:p>
        </p:txBody>
      </p:sp>
      <p:grpSp>
        <p:nvGrpSpPr>
          <p:cNvPr id="103" name="Group 102">
            <a:extLst>
              <a:ext uri="{FF2B5EF4-FFF2-40B4-BE49-F238E27FC236}">
                <a16:creationId xmlns:a16="http://schemas.microsoft.com/office/drawing/2014/main" id="{F926ECC8-3E5C-4D25-8303-6A33A8D46E03}"/>
              </a:ext>
            </a:extLst>
          </p:cNvPr>
          <p:cNvGrpSpPr/>
          <p:nvPr/>
        </p:nvGrpSpPr>
        <p:grpSpPr>
          <a:xfrm>
            <a:off x="5018226" y="1408163"/>
            <a:ext cx="3963207" cy="4496280"/>
            <a:chOff x="5018226" y="1408163"/>
            <a:chExt cx="3963207" cy="4496280"/>
          </a:xfrm>
        </p:grpSpPr>
        <p:sp>
          <p:nvSpPr>
            <p:cNvPr id="8" name="TextBox 7">
              <a:extLst>
                <a:ext uri="{FF2B5EF4-FFF2-40B4-BE49-F238E27FC236}">
                  <a16:creationId xmlns:a16="http://schemas.microsoft.com/office/drawing/2014/main" id="{CD16682A-F438-48CB-991E-18C24605039C}"/>
                </a:ext>
              </a:extLst>
            </p:cNvPr>
            <p:cNvSpPr txBox="1"/>
            <p:nvPr/>
          </p:nvSpPr>
          <p:spPr>
            <a:xfrm>
              <a:off x="5018226" y="1408163"/>
              <a:ext cx="3219151"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400" b="1"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about profile</a:t>
              </a:r>
            </a:p>
          </p:txBody>
        </p:sp>
        <p:sp>
          <p:nvSpPr>
            <p:cNvPr id="9" name="TextBox 8">
              <a:extLst>
                <a:ext uri="{FF2B5EF4-FFF2-40B4-BE49-F238E27FC236}">
                  <a16:creationId xmlns:a16="http://schemas.microsoft.com/office/drawing/2014/main" id="{A08BFEA4-E7C4-4886-9DE7-E529D8A35A40}"/>
                </a:ext>
              </a:extLst>
            </p:cNvPr>
            <p:cNvSpPr txBox="1"/>
            <p:nvPr/>
          </p:nvSpPr>
          <p:spPr>
            <a:xfrm>
              <a:off x="5037267" y="2211124"/>
              <a:ext cx="3944166" cy="3693319"/>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In this project, every user has a profile and he can see how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many </a:t>
              </a: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post</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he has, how many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followers</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and </a:t>
              </a: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following</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he gets.</a:t>
              </a:r>
            </a:p>
            <a:p>
              <a:pPr marL="0" marR="0" lvl="0" indent="0" defTabSz="914400" rtl="0" eaLnBrk="1" fontAlgn="auto" latinLnBrk="0" hangingPunct="1">
                <a:lnSpc>
                  <a:spcPct val="100000"/>
                </a:lnSpc>
                <a:spcBef>
                  <a:spcPts val="0"/>
                </a:spcBef>
                <a:spcAft>
                  <a:spcPts val="0"/>
                </a:spcAft>
                <a:buClrTx/>
                <a:buSzTx/>
                <a:buFontTx/>
                <a:buNone/>
                <a:tabLst/>
                <a:defRPr/>
              </a:pPr>
              <a:endParaRPr lang="en-US" dirty="0">
                <a:solidFill>
                  <a:prstClr val="white">
                    <a:lumMod val="95000"/>
                  </a:prstClr>
                </a:solidFill>
                <a:latin typeface="Poppins" panose="00000500000000000000" pitchFamily="2" charset="0"/>
                <a:cs typeface="Poppins" panose="00000500000000000000" pitchFamily="2"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A user also can </a:t>
              </a: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edit</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his </a:t>
              </a: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profile</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details. </a:t>
              </a:r>
              <a:endParaRPr lang="en-US" dirty="0">
                <a:solidFill>
                  <a:prstClr val="white">
                    <a:lumMod val="95000"/>
                  </a:prstClr>
                </a:solidFill>
                <a:latin typeface="Poppins" panose="00000500000000000000" pitchFamily="2" charset="0"/>
                <a:cs typeface="Poppins" panose="00000500000000000000" pitchFamily="2"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Every user can </a:t>
              </a: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search</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any user and </a:t>
              </a: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follow</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him/her.</a:t>
              </a:r>
            </a:p>
            <a:p>
              <a:pPr marL="0" marR="0" lvl="0" indent="0" defTabSz="914400" rtl="0" eaLnBrk="1" fontAlgn="auto" latinLnBrk="0" hangingPunct="1">
                <a:lnSpc>
                  <a:spcPct val="100000"/>
                </a:lnSpc>
                <a:spcBef>
                  <a:spcPts val="0"/>
                </a:spcBef>
                <a:spcAft>
                  <a:spcPts val="0"/>
                </a:spcAft>
                <a:buClrTx/>
                <a:buSzTx/>
                <a:buFontTx/>
                <a:buNone/>
                <a:tabLst/>
                <a:defRPr/>
              </a:pPr>
              <a:endParaRPr lang="en-US" dirty="0">
                <a:solidFill>
                  <a:prstClr val="white">
                    <a:lumMod val="95000"/>
                  </a:prstClr>
                </a:solidFill>
                <a:latin typeface="Poppins" panose="00000500000000000000" pitchFamily="2" charset="0"/>
                <a:cs typeface="Poppins" panose="00000500000000000000" pitchFamily="2"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Every user has a </a:t>
              </a: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dynamic</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page for their </a:t>
              </a: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profile</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which all </a:t>
              </a:r>
              <a:r>
                <a:rPr kumimoji="0" lang="en-US" sz="180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details</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a:t>
              </a:r>
              <a:endParaRPr kumimoji="0" lang="en-MY"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endParaRPr>
            </a:p>
          </p:txBody>
        </p:sp>
      </p:grpSp>
      <p:pic>
        <p:nvPicPr>
          <p:cNvPr id="95" name="Picture 94">
            <a:extLst>
              <a:ext uri="{FF2B5EF4-FFF2-40B4-BE49-F238E27FC236}">
                <a16:creationId xmlns:a16="http://schemas.microsoft.com/office/drawing/2014/main" id="{F5504B8D-BBD5-4205-93B0-69EB07A7115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470004" y="431945"/>
            <a:ext cx="548031" cy="990981"/>
          </a:xfrm>
          <a:prstGeom prst="rect">
            <a:avLst/>
          </a:prstGeom>
        </p:spPr>
      </p:pic>
      <p:pic>
        <p:nvPicPr>
          <p:cNvPr id="96" name="Picture 95">
            <a:extLst>
              <a:ext uri="{FF2B5EF4-FFF2-40B4-BE49-F238E27FC236}">
                <a16:creationId xmlns:a16="http://schemas.microsoft.com/office/drawing/2014/main" id="{3C4EE967-585A-4507-B3CD-3BB5ED8C486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0075183" y="427817"/>
            <a:ext cx="551830" cy="1014394"/>
          </a:xfrm>
          <a:prstGeom prst="rect">
            <a:avLst/>
          </a:prstGeom>
        </p:spPr>
      </p:pic>
      <p:pic>
        <p:nvPicPr>
          <p:cNvPr id="97" name="Picture 96">
            <a:extLst>
              <a:ext uri="{FF2B5EF4-FFF2-40B4-BE49-F238E27FC236}">
                <a16:creationId xmlns:a16="http://schemas.microsoft.com/office/drawing/2014/main" id="{365EA7EE-3743-43BF-B004-7B161A6E64D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0534188" y="228102"/>
            <a:ext cx="794630" cy="1344247"/>
          </a:xfrm>
          <a:prstGeom prst="rect">
            <a:avLst/>
          </a:prstGeom>
        </p:spPr>
      </p:pic>
      <p:pic>
        <p:nvPicPr>
          <p:cNvPr id="98" name="Picture 97">
            <a:extLst>
              <a:ext uri="{FF2B5EF4-FFF2-40B4-BE49-F238E27FC236}">
                <a16:creationId xmlns:a16="http://schemas.microsoft.com/office/drawing/2014/main" id="{A73A9D7A-44E2-4288-956D-97D13023D66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1235992" y="430955"/>
            <a:ext cx="518485" cy="935396"/>
          </a:xfrm>
          <a:prstGeom prst="rect">
            <a:avLst/>
          </a:prstGeom>
        </p:spPr>
      </p:pic>
      <p:sp>
        <p:nvSpPr>
          <p:cNvPr id="99" name="Isosceles Triangle 98">
            <a:extLst>
              <a:ext uri="{FF2B5EF4-FFF2-40B4-BE49-F238E27FC236}">
                <a16:creationId xmlns:a16="http://schemas.microsoft.com/office/drawing/2014/main" id="{9C570991-A25D-4F57-B8FF-811105B30827}"/>
              </a:ext>
            </a:extLst>
          </p:cNvPr>
          <p:cNvSpPr/>
          <p:nvPr/>
        </p:nvSpPr>
        <p:spPr>
          <a:xfrm>
            <a:off x="10824823" y="1705085"/>
            <a:ext cx="213360" cy="17559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72" name="Group 71">
            <a:extLst>
              <a:ext uri="{FF2B5EF4-FFF2-40B4-BE49-F238E27FC236}">
                <a16:creationId xmlns:a16="http://schemas.microsoft.com/office/drawing/2014/main" id="{A6F931F9-BAE2-4F52-BC15-529545D70DEE}"/>
              </a:ext>
            </a:extLst>
          </p:cNvPr>
          <p:cNvGrpSpPr/>
          <p:nvPr/>
        </p:nvGrpSpPr>
        <p:grpSpPr>
          <a:xfrm>
            <a:off x="288054" y="391276"/>
            <a:ext cx="352425" cy="336551"/>
            <a:chOff x="288054" y="391276"/>
            <a:chExt cx="352425" cy="336551"/>
          </a:xfrm>
        </p:grpSpPr>
        <p:sp>
          <p:nvSpPr>
            <p:cNvPr id="100" name="Rectangle: Rounded Corners 99">
              <a:extLst>
                <a:ext uri="{FF2B5EF4-FFF2-40B4-BE49-F238E27FC236}">
                  <a16:creationId xmlns:a16="http://schemas.microsoft.com/office/drawing/2014/main" id="{061980F9-A541-4B7B-ACEA-141ECCAED2AA}"/>
                </a:ext>
              </a:extLst>
            </p:cNvPr>
            <p:cNvSpPr/>
            <p:nvPr/>
          </p:nvSpPr>
          <p:spPr>
            <a:xfrm>
              <a:off x="288054" y="391276"/>
              <a:ext cx="352425" cy="6985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1" name="Rectangle: Rounded Corners 100">
              <a:extLst>
                <a:ext uri="{FF2B5EF4-FFF2-40B4-BE49-F238E27FC236}">
                  <a16:creationId xmlns:a16="http://schemas.microsoft.com/office/drawing/2014/main" id="{83341450-D029-48FE-BBD3-93693A7FE489}"/>
                </a:ext>
              </a:extLst>
            </p:cNvPr>
            <p:cNvSpPr/>
            <p:nvPr/>
          </p:nvSpPr>
          <p:spPr>
            <a:xfrm>
              <a:off x="288054" y="524625"/>
              <a:ext cx="352425" cy="6985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 name="Rectangle: Rounded Corners 101">
              <a:extLst>
                <a:ext uri="{FF2B5EF4-FFF2-40B4-BE49-F238E27FC236}">
                  <a16:creationId xmlns:a16="http://schemas.microsoft.com/office/drawing/2014/main" id="{6D87AE08-A942-4FC7-839E-F9BDA5C22318}"/>
                </a:ext>
              </a:extLst>
            </p:cNvPr>
            <p:cNvSpPr/>
            <p:nvPr/>
          </p:nvSpPr>
          <p:spPr>
            <a:xfrm>
              <a:off x="288054" y="657974"/>
              <a:ext cx="352425" cy="6985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60" name="Group 59">
            <a:extLst>
              <a:ext uri="{FF2B5EF4-FFF2-40B4-BE49-F238E27FC236}">
                <a16:creationId xmlns:a16="http://schemas.microsoft.com/office/drawing/2014/main" id="{EC1E71CA-549A-20D4-7A22-BD3066638656}"/>
              </a:ext>
            </a:extLst>
          </p:cNvPr>
          <p:cNvGrpSpPr/>
          <p:nvPr/>
        </p:nvGrpSpPr>
        <p:grpSpPr>
          <a:xfrm>
            <a:off x="389239" y="1591314"/>
            <a:ext cx="2179735" cy="4529800"/>
            <a:chOff x="8997543" y="1739138"/>
            <a:chExt cx="2179735" cy="4529800"/>
          </a:xfrm>
        </p:grpSpPr>
        <p:grpSp>
          <p:nvGrpSpPr>
            <p:cNvPr id="61" name="Group 60">
              <a:extLst>
                <a:ext uri="{FF2B5EF4-FFF2-40B4-BE49-F238E27FC236}">
                  <a16:creationId xmlns:a16="http://schemas.microsoft.com/office/drawing/2014/main" id="{1E556C2B-E406-19FE-45F7-34C1A40B602E}"/>
                </a:ext>
              </a:extLst>
            </p:cNvPr>
            <p:cNvGrpSpPr/>
            <p:nvPr/>
          </p:nvGrpSpPr>
          <p:grpSpPr>
            <a:xfrm>
              <a:off x="8997543" y="1739138"/>
              <a:ext cx="2179735" cy="4529800"/>
              <a:chOff x="8997543" y="1739138"/>
              <a:chExt cx="2179735" cy="4529800"/>
            </a:xfrm>
          </p:grpSpPr>
          <p:sp>
            <p:nvSpPr>
              <p:cNvPr id="63" name="Rectangle: Rounded Corners 62">
                <a:extLst>
                  <a:ext uri="{FF2B5EF4-FFF2-40B4-BE49-F238E27FC236}">
                    <a16:creationId xmlns:a16="http://schemas.microsoft.com/office/drawing/2014/main" id="{CBF0B95F-3A0A-64FF-FF99-CD33ADB00E8A}"/>
                  </a:ext>
                </a:extLst>
              </p:cNvPr>
              <p:cNvSpPr/>
              <p:nvPr/>
            </p:nvSpPr>
            <p:spPr>
              <a:xfrm>
                <a:off x="9062336" y="1739138"/>
                <a:ext cx="2114942" cy="4529800"/>
              </a:xfrm>
              <a:prstGeom prst="roundRect">
                <a:avLst/>
              </a:prstGeom>
              <a:blipFill>
                <a:blip r:embed="rId11">
                  <a:extLst>
                    <a:ext uri="{28A0092B-C50C-407E-A947-70E740481C1C}">
                      <a14:useLocalDpi xmlns:a14="http://schemas.microsoft.com/office/drawing/2010/main" val="0"/>
                    </a:ext>
                  </a:extLst>
                </a:blip>
                <a:srcRect/>
                <a:stretch>
                  <a:fillRect l="-26289" r="-27693"/>
                </a:stretch>
              </a:bli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4" name="Rectangle: Rounded Corners 63">
                <a:extLst>
                  <a:ext uri="{FF2B5EF4-FFF2-40B4-BE49-F238E27FC236}">
                    <a16:creationId xmlns:a16="http://schemas.microsoft.com/office/drawing/2014/main" id="{839A1B3F-DE4D-2F59-3D08-406F1A5BD872}"/>
                  </a:ext>
                </a:extLst>
              </p:cNvPr>
              <p:cNvSpPr/>
              <p:nvPr/>
            </p:nvSpPr>
            <p:spPr>
              <a:xfrm>
                <a:off x="9748078" y="6076950"/>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TextBox 64">
                <a:extLst>
                  <a:ext uri="{FF2B5EF4-FFF2-40B4-BE49-F238E27FC236}">
                    <a16:creationId xmlns:a16="http://schemas.microsoft.com/office/drawing/2014/main" id="{88428A80-3A5E-BC83-B930-CE572A3E8D28}"/>
                  </a:ext>
                </a:extLst>
              </p:cNvPr>
              <p:cNvSpPr txBox="1"/>
              <p:nvPr/>
            </p:nvSpPr>
            <p:spPr>
              <a:xfrm>
                <a:off x="8997543" y="5015120"/>
                <a:ext cx="1555234" cy="10156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chat</a:t>
                </a:r>
                <a:endPar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endParaRPr>
              </a:p>
            </p:txBody>
          </p:sp>
          <p:sp>
            <p:nvSpPr>
              <p:cNvPr id="66" name="TextBox 65">
                <a:extLst>
                  <a:ext uri="{FF2B5EF4-FFF2-40B4-BE49-F238E27FC236}">
                    <a16:creationId xmlns:a16="http://schemas.microsoft.com/office/drawing/2014/main" id="{9B4EC310-6DD7-E055-D451-33A8A7CBFC8A}"/>
                  </a:ext>
                </a:extLst>
              </p:cNvPr>
              <p:cNvSpPr txBox="1"/>
              <p:nvPr/>
            </p:nvSpPr>
            <p:spPr>
              <a:xfrm>
                <a:off x="9043600" y="4940970"/>
                <a:ext cx="104067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message</a:t>
                </a:r>
              </a:p>
            </p:txBody>
          </p:sp>
        </p:grpSp>
        <p:pic>
          <p:nvPicPr>
            <p:cNvPr id="62" name="Graphic 61" descr="Send">
              <a:hlinkClick r:id="rId12" action="ppaction://hlinksldjump"/>
              <a:extLst>
                <a:ext uri="{FF2B5EF4-FFF2-40B4-BE49-F238E27FC236}">
                  <a16:creationId xmlns:a16="http://schemas.microsoft.com/office/drawing/2014/main" id="{686368B1-5A87-86E6-B6FE-748A7DB2E56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9721288" y="2633152"/>
              <a:ext cx="914400" cy="914400"/>
            </a:xfrm>
            <a:prstGeom prst="rect">
              <a:avLst/>
            </a:prstGeom>
          </p:spPr>
        </p:pic>
      </p:grpSp>
      <p:grpSp>
        <p:nvGrpSpPr>
          <p:cNvPr id="53" name="Group 52">
            <a:extLst>
              <a:ext uri="{FF2B5EF4-FFF2-40B4-BE49-F238E27FC236}">
                <a16:creationId xmlns:a16="http://schemas.microsoft.com/office/drawing/2014/main" id="{5718CF5C-B022-19A1-AD2F-3F4D353FC11E}"/>
              </a:ext>
            </a:extLst>
          </p:cNvPr>
          <p:cNvGrpSpPr/>
          <p:nvPr/>
        </p:nvGrpSpPr>
        <p:grpSpPr>
          <a:xfrm>
            <a:off x="810490" y="1570113"/>
            <a:ext cx="2127293" cy="4529800"/>
            <a:chOff x="6344887" y="1739138"/>
            <a:chExt cx="2127293" cy="4529800"/>
          </a:xfrm>
        </p:grpSpPr>
        <p:grpSp>
          <p:nvGrpSpPr>
            <p:cNvPr id="54" name="Group 53">
              <a:extLst>
                <a:ext uri="{FF2B5EF4-FFF2-40B4-BE49-F238E27FC236}">
                  <a16:creationId xmlns:a16="http://schemas.microsoft.com/office/drawing/2014/main" id="{0FCDE098-FB35-B081-75F0-902F1E653612}"/>
                </a:ext>
              </a:extLst>
            </p:cNvPr>
            <p:cNvGrpSpPr/>
            <p:nvPr/>
          </p:nvGrpSpPr>
          <p:grpSpPr>
            <a:xfrm>
              <a:off x="6344887" y="1739138"/>
              <a:ext cx="2127293" cy="4529800"/>
              <a:chOff x="6344887" y="1739138"/>
              <a:chExt cx="2127293" cy="4529800"/>
            </a:xfrm>
          </p:grpSpPr>
          <p:sp>
            <p:nvSpPr>
              <p:cNvPr id="56" name="Rectangle: Rounded Corners 55">
                <a:extLst>
                  <a:ext uri="{FF2B5EF4-FFF2-40B4-BE49-F238E27FC236}">
                    <a16:creationId xmlns:a16="http://schemas.microsoft.com/office/drawing/2014/main" id="{1107C86C-B605-FD10-C24C-C1CA01A900D4}"/>
                  </a:ext>
                </a:extLst>
              </p:cNvPr>
              <p:cNvSpPr/>
              <p:nvPr/>
            </p:nvSpPr>
            <p:spPr>
              <a:xfrm>
                <a:off x="6357238" y="1739138"/>
                <a:ext cx="2114942" cy="4529800"/>
              </a:xfrm>
              <a:prstGeom prst="roundRect">
                <a:avLst/>
              </a:prstGeom>
              <a:blipFill>
                <a:blip r:embed="rId15">
                  <a:extLst>
                    <a:ext uri="{28A0092B-C50C-407E-A947-70E740481C1C}">
                      <a14:useLocalDpi xmlns:a14="http://schemas.microsoft.com/office/drawing/2010/main" val="0"/>
                    </a:ext>
                  </a:extLst>
                </a:blip>
                <a:srcRect/>
                <a:stretch>
                  <a:fillRect l="-44972" t="630" r="-26372" b="-630"/>
                </a:stretch>
              </a:bli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Rectangle: Rounded Corners 56">
                <a:extLst>
                  <a:ext uri="{FF2B5EF4-FFF2-40B4-BE49-F238E27FC236}">
                    <a16:creationId xmlns:a16="http://schemas.microsoft.com/office/drawing/2014/main" id="{9FA0D535-016D-DD64-227E-F1B824CFFD46}"/>
                  </a:ext>
                </a:extLst>
              </p:cNvPr>
              <p:cNvSpPr/>
              <p:nvPr/>
            </p:nvSpPr>
            <p:spPr>
              <a:xfrm>
                <a:off x="7042980" y="6038851"/>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TextBox 57">
                <a:extLst>
                  <a:ext uri="{FF2B5EF4-FFF2-40B4-BE49-F238E27FC236}">
                    <a16:creationId xmlns:a16="http://schemas.microsoft.com/office/drawing/2014/main" id="{F1DDF537-6FA6-0BA7-CE62-E4884415ED13}"/>
                  </a:ext>
                </a:extLst>
              </p:cNvPr>
              <p:cNvSpPr txBox="1"/>
              <p:nvPr/>
            </p:nvSpPr>
            <p:spPr>
              <a:xfrm>
                <a:off x="6344887" y="5015120"/>
                <a:ext cx="2105063" cy="9387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55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profile</a:t>
                </a:r>
              </a:p>
            </p:txBody>
          </p:sp>
          <p:sp>
            <p:nvSpPr>
              <p:cNvPr id="59" name="TextBox 58">
                <a:extLst>
                  <a:ext uri="{FF2B5EF4-FFF2-40B4-BE49-F238E27FC236}">
                    <a16:creationId xmlns:a16="http://schemas.microsoft.com/office/drawing/2014/main" id="{46E3534B-8DC1-0BFA-9457-428DCFDF05EF}"/>
                  </a:ext>
                </a:extLst>
              </p:cNvPr>
              <p:cNvSpPr txBox="1"/>
              <p:nvPr/>
            </p:nvSpPr>
            <p:spPr>
              <a:xfrm>
                <a:off x="6457042" y="5046202"/>
                <a:ext cx="76174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Views</a:t>
                </a:r>
              </a:p>
            </p:txBody>
          </p:sp>
        </p:grpSp>
        <p:pic>
          <p:nvPicPr>
            <p:cNvPr id="55" name="Graphic 54" descr="User">
              <a:hlinkClick r:id="rId16" action="ppaction://hlinksldjump"/>
              <a:extLst>
                <a:ext uri="{FF2B5EF4-FFF2-40B4-BE49-F238E27FC236}">
                  <a16:creationId xmlns:a16="http://schemas.microsoft.com/office/drawing/2014/main" id="{EEAB0735-AE94-8B25-3FD4-2B87304D2EB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6940219" y="2615019"/>
              <a:ext cx="914400" cy="914400"/>
            </a:xfrm>
            <a:prstGeom prst="rect">
              <a:avLst/>
            </a:prstGeom>
          </p:spPr>
        </p:pic>
      </p:grpSp>
      <p:grpSp>
        <p:nvGrpSpPr>
          <p:cNvPr id="3" name="Group 2">
            <a:extLst>
              <a:ext uri="{FF2B5EF4-FFF2-40B4-BE49-F238E27FC236}">
                <a16:creationId xmlns:a16="http://schemas.microsoft.com/office/drawing/2014/main" id="{DA7779DC-D4FF-74B5-681C-E712B131E67F}"/>
              </a:ext>
            </a:extLst>
          </p:cNvPr>
          <p:cNvGrpSpPr/>
          <p:nvPr/>
        </p:nvGrpSpPr>
        <p:grpSpPr>
          <a:xfrm>
            <a:off x="12301025" y="1475524"/>
            <a:ext cx="2155690" cy="4529800"/>
            <a:chOff x="973974" y="1718600"/>
            <a:chExt cx="2155690" cy="4529800"/>
          </a:xfrm>
        </p:grpSpPr>
        <p:grpSp>
          <p:nvGrpSpPr>
            <p:cNvPr id="4" name="Group 3">
              <a:extLst>
                <a:ext uri="{FF2B5EF4-FFF2-40B4-BE49-F238E27FC236}">
                  <a16:creationId xmlns:a16="http://schemas.microsoft.com/office/drawing/2014/main" id="{FBCE7D82-006F-1750-F24E-7FBADD36E5F8}"/>
                </a:ext>
              </a:extLst>
            </p:cNvPr>
            <p:cNvGrpSpPr/>
            <p:nvPr/>
          </p:nvGrpSpPr>
          <p:grpSpPr>
            <a:xfrm>
              <a:off x="973974" y="1718600"/>
              <a:ext cx="2155690" cy="4529800"/>
              <a:chOff x="973974" y="1718600"/>
              <a:chExt cx="2155690" cy="4529800"/>
            </a:xfrm>
            <a:blipFill>
              <a:blip r:embed="rId19">
                <a:extLst>
                  <a:ext uri="{28A0092B-C50C-407E-A947-70E740481C1C}">
                    <a14:useLocalDpi xmlns:a14="http://schemas.microsoft.com/office/drawing/2010/main" val="0"/>
                  </a:ext>
                </a:extLst>
              </a:blip>
              <a:stretch>
                <a:fillRect/>
              </a:stretch>
            </a:blipFill>
          </p:grpSpPr>
          <p:sp>
            <p:nvSpPr>
              <p:cNvPr id="7" name="Rectangle: Rounded Corners 6">
                <a:extLst>
                  <a:ext uri="{FF2B5EF4-FFF2-40B4-BE49-F238E27FC236}">
                    <a16:creationId xmlns:a16="http://schemas.microsoft.com/office/drawing/2014/main" id="{7F922FB4-A26D-BADD-FF72-0E7DC548FBE1}"/>
                  </a:ext>
                </a:extLst>
              </p:cNvPr>
              <p:cNvSpPr/>
              <p:nvPr/>
            </p:nvSpPr>
            <p:spPr>
              <a:xfrm>
                <a:off x="1014722" y="1718600"/>
                <a:ext cx="2114942" cy="4529800"/>
              </a:xfrm>
              <a:prstGeom prst="roundRect">
                <a:avLst/>
              </a:prstGeom>
              <a:gr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Rounded Corners 11">
                <a:extLst>
                  <a:ext uri="{FF2B5EF4-FFF2-40B4-BE49-F238E27FC236}">
                    <a16:creationId xmlns:a16="http://schemas.microsoft.com/office/drawing/2014/main" id="{DC0C4A60-52A4-E89E-1D22-8895A5D36CD3}"/>
                  </a:ext>
                </a:extLst>
              </p:cNvPr>
              <p:cNvSpPr/>
              <p:nvPr/>
            </p:nvSpPr>
            <p:spPr>
              <a:xfrm>
                <a:off x="1700464" y="6076950"/>
                <a:ext cx="743457" cy="76198"/>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F99F4C33-D580-69EA-7145-BD5BC6C00010}"/>
                  </a:ext>
                </a:extLst>
              </p:cNvPr>
              <p:cNvSpPr txBox="1"/>
              <p:nvPr/>
            </p:nvSpPr>
            <p:spPr>
              <a:xfrm>
                <a:off x="973974" y="4966035"/>
                <a:ext cx="1819729" cy="1015663"/>
              </a:xfrm>
              <a:prstGeom prst="rect">
                <a:avLst/>
              </a:prstGeom>
              <a:grp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login</a:t>
                </a:r>
                <a:endPar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endParaRPr>
              </a:p>
            </p:txBody>
          </p:sp>
          <p:sp>
            <p:nvSpPr>
              <p:cNvPr id="16" name="TextBox 15">
                <a:extLst>
                  <a:ext uri="{FF2B5EF4-FFF2-40B4-BE49-F238E27FC236}">
                    <a16:creationId xmlns:a16="http://schemas.microsoft.com/office/drawing/2014/main" id="{2E309C1F-6871-E7CB-C386-183278520402}"/>
                  </a:ext>
                </a:extLst>
              </p:cNvPr>
              <p:cNvSpPr txBox="1"/>
              <p:nvPr/>
            </p:nvSpPr>
            <p:spPr>
              <a:xfrm>
                <a:off x="1014722" y="4896377"/>
                <a:ext cx="94128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security</a:t>
                </a:r>
              </a:p>
            </p:txBody>
          </p:sp>
        </p:grpSp>
        <p:sp>
          <p:nvSpPr>
            <p:cNvPr id="5" name="Rectangle: Rounded Corners 4">
              <a:extLst>
                <a:ext uri="{FF2B5EF4-FFF2-40B4-BE49-F238E27FC236}">
                  <a16:creationId xmlns:a16="http://schemas.microsoft.com/office/drawing/2014/main" id="{AE5B305D-2BAE-6DF3-8BEF-91785174A2E8}"/>
                </a:ext>
              </a:extLst>
            </p:cNvPr>
            <p:cNvSpPr/>
            <p:nvPr/>
          </p:nvSpPr>
          <p:spPr>
            <a:xfrm>
              <a:off x="1706111" y="5972378"/>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Graphic 5" descr="Lock">
              <a:hlinkClick r:id="rId20" action="ppaction://hlinksldjump"/>
              <a:extLst>
                <a:ext uri="{FF2B5EF4-FFF2-40B4-BE49-F238E27FC236}">
                  <a16:creationId xmlns:a16="http://schemas.microsoft.com/office/drawing/2014/main" id="{01B235A2-B59F-05F6-5FF4-46B93CD1DDE9}"/>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p:blipFill>
          <p:spPr>
            <a:xfrm>
              <a:off x="1481811" y="2589204"/>
              <a:ext cx="1180759" cy="1180759"/>
            </a:xfrm>
            <a:prstGeom prst="rect">
              <a:avLst/>
            </a:prstGeom>
          </p:spPr>
        </p:pic>
      </p:grpSp>
      <p:grpSp>
        <p:nvGrpSpPr>
          <p:cNvPr id="17" name="Group 16">
            <a:extLst>
              <a:ext uri="{FF2B5EF4-FFF2-40B4-BE49-F238E27FC236}">
                <a16:creationId xmlns:a16="http://schemas.microsoft.com/office/drawing/2014/main" id="{DC8253AF-F0D1-D74D-415F-32D771680D91}"/>
              </a:ext>
            </a:extLst>
          </p:cNvPr>
          <p:cNvGrpSpPr/>
          <p:nvPr/>
        </p:nvGrpSpPr>
        <p:grpSpPr>
          <a:xfrm>
            <a:off x="12760622" y="1475524"/>
            <a:ext cx="2114942" cy="4529800"/>
            <a:chOff x="3719822" y="1739138"/>
            <a:chExt cx="2114942" cy="4529800"/>
          </a:xfrm>
        </p:grpSpPr>
        <p:grpSp>
          <p:nvGrpSpPr>
            <p:cNvPr id="18" name="Group 17">
              <a:extLst>
                <a:ext uri="{FF2B5EF4-FFF2-40B4-BE49-F238E27FC236}">
                  <a16:creationId xmlns:a16="http://schemas.microsoft.com/office/drawing/2014/main" id="{40E44162-B08B-8BC4-3D73-0186A7D72100}"/>
                </a:ext>
              </a:extLst>
            </p:cNvPr>
            <p:cNvGrpSpPr/>
            <p:nvPr/>
          </p:nvGrpSpPr>
          <p:grpSpPr>
            <a:xfrm>
              <a:off x="3719822" y="1739138"/>
              <a:ext cx="2114942" cy="4529800"/>
              <a:chOff x="3719822" y="1739138"/>
              <a:chExt cx="2114942" cy="4529800"/>
            </a:xfrm>
          </p:grpSpPr>
          <p:sp>
            <p:nvSpPr>
              <p:cNvPr id="20" name="Rectangle: Rounded Corners 19">
                <a:extLst>
                  <a:ext uri="{FF2B5EF4-FFF2-40B4-BE49-F238E27FC236}">
                    <a16:creationId xmlns:a16="http://schemas.microsoft.com/office/drawing/2014/main" id="{B83F420B-FD35-EE68-9DB9-582873CFE81E}"/>
                  </a:ext>
                </a:extLst>
              </p:cNvPr>
              <p:cNvSpPr/>
              <p:nvPr/>
            </p:nvSpPr>
            <p:spPr>
              <a:xfrm>
                <a:off x="3719822" y="1739138"/>
                <a:ext cx="2114942" cy="4529800"/>
              </a:xfrm>
              <a:prstGeom prst="roundRect">
                <a:avLst/>
              </a:prstGeom>
              <a:blipFill>
                <a:blip r:embed="rId23">
                  <a:extLst>
                    <a:ext uri="{28A0092B-C50C-407E-A947-70E740481C1C}">
                      <a14:useLocalDpi xmlns:a14="http://schemas.microsoft.com/office/drawing/2010/main" val="0"/>
                    </a:ext>
                  </a:extLst>
                </a:blip>
                <a:stretch>
                  <a:fillRect/>
                </a:stretch>
              </a:bli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Rectangle: Rounded Corners 20">
                <a:extLst>
                  <a:ext uri="{FF2B5EF4-FFF2-40B4-BE49-F238E27FC236}">
                    <a16:creationId xmlns:a16="http://schemas.microsoft.com/office/drawing/2014/main" id="{E038D94E-8548-F5FE-9480-77E1FCEDD2B2}"/>
                  </a:ext>
                </a:extLst>
              </p:cNvPr>
              <p:cNvSpPr/>
              <p:nvPr/>
            </p:nvSpPr>
            <p:spPr>
              <a:xfrm>
                <a:off x="4405564" y="6076950"/>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743C3814-9333-B56F-3B7D-3A292D242DF4}"/>
                  </a:ext>
                </a:extLst>
              </p:cNvPr>
              <p:cNvSpPr txBox="1"/>
              <p:nvPr/>
            </p:nvSpPr>
            <p:spPr>
              <a:xfrm>
                <a:off x="3883954" y="4940970"/>
                <a:ext cx="1771639"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6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post</a:t>
                </a:r>
                <a:endPar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endParaRPr>
              </a:p>
            </p:txBody>
          </p:sp>
          <p:sp>
            <p:nvSpPr>
              <p:cNvPr id="23" name="TextBox 22">
                <a:extLst>
                  <a:ext uri="{FF2B5EF4-FFF2-40B4-BE49-F238E27FC236}">
                    <a16:creationId xmlns:a16="http://schemas.microsoft.com/office/drawing/2014/main" id="{A58DDAB5-730C-6BA6-BEFD-5B586B74465F}"/>
                  </a:ext>
                </a:extLst>
              </p:cNvPr>
              <p:cNvSpPr txBox="1"/>
              <p:nvPr/>
            </p:nvSpPr>
            <p:spPr>
              <a:xfrm>
                <a:off x="3883954" y="4990055"/>
                <a:ext cx="92845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Feature</a:t>
                </a:r>
              </a:p>
            </p:txBody>
          </p:sp>
        </p:grpSp>
        <p:pic>
          <p:nvPicPr>
            <p:cNvPr id="19" name="Graphic 18" descr="Mailbox">
              <a:hlinkClick r:id="rId24" action="ppaction://hlinksldjump"/>
              <a:extLst>
                <a:ext uri="{FF2B5EF4-FFF2-40B4-BE49-F238E27FC236}">
                  <a16:creationId xmlns:a16="http://schemas.microsoft.com/office/drawing/2014/main" id="{AE326DF1-FCDB-06F3-E5AB-1DC4EC683A0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rcRect/>
            <a:stretch/>
          </p:blipFill>
          <p:spPr>
            <a:xfrm>
              <a:off x="4365472" y="2656589"/>
              <a:ext cx="914400" cy="914400"/>
            </a:xfrm>
            <a:prstGeom prst="rect">
              <a:avLst/>
            </a:prstGeom>
          </p:spPr>
        </p:pic>
      </p:grpSp>
    </p:spTree>
    <p:extLst>
      <p:ext uri="{BB962C8B-B14F-4D97-AF65-F5344CB8AC3E}">
        <p14:creationId xmlns:p14="http://schemas.microsoft.com/office/powerpoint/2010/main" val="41598208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advTm="1000">
        <p159:morph option="byObject"/>
      </p:transition>
    </mc:Choice>
    <mc:Fallback xmlns="">
      <p:transition spd="slow" advTm="1000">
        <p:fade/>
      </p:transition>
    </mc:Fallback>
  </mc:AlternateContent>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Hover r:id="rId2" action="ppaction://hlinksldjump"/>
            <a:extLst>
              <a:ext uri="{FF2B5EF4-FFF2-40B4-BE49-F238E27FC236}">
                <a16:creationId xmlns:a16="http://schemas.microsoft.com/office/drawing/2014/main" id="{A537CA44-DE10-4502-A603-A0D76E4B8483}"/>
              </a:ext>
            </a:extLst>
          </p:cNvPr>
          <p:cNvSpPr>
            <a:spLocks noGrp="1" noRot="1" noMove="1" noResize="1" noEditPoints="1" noAdjustHandles="1" noChangeArrowheads="1" noChangeShapeType="1"/>
          </p:cNvSpPr>
          <p:nvPr/>
        </p:nvSpPr>
        <p:spPr>
          <a:xfrm>
            <a:off x="0" y="0"/>
            <a:ext cx="12217065" cy="6858000"/>
          </a:xfrm>
          <a:prstGeom prst="rect">
            <a:avLst/>
          </a:prstGeom>
          <a:solidFill>
            <a:srgbClr val="E1F6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srgbClr val="E2F6F3"/>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585F40CE-D8D9-43E3-BCFE-77C69D46CD40}"/>
              </a:ext>
            </a:extLst>
          </p:cNvPr>
          <p:cNvSpPr/>
          <p:nvPr/>
        </p:nvSpPr>
        <p:spPr>
          <a:xfrm>
            <a:off x="5648403" y="-2670387"/>
            <a:ext cx="6011835" cy="6011835"/>
          </a:xfrm>
          <a:prstGeom prst="ellipse">
            <a:avLst/>
          </a:prstGeom>
          <a:solidFill>
            <a:srgbClr val="DFA9C3">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ACD0D498-A300-4A89-BB57-1C79DC8EC8B7}"/>
              </a:ext>
            </a:extLst>
          </p:cNvPr>
          <p:cNvSpPr/>
          <p:nvPr/>
        </p:nvSpPr>
        <p:spPr>
          <a:xfrm>
            <a:off x="6258240" y="-1910652"/>
            <a:ext cx="4726530" cy="4726530"/>
          </a:xfrm>
          <a:prstGeom prst="ellipse">
            <a:avLst/>
          </a:prstGeom>
          <a:solidFill>
            <a:srgbClr val="749AA2">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40FDD799-B847-477F-9B64-A154E2152C98}"/>
              </a:ext>
            </a:extLst>
          </p:cNvPr>
          <p:cNvSpPr/>
          <p:nvPr/>
        </p:nvSpPr>
        <p:spPr>
          <a:xfrm rot="7681175">
            <a:off x="6553631" y="-1555332"/>
            <a:ext cx="4135748" cy="4019507"/>
          </a:xfrm>
          <a:prstGeom prst="ellipse">
            <a:avLst/>
          </a:prstGeom>
          <a:gradFill flip="none" rotWithShape="1">
            <a:gsLst>
              <a:gs pos="0">
                <a:srgbClr val="628890"/>
              </a:gs>
              <a:gs pos="34000">
                <a:srgbClr val="48ACA7"/>
              </a:gs>
              <a:gs pos="100000">
                <a:srgbClr val="E2FDFE"/>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 name="Group 4">
            <a:extLst>
              <a:ext uri="{FF2B5EF4-FFF2-40B4-BE49-F238E27FC236}">
                <a16:creationId xmlns:a16="http://schemas.microsoft.com/office/drawing/2014/main" id="{6622396C-2DA3-4406-98C3-8EDC1895A0D7}"/>
              </a:ext>
            </a:extLst>
          </p:cNvPr>
          <p:cNvGrpSpPr>
            <a:grpSpLocks/>
          </p:cNvGrpSpPr>
          <p:nvPr/>
        </p:nvGrpSpPr>
        <p:grpSpPr>
          <a:xfrm>
            <a:off x="5263349" y="1"/>
            <a:ext cx="6953716" cy="6857998"/>
            <a:chOff x="5263347" y="1"/>
            <a:chExt cx="6953716" cy="6857998"/>
          </a:xfrm>
        </p:grpSpPr>
        <p:pic>
          <p:nvPicPr>
            <p:cNvPr id="23" name="Picture 22" descr="A person standing on a stage&#10;&#10;Description automatically generated with low confidence">
              <a:extLst>
                <a:ext uri="{FF2B5EF4-FFF2-40B4-BE49-F238E27FC236}">
                  <a16:creationId xmlns:a16="http://schemas.microsoft.com/office/drawing/2014/main" id="{31DDA5C8-56CD-4F5A-BFC5-01A3DC42DD2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 r="6348" b="46416"/>
            <a:stretch/>
          </p:blipFill>
          <p:spPr>
            <a:xfrm flipH="1">
              <a:off x="5263348" y="1"/>
              <a:ext cx="6953715" cy="4457700"/>
            </a:xfrm>
            <a:prstGeom prst="rect">
              <a:avLst/>
            </a:prstGeom>
          </p:spPr>
        </p:pic>
        <p:pic>
          <p:nvPicPr>
            <p:cNvPr id="26" name="Picture 25" descr="A person standing on a stage&#10;&#10;Description automatically generated with low confidence">
              <a:hlinkHover r:id="rId2" action="ppaction://hlinksldjump"/>
              <a:extLst>
                <a:ext uri="{FF2B5EF4-FFF2-40B4-BE49-F238E27FC236}">
                  <a16:creationId xmlns:a16="http://schemas.microsoft.com/office/drawing/2014/main" id="{ACB8777B-30E8-4B7D-91BA-D85E0C7C875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flipH="1">
              <a:off x="5263347" y="4381712"/>
              <a:ext cx="6953715" cy="2476287"/>
            </a:xfrm>
            <a:prstGeom prst="rect">
              <a:avLst/>
            </a:prstGeom>
          </p:spPr>
        </p:pic>
      </p:grpSp>
      <p:sp>
        <p:nvSpPr>
          <p:cNvPr id="18" name="Rectangle: Rounded Corners 17">
            <a:hlinkHover r:id="rId5" action="ppaction://hlinksldjump"/>
            <a:extLst>
              <a:ext uri="{FF2B5EF4-FFF2-40B4-BE49-F238E27FC236}">
                <a16:creationId xmlns:a16="http://schemas.microsoft.com/office/drawing/2014/main" id="{BF26927F-C9FB-427D-81FA-7CB0153130E9}"/>
              </a:ext>
            </a:extLst>
          </p:cNvPr>
          <p:cNvSpPr/>
          <p:nvPr/>
        </p:nvSpPr>
        <p:spPr>
          <a:xfrm>
            <a:off x="795499" y="3142442"/>
            <a:ext cx="1428256" cy="973261"/>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Rounded Corners 18">
            <a:extLst>
              <a:ext uri="{FF2B5EF4-FFF2-40B4-BE49-F238E27FC236}">
                <a16:creationId xmlns:a16="http://schemas.microsoft.com/office/drawing/2014/main" id="{D2A0F648-5F40-4AF0-A0B9-C0D33CBF9DD3}"/>
              </a:ext>
            </a:extLst>
          </p:cNvPr>
          <p:cNvSpPr/>
          <p:nvPr/>
        </p:nvSpPr>
        <p:spPr>
          <a:xfrm>
            <a:off x="2384067" y="3142442"/>
            <a:ext cx="1428256" cy="973261"/>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26" name="Picture 2" descr="backpack green Illustration in PNG, SVG">
            <a:hlinkHover r:id="rId5" action="ppaction://hlinksldjump"/>
            <a:extLst>
              <a:ext uri="{FF2B5EF4-FFF2-40B4-BE49-F238E27FC236}">
                <a16:creationId xmlns:a16="http://schemas.microsoft.com/office/drawing/2014/main" id="{47110F0F-B32D-48F8-8EEC-F1114E53761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00150" y="3300703"/>
            <a:ext cx="697410" cy="719204"/>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a:extLst>
              <a:ext uri="{FF2B5EF4-FFF2-40B4-BE49-F238E27FC236}">
                <a16:creationId xmlns:a16="http://schemas.microsoft.com/office/drawing/2014/main" id="{1AEC77CB-A131-4E46-A2EB-0060F5230A15}"/>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670344" y="3237564"/>
            <a:ext cx="867204" cy="773375"/>
          </a:xfrm>
          <a:prstGeom prst="rect">
            <a:avLst/>
          </a:prstGeom>
        </p:spPr>
      </p:pic>
      <p:sp>
        <p:nvSpPr>
          <p:cNvPr id="29" name="Oval 28">
            <a:extLst>
              <a:ext uri="{FF2B5EF4-FFF2-40B4-BE49-F238E27FC236}">
                <a16:creationId xmlns:a16="http://schemas.microsoft.com/office/drawing/2014/main" id="{90E80591-D4A2-45CA-B783-B396E94DDDE2}"/>
              </a:ext>
            </a:extLst>
          </p:cNvPr>
          <p:cNvSpPr/>
          <p:nvPr/>
        </p:nvSpPr>
        <p:spPr>
          <a:xfrm rot="7681175">
            <a:off x="-1055678" y="5141923"/>
            <a:ext cx="2771936" cy="2694027"/>
          </a:xfrm>
          <a:prstGeom prst="ellipse">
            <a:avLst/>
          </a:prstGeom>
          <a:gradFill flip="none" rotWithShape="1">
            <a:gsLst>
              <a:gs pos="0">
                <a:srgbClr val="628890"/>
              </a:gs>
              <a:gs pos="34000">
                <a:srgbClr val="48ACA7"/>
              </a:gs>
              <a:gs pos="100000">
                <a:srgbClr val="E2FDFE"/>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17CB376C-3DCE-40D4-A23E-46ADE4B431F0}"/>
              </a:ext>
            </a:extLst>
          </p:cNvPr>
          <p:cNvSpPr txBox="1"/>
          <p:nvPr/>
        </p:nvSpPr>
        <p:spPr>
          <a:xfrm>
            <a:off x="4386579" y="5132443"/>
            <a:ext cx="180495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srgbClr val="628890"/>
                </a:solidFill>
                <a:effectLst/>
                <a:uLnTx/>
                <a:uFillTx/>
                <a:latin typeface="Century Gothic" panose="020B0502020202020204" pitchFamily="34" charset="0"/>
                <a:ea typeface="+mn-ea"/>
                <a:cs typeface="+mn-cs"/>
              </a:rPr>
              <a:t>RAVI KISHAN</a:t>
            </a:r>
          </a:p>
        </p:txBody>
      </p:sp>
      <p:sp>
        <p:nvSpPr>
          <p:cNvPr id="20" name="Rectangle: Rounded Corners 19">
            <a:extLst>
              <a:ext uri="{FF2B5EF4-FFF2-40B4-BE49-F238E27FC236}">
                <a16:creationId xmlns:a16="http://schemas.microsoft.com/office/drawing/2014/main" id="{CFAF2C0B-1E62-4B06-A998-26420AF81655}"/>
              </a:ext>
            </a:extLst>
          </p:cNvPr>
          <p:cNvSpPr/>
          <p:nvPr/>
        </p:nvSpPr>
        <p:spPr>
          <a:xfrm>
            <a:off x="3965784" y="3129858"/>
            <a:ext cx="2594343" cy="1767872"/>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5" name="Picture 34">
            <a:extLst>
              <a:ext uri="{FF2B5EF4-FFF2-40B4-BE49-F238E27FC236}">
                <a16:creationId xmlns:a16="http://schemas.microsoft.com/office/drawing/2014/main" id="{24B4B673-D9BB-4577-A135-9813EC5EDC6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9320044">
            <a:off x="4474041" y="3325343"/>
            <a:ext cx="1431057" cy="1423255"/>
          </a:xfrm>
          <a:prstGeom prst="rect">
            <a:avLst/>
          </a:prstGeom>
        </p:spPr>
      </p:pic>
      <p:sp>
        <p:nvSpPr>
          <p:cNvPr id="42" name="TextBox 41">
            <a:extLst>
              <a:ext uri="{FF2B5EF4-FFF2-40B4-BE49-F238E27FC236}">
                <a16:creationId xmlns:a16="http://schemas.microsoft.com/office/drawing/2014/main" id="{C57BC915-CF15-5AD4-755B-D0CAF612B0FF}"/>
              </a:ext>
            </a:extLst>
          </p:cNvPr>
          <p:cNvSpPr txBox="1"/>
          <p:nvPr/>
        </p:nvSpPr>
        <p:spPr>
          <a:xfrm>
            <a:off x="713543" y="452613"/>
            <a:ext cx="6223178" cy="13234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8000" b="1" i="0" u="none" strike="noStrike" kern="1200" cap="none" spc="0" normalizeH="0" baseline="0" noProof="0" dirty="0">
                <a:ln>
                  <a:noFill/>
                </a:ln>
                <a:solidFill>
                  <a:srgbClr val="5E848C"/>
                </a:solidFill>
                <a:effectLst/>
                <a:uLnTx/>
                <a:uFillTx/>
                <a:latin typeface="Adam Bold" panose="02000403000000000000" pitchFamily="2" charset="0"/>
                <a:ea typeface="+mn-ea"/>
                <a:cs typeface="+mn-cs"/>
              </a:rPr>
              <a:t>TEAMMATES</a:t>
            </a:r>
          </a:p>
        </p:txBody>
      </p:sp>
      <p:sp>
        <p:nvSpPr>
          <p:cNvPr id="43" name="TextBox 42">
            <a:extLst>
              <a:ext uri="{FF2B5EF4-FFF2-40B4-BE49-F238E27FC236}">
                <a16:creationId xmlns:a16="http://schemas.microsoft.com/office/drawing/2014/main" id="{A97ABC5B-654B-90E9-E8F1-20D8E7B4BF7B}"/>
              </a:ext>
            </a:extLst>
          </p:cNvPr>
          <p:cNvSpPr txBox="1"/>
          <p:nvPr/>
        </p:nvSpPr>
        <p:spPr>
          <a:xfrm>
            <a:off x="783331" y="1459602"/>
            <a:ext cx="6332795"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800" b="1" i="0" u="none" strike="noStrike" kern="1200" cap="none" spc="0" normalizeH="0" baseline="0" noProof="0" dirty="0">
                <a:ln>
                  <a:noFill/>
                </a:ln>
                <a:solidFill>
                  <a:srgbClr val="48ACA7"/>
                </a:solidFill>
                <a:effectLst/>
                <a:uLnTx/>
                <a:uFillTx/>
                <a:latin typeface="Adam Bold" panose="02000403000000000000" pitchFamily="2" charset="0"/>
                <a:ea typeface="+mn-ea"/>
                <a:cs typeface="+mn-cs"/>
              </a:rPr>
              <a:t>and their contribution</a:t>
            </a:r>
            <a:endParaRPr kumimoji="0" lang="en-MY" sz="7200" b="0" i="0" u="none" strike="noStrike" kern="1200" cap="none" spc="0" normalizeH="0" baseline="0" noProof="0" dirty="0">
              <a:ln>
                <a:noFill/>
              </a:ln>
              <a:solidFill>
                <a:srgbClr val="48ACA7"/>
              </a:solidFill>
              <a:effectLst/>
              <a:uLnTx/>
              <a:uFillTx/>
              <a:latin typeface="Calibri" panose="020F0502020204030204"/>
              <a:ea typeface="+mn-ea"/>
              <a:cs typeface="+mn-cs"/>
            </a:endParaRPr>
          </a:p>
        </p:txBody>
      </p:sp>
      <p:sp>
        <p:nvSpPr>
          <p:cNvPr id="44" name="Rectangle: Rounded Corners 43">
            <a:extLst>
              <a:ext uri="{FF2B5EF4-FFF2-40B4-BE49-F238E27FC236}">
                <a16:creationId xmlns:a16="http://schemas.microsoft.com/office/drawing/2014/main" id="{AF5B2C12-A453-344E-7333-12CE2F3187E2}"/>
              </a:ext>
            </a:extLst>
          </p:cNvPr>
          <p:cNvSpPr/>
          <p:nvPr/>
        </p:nvSpPr>
        <p:spPr>
          <a:xfrm>
            <a:off x="6789204" y="3187675"/>
            <a:ext cx="1428256" cy="944428"/>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5" name="Picture 44">
            <a:extLst>
              <a:ext uri="{FF2B5EF4-FFF2-40B4-BE49-F238E27FC236}">
                <a16:creationId xmlns:a16="http://schemas.microsoft.com/office/drawing/2014/main" id="{D989A534-B403-87A5-0BD8-B94488985A3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132206" y="3313988"/>
            <a:ext cx="698400" cy="694592"/>
          </a:xfrm>
          <a:prstGeom prst="rect">
            <a:avLst/>
          </a:prstGeom>
        </p:spPr>
      </p:pic>
    </p:spTree>
    <p:extLst>
      <p:ext uri="{BB962C8B-B14F-4D97-AF65-F5344CB8AC3E}">
        <p14:creationId xmlns:p14="http://schemas.microsoft.com/office/powerpoint/2010/main" val="189867371"/>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F1923"/>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85DB707-4781-49F5-A5E1-7366AE8FF70A}"/>
              </a:ext>
            </a:extLst>
          </p:cNvPr>
          <p:cNvPicPr>
            <a:picLocks noChangeAspect="1"/>
          </p:cNvPicPr>
          <p:nvPr/>
        </p:nvPicPr>
        <p:blipFill rotWithShape="1">
          <a:blip r:embed="rId2"/>
          <a:srcRect l="24998" t="18214" b="28661"/>
          <a:stretch/>
        </p:blipFill>
        <p:spPr>
          <a:xfrm>
            <a:off x="0" y="-1"/>
            <a:ext cx="2958214" cy="6858001"/>
          </a:xfrm>
          <a:prstGeom prst="rect">
            <a:avLst/>
          </a:prstGeom>
        </p:spPr>
      </p:pic>
      <p:sp>
        <p:nvSpPr>
          <p:cNvPr id="2" name="Rectangle: Rounded Corners 1">
            <a:extLst>
              <a:ext uri="{FF2B5EF4-FFF2-40B4-BE49-F238E27FC236}">
                <a16:creationId xmlns:a16="http://schemas.microsoft.com/office/drawing/2014/main" id="{6C1FA912-1651-42BA-82BB-535759928345}"/>
              </a:ext>
            </a:extLst>
          </p:cNvPr>
          <p:cNvSpPr/>
          <p:nvPr/>
        </p:nvSpPr>
        <p:spPr>
          <a:xfrm>
            <a:off x="2733472" y="524624"/>
            <a:ext cx="652026" cy="206837"/>
          </a:xfrm>
          <a:prstGeom prst="roundRect">
            <a:avLst>
              <a:gd name="adj" fmla="val 47436"/>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1769A5A3-B2B9-41C1-B552-2EFB4CA90F95}"/>
              </a:ext>
            </a:extLst>
          </p:cNvPr>
          <p:cNvSpPr txBox="1"/>
          <p:nvPr/>
        </p:nvSpPr>
        <p:spPr>
          <a:xfrm>
            <a:off x="801486" y="433093"/>
            <a:ext cx="256192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login  post  profile  chat</a:t>
            </a:r>
          </a:p>
        </p:txBody>
      </p:sp>
      <p:grpSp>
        <p:nvGrpSpPr>
          <p:cNvPr id="103" name="Group 102">
            <a:extLst>
              <a:ext uri="{FF2B5EF4-FFF2-40B4-BE49-F238E27FC236}">
                <a16:creationId xmlns:a16="http://schemas.microsoft.com/office/drawing/2014/main" id="{F926ECC8-3E5C-4D25-8303-6A33A8D46E03}"/>
              </a:ext>
            </a:extLst>
          </p:cNvPr>
          <p:cNvGrpSpPr/>
          <p:nvPr/>
        </p:nvGrpSpPr>
        <p:grpSpPr>
          <a:xfrm>
            <a:off x="5018226" y="1408163"/>
            <a:ext cx="4323255" cy="5050278"/>
            <a:chOff x="5018226" y="1408163"/>
            <a:chExt cx="3963207" cy="5050278"/>
          </a:xfrm>
        </p:grpSpPr>
        <p:sp>
          <p:nvSpPr>
            <p:cNvPr id="8" name="TextBox 7">
              <a:extLst>
                <a:ext uri="{FF2B5EF4-FFF2-40B4-BE49-F238E27FC236}">
                  <a16:creationId xmlns:a16="http://schemas.microsoft.com/office/drawing/2014/main" id="{CD16682A-F438-48CB-991E-18C24605039C}"/>
                </a:ext>
              </a:extLst>
            </p:cNvPr>
            <p:cNvSpPr txBox="1"/>
            <p:nvPr/>
          </p:nvSpPr>
          <p:spPr>
            <a:xfrm>
              <a:off x="5018226" y="1408163"/>
              <a:ext cx="2698175"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400" b="1"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about chat</a:t>
              </a:r>
            </a:p>
          </p:txBody>
        </p:sp>
        <p:sp>
          <p:nvSpPr>
            <p:cNvPr id="9" name="TextBox 8">
              <a:extLst>
                <a:ext uri="{FF2B5EF4-FFF2-40B4-BE49-F238E27FC236}">
                  <a16:creationId xmlns:a16="http://schemas.microsoft.com/office/drawing/2014/main" id="{A08BFEA4-E7C4-4886-9DE7-E529D8A35A40}"/>
                </a:ext>
              </a:extLst>
            </p:cNvPr>
            <p:cNvSpPr txBox="1"/>
            <p:nvPr/>
          </p:nvSpPr>
          <p:spPr>
            <a:xfrm>
              <a:off x="5037267" y="2211124"/>
              <a:ext cx="3944166" cy="4247317"/>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In this project, every user can </a:t>
              </a: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chat</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with another user. They can </a:t>
              </a: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share</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any </a:t>
              </a: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media</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file and </a:t>
              </a: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message</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between them. </a:t>
              </a:r>
            </a:p>
            <a:p>
              <a:pPr marL="0" marR="0" lvl="0" indent="0" defTabSz="914400" rtl="0" eaLnBrk="1" fontAlgn="auto" latinLnBrk="0" hangingPunct="1">
                <a:lnSpc>
                  <a:spcPct val="100000"/>
                </a:lnSpc>
                <a:spcBef>
                  <a:spcPts val="0"/>
                </a:spcBef>
                <a:spcAft>
                  <a:spcPts val="0"/>
                </a:spcAft>
                <a:buClrTx/>
                <a:buSzTx/>
                <a:buFontTx/>
                <a:buNone/>
                <a:tabLst/>
                <a:defRPr/>
              </a:pPr>
              <a:endParaRPr lang="en-US" dirty="0">
                <a:solidFill>
                  <a:prstClr val="white">
                    <a:lumMod val="95000"/>
                  </a:prstClr>
                </a:solidFill>
                <a:latin typeface="Poppins" panose="00000500000000000000" pitchFamily="2" charset="0"/>
                <a:cs typeface="Poppins" panose="00000500000000000000" pitchFamily="2"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It has feature to </a:t>
              </a: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flag</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 for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send, seen. It is </a:t>
              </a: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two-way communication </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in same chat section.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A user can send </a:t>
              </a:r>
              <a:r>
                <a:rPr kumimoji="0" lang="en-US" sz="1800" b="1"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multiple messages </a:t>
              </a:r>
              <a:r>
                <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to multiple users.</a:t>
              </a:r>
            </a:p>
            <a:p>
              <a:pPr marL="0" marR="0" lvl="0" indent="0" defTabSz="914400" rtl="0" eaLnBrk="1" fontAlgn="auto" latinLnBrk="0" hangingPunct="1">
                <a:lnSpc>
                  <a:spcPct val="100000"/>
                </a:lnSpc>
                <a:spcBef>
                  <a:spcPts val="0"/>
                </a:spcBef>
                <a:spcAft>
                  <a:spcPts val="0"/>
                </a:spcAft>
                <a:buClrTx/>
                <a:buSzTx/>
                <a:buFontTx/>
                <a:buNone/>
                <a:tabLst/>
                <a:defRPr/>
              </a:pPr>
              <a:r>
                <a:rPr lang="en-US" dirty="0">
                  <a:solidFill>
                    <a:prstClr val="white">
                      <a:lumMod val="95000"/>
                    </a:prstClr>
                  </a:solidFill>
                  <a:latin typeface="Poppins" panose="00000500000000000000" pitchFamily="2" charset="0"/>
                  <a:cs typeface="Poppins" panose="00000500000000000000" pitchFamily="2" charset="0"/>
                </a:rPr>
                <a:t>You just need the </a:t>
              </a:r>
              <a:r>
                <a:rPr lang="en-US" b="1" dirty="0">
                  <a:solidFill>
                    <a:prstClr val="white">
                      <a:lumMod val="95000"/>
                    </a:prstClr>
                  </a:solidFill>
                  <a:latin typeface="Poppins" panose="00000500000000000000" pitchFamily="2" charset="0"/>
                  <a:cs typeface="Poppins" panose="00000500000000000000" pitchFamily="2" charset="0"/>
                </a:rPr>
                <a:t>search</a:t>
              </a:r>
              <a:r>
                <a:rPr lang="en-US" dirty="0">
                  <a:solidFill>
                    <a:prstClr val="white">
                      <a:lumMod val="95000"/>
                    </a:prstClr>
                  </a:solidFill>
                  <a:latin typeface="Poppins" panose="00000500000000000000" pitchFamily="2" charset="0"/>
                  <a:cs typeface="Poppins" panose="00000500000000000000" pitchFamily="2" charset="0"/>
                </a:rPr>
                <a:t> that user with you want to chat and start </a:t>
              </a:r>
              <a:r>
                <a:rPr lang="en-US" b="1" dirty="0">
                  <a:solidFill>
                    <a:prstClr val="white">
                      <a:lumMod val="95000"/>
                    </a:prstClr>
                  </a:solidFill>
                  <a:latin typeface="Poppins" panose="00000500000000000000" pitchFamily="2" charset="0"/>
                  <a:cs typeface="Poppins" panose="00000500000000000000" pitchFamily="2" charset="0"/>
                </a:rPr>
                <a:t>chatting</a:t>
              </a:r>
              <a:r>
                <a:rPr lang="en-US" dirty="0">
                  <a:solidFill>
                    <a:prstClr val="white">
                      <a:lumMod val="95000"/>
                    </a:prstClr>
                  </a:solidFill>
                  <a:latin typeface="Poppins" panose="00000500000000000000" pitchFamily="2" charset="0"/>
                  <a:cs typeface="Poppins" panose="00000500000000000000" pitchFamily="2" charset="0"/>
                </a:rPr>
                <a:t>.</a:t>
              </a:r>
              <a:endParaRPr kumimoji="0" lang="en-US" sz="18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endParaRPr>
            </a:p>
          </p:txBody>
        </p:sp>
      </p:grpSp>
      <p:pic>
        <p:nvPicPr>
          <p:cNvPr id="95" name="Picture 94">
            <a:extLst>
              <a:ext uri="{FF2B5EF4-FFF2-40B4-BE49-F238E27FC236}">
                <a16:creationId xmlns:a16="http://schemas.microsoft.com/office/drawing/2014/main" id="{F5504B8D-BBD5-4205-93B0-69EB07A7115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470004" y="431945"/>
            <a:ext cx="548031" cy="990981"/>
          </a:xfrm>
          <a:prstGeom prst="rect">
            <a:avLst/>
          </a:prstGeom>
        </p:spPr>
      </p:pic>
      <p:pic>
        <p:nvPicPr>
          <p:cNvPr id="96" name="Picture 95">
            <a:extLst>
              <a:ext uri="{FF2B5EF4-FFF2-40B4-BE49-F238E27FC236}">
                <a16:creationId xmlns:a16="http://schemas.microsoft.com/office/drawing/2014/main" id="{3C4EE967-585A-4507-B3CD-3BB5ED8C486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0075183" y="427817"/>
            <a:ext cx="551830" cy="1014394"/>
          </a:xfrm>
          <a:prstGeom prst="rect">
            <a:avLst/>
          </a:prstGeom>
        </p:spPr>
      </p:pic>
      <p:pic>
        <p:nvPicPr>
          <p:cNvPr id="97" name="Picture 96">
            <a:extLst>
              <a:ext uri="{FF2B5EF4-FFF2-40B4-BE49-F238E27FC236}">
                <a16:creationId xmlns:a16="http://schemas.microsoft.com/office/drawing/2014/main" id="{365EA7EE-3743-43BF-B004-7B161A6E64D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0627013" y="410651"/>
            <a:ext cx="608979" cy="1030188"/>
          </a:xfrm>
          <a:prstGeom prst="rect">
            <a:avLst/>
          </a:prstGeom>
        </p:spPr>
      </p:pic>
      <p:pic>
        <p:nvPicPr>
          <p:cNvPr id="98" name="Picture 97">
            <a:extLst>
              <a:ext uri="{FF2B5EF4-FFF2-40B4-BE49-F238E27FC236}">
                <a16:creationId xmlns:a16="http://schemas.microsoft.com/office/drawing/2014/main" id="{A73A9D7A-44E2-4288-956D-97D13023D66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1175526" y="169090"/>
            <a:ext cx="851394" cy="1535995"/>
          </a:xfrm>
          <a:prstGeom prst="rect">
            <a:avLst/>
          </a:prstGeom>
        </p:spPr>
      </p:pic>
      <p:sp>
        <p:nvSpPr>
          <p:cNvPr id="99" name="Isosceles Triangle 98">
            <a:extLst>
              <a:ext uri="{FF2B5EF4-FFF2-40B4-BE49-F238E27FC236}">
                <a16:creationId xmlns:a16="http://schemas.microsoft.com/office/drawing/2014/main" id="{9C570991-A25D-4F57-B8FF-811105B30827}"/>
              </a:ext>
            </a:extLst>
          </p:cNvPr>
          <p:cNvSpPr/>
          <p:nvPr/>
        </p:nvSpPr>
        <p:spPr>
          <a:xfrm>
            <a:off x="11491670" y="1792883"/>
            <a:ext cx="213360" cy="17559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72" name="Group 71">
            <a:extLst>
              <a:ext uri="{FF2B5EF4-FFF2-40B4-BE49-F238E27FC236}">
                <a16:creationId xmlns:a16="http://schemas.microsoft.com/office/drawing/2014/main" id="{A6F931F9-BAE2-4F52-BC15-529545D70DEE}"/>
              </a:ext>
            </a:extLst>
          </p:cNvPr>
          <p:cNvGrpSpPr/>
          <p:nvPr/>
        </p:nvGrpSpPr>
        <p:grpSpPr>
          <a:xfrm>
            <a:off x="288054" y="391276"/>
            <a:ext cx="352425" cy="336551"/>
            <a:chOff x="288054" y="391276"/>
            <a:chExt cx="352425" cy="336551"/>
          </a:xfrm>
        </p:grpSpPr>
        <p:sp>
          <p:nvSpPr>
            <p:cNvPr id="100" name="Rectangle: Rounded Corners 99">
              <a:extLst>
                <a:ext uri="{FF2B5EF4-FFF2-40B4-BE49-F238E27FC236}">
                  <a16:creationId xmlns:a16="http://schemas.microsoft.com/office/drawing/2014/main" id="{061980F9-A541-4B7B-ACEA-141ECCAED2AA}"/>
                </a:ext>
              </a:extLst>
            </p:cNvPr>
            <p:cNvSpPr/>
            <p:nvPr/>
          </p:nvSpPr>
          <p:spPr>
            <a:xfrm>
              <a:off x="288054" y="391276"/>
              <a:ext cx="352425" cy="6985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1" name="Rectangle: Rounded Corners 100">
              <a:extLst>
                <a:ext uri="{FF2B5EF4-FFF2-40B4-BE49-F238E27FC236}">
                  <a16:creationId xmlns:a16="http://schemas.microsoft.com/office/drawing/2014/main" id="{83341450-D029-48FE-BBD3-93693A7FE489}"/>
                </a:ext>
              </a:extLst>
            </p:cNvPr>
            <p:cNvSpPr/>
            <p:nvPr/>
          </p:nvSpPr>
          <p:spPr>
            <a:xfrm>
              <a:off x="288054" y="524625"/>
              <a:ext cx="352425" cy="6985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 name="Rectangle: Rounded Corners 101">
              <a:extLst>
                <a:ext uri="{FF2B5EF4-FFF2-40B4-BE49-F238E27FC236}">
                  <a16:creationId xmlns:a16="http://schemas.microsoft.com/office/drawing/2014/main" id="{6D87AE08-A942-4FC7-839E-F9BDA5C22318}"/>
                </a:ext>
              </a:extLst>
            </p:cNvPr>
            <p:cNvSpPr/>
            <p:nvPr/>
          </p:nvSpPr>
          <p:spPr>
            <a:xfrm>
              <a:off x="288054" y="657974"/>
              <a:ext cx="352425" cy="6985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60" name="Group 59">
            <a:extLst>
              <a:ext uri="{FF2B5EF4-FFF2-40B4-BE49-F238E27FC236}">
                <a16:creationId xmlns:a16="http://schemas.microsoft.com/office/drawing/2014/main" id="{EC1E71CA-549A-20D4-7A22-BD3066638656}"/>
              </a:ext>
            </a:extLst>
          </p:cNvPr>
          <p:cNvGrpSpPr/>
          <p:nvPr/>
        </p:nvGrpSpPr>
        <p:grpSpPr>
          <a:xfrm>
            <a:off x="389239" y="1591314"/>
            <a:ext cx="2179735" cy="4529800"/>
            <a:chOff x="8997543" y="1739138"/>
            <a:chExt cx="2179735" cy="4529800"/>
          </a:xfrm>
        </p:grpSpPr>
        <p:grpSp>
          <p:nvGrpSpPr>
            <p:cNvPr id="61" name="Group 60">
              <a:extLst>
                <a:ext uri="{FF2B5EF4-FFF2-40B4-BE49-F238E27FC236}">
                  <a16:creationId xmlns:a16="http://schemas.microsoft.com/office/drawing/2014/main" id="{1E556C2B-E406-19FE-45F7-34C1A40B602E}"/>
                </a:ext>
              </a:extLst>
            </p:cNvPr>
            <p:cNvGrpSpPr/>
            <p:nvPr/>
          </p:nvGrpSpPr>
          <p:grpSpPr>
            <a:xfrm>
              <a:off x="8997543" y="1739138"/>
              <a:ext cx="2179735" cy="4529800"/>
              <a:chOff x="8997543" y="1739138"/>
              <a:chExt cx="2179735" cy="4529800"/>
            </a:xfrm>
          </p:grpSpPr>
          <p:sp>
            <p:nvSpPr>
              <p:cNvPr id="63" name="Rectangle: Rounded Corners 62">
                <a:extLst>
                  <a:ext uri="{FF2B5EF4-FFF2-40B4-BE49-F238E27FC236}">
                    <a16:creationId xmlns:a16="http://schemas.microsoft.com/office/drawing/2014/main" id="{CBF0B95F-3A0A-64FF-FF99-CD33ADB00E8A}"/>
                  </a:ext>
                </a:extLst>
              </p:cNvPr>
              <p:cNvSpPr/>
              <p:nvPr/>
            </p:nvSpPr>
            <p:spPr>
              <a:xfrm>
                <a:off x="9062336" y="1739138"/>
                <a:ext cx="2114942" cy="4529800"/>
              </a:xfrm>
              <a:prstGeom prst="roundRect">
                <a:avLst/>
              </a:prstGeom>
              <a:blipFill>
                <a:blip r:embed="rId11">
                  <a:extLst>
                    <a:ext uri="{28A0092B-C50C-407E-A947-70E740481C1C}">
                      <a14:useLocalDpi xmlns:a14="http://schemas.microsoft.com/office/drawing/2010/main" val="0"/>
                    </a:ext>
                  </a:extLst>
                </a:blip>
                <a:srcRect/>
                <a:stretch>
                  <a:fillRect l="-26289" r="-27693"/>
                </a:stretch>
              </a:bli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4" name="Rectangle: Rounded Corners 63">
                <a:extLst>
                  <a:ext uri="{FF2B5EF4-FFF2-40B4-BE49-F238E27FC236}">
                    <a16:creationId xmlns:a16="http://schemas.microsoft.com/office/drawing/2014/main" id="{839A1B3F-DE4D-2F59-3D08-406F1A5BD872}"/>
                  </a:ext>
                </a:extLst>
              </p:cNvPr>
              <p:cNvSpPr/>
              <p:nvPr/>
            </p:nvSpPr>
            <p:spPr>
              <a:xfrm>
                <a:off x="9748078" y="6076950"/>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TextBox 64">
                <a:extLst>
                  <a:ext uri="{FF2B5EF4-FFF2-40B4-BE49-F238E27FC236}">
                    <a16:creationId xmlns:a16="http://schemas.microsoft.com/office/drawing/2014/main" id="{88428A80-3A5E-BC83-B930-CE572A3E8D28}"/>
                  </a:ext>
                </a:extLst>
              </p:cNvPr>
              <p:cNvSpPr txBox="1"/>
              <p:nvPr/>
            </p:nvSpPr>
            <p:spPr>
              <a:xfrm>
                <a:off x="8997543" y="5015120"/>
                <a:ext cx="1555234" cy="10156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chat</a:t>
                </a:r>
                <a:endPar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endParaRPr>
              </a:p>
            </p:txBody>
          </p:sp>
          <p:sp>
            <p:nvSpPr>
              <p:cNvPr id="66" name="TextBox 65">
                <a:extLst>
                  <a:ext uri="{FF2B5EF4-FFF2-40B4-BE49-F238E27FC236}">
                    <a16:creationId xmlns:a16="http://schemas.microsoft.com/office/drawing/2014/main" id="{9B4EC310-6DD7-E055-D451-33A8A7CBFC8A}"/>
                  </a:ext>
                </a:extLst>
              </p:cNvPr>
              <p:cNvSpPr txBox="1"/>
              <p:nvPr/>
            </p:nvSpPr>
            <p:spPr>
              <a:xfrm>
                <a:off x="9043600" y="4940970"/>
                <a:ext cx="104067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message</a:t>
                </a:r>
              </a:p>
            </p:txBody>
          </p:sp>
        </p:grpSp>
        <p:pic>
          <p:nvPicPr>
            <p:cNvPr id="62" name="Graphic 61" descr="Send">
              <a:hlinkClick r:id="rId12" action="ppaction://hlinksldjump"/>
              <a:extLst>
                <a:ext uri="{FF2B5EF4-FFF2-40B4-BE49-F238E27FC236}">
                  <a16:creationId xmlns:a16="http://schemas.microsoft.com/office/drawing/2014/main" id="{686368B1-5A87-86E6-B6FE-748A7DB2E56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9721288" y="2633152"/>
              <a:ext cx="914400" cy="914400"/>
            </a:xfrm>
            <a:prstGeom prst="rect">
              <a:avLst/>
            </a:prstGeom>
          </p:spPr>
        </p:pic>
      </p:grpSp>
      <p:grpSp>
        <p:nvGrpSpPr>
          <p:cNvPr id="3" name="Group 2">
            <a:extLst>
              <a:ext uri="{FF2B5EF4-FFF2-40B4-BE49-F238E27FC236}">
                <a16:creationId xmlns:a16="http://schemas.microsoft.com/office/drawing/2014/main" id="{DA7779DC-D4FF-74B5-681C-E712B131E67F}"/>
              </a:ext>
            </a:extLst>
          </p:cNvPr>
          <p:cNvGrpSpPr/>
          <p:nvPr/>
        </p:nvGrpSpPr>
        <p:grpSpPr>
          <a:xfrm>
            <a:off x="12301025" y="1475524"/>
            <a:ext cx="2155690" cy="4529800"/>
            <a:chOff x="973974" y="1718600"/>
            <a:chExt cx="2155690" cy="4529800"/>
          </a:xfrm>
        </p:grpSpPr>
        <p:grpSp>
          <p:nvGrpSpPr>
            <p:cNvPr id="4" name="Group 3">
              <a:extLst>
                <a:ext uri="{FF2B5EF4-FFF2-40B4-BE49-F238E27FC236}">
                  <a16:creationId xmlns:a16="http://schemas.microsoft.com/office/drawing/2014/main" id="{FBCE7D82-006F-1750-F24E-7FBADD36E5F8}"/>
                </a:ext>
              </a:extLst>
            </p:cNvPr>
            <p:cNvGrpSpPr/>
            <p:nvPr/>
          </p:nvGrpSpPr>
          <p:grpSpPr>
            <a:xfrm>
              <a:off x="973974" y="1718600"/>
              <a:ext cx="2155690" cy="4529800"/>
              <a:chOff x="973974" y="1718600"/>
              <a:chExt cx="2155690" cy="4529800"/>
            </a:xfrm>
            <a:blipFill>
              <a:blip r:embed="rId15">
                <a:extLst>
                  <a:ext uri="{28A0092B-C50C-407E-A947-70E740481C1C}">
                    <a14:useLocalDpi xmlns:a14="http://schemas.microsoft.com/office/drawing/2010/main" val="0"/>
                  </a:ext>
                </a:extLst>
              </a:blip>
              <a:stretch>
                <a:fillRect/>
              </a:stretch>
            </a:blipFill>
          </p:grpSpPr>
          <p:sp>
            <p:nvSpPr>
              <p:cNvPr id="7" name="Rectangle: Rounded Corners 6">
                <a:extLst>
                  <a:ext uri="{FF2B5EF4-FFF2-40B4-BE49-F238E27FC236}">
                    <a16:creationId xmlns:a16="http://schemas.microsoft.com/office/drawing/2014/main" id="{7F922FB4-A26D-BADD-FF72-0E7DC548FBE1}"/>
                  </a:ext>
                </a:extLst>
              </p:cNvPr>
              <p:cNvSpPr/>
              <p:nvPr/>
            </p:nvSpPr>
            <p:spPr>
              <a:xfrm>
                <a:off x="1014722" y="1718600"/>
                <a:ext cx="2114942" cy="4529800"/>
              </a:xfrm>
              <a:prstGeom prst="roundRect">
                <a:avLst/>
              </a:prstGeom>
              <a:gr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Rounded Corners 11">
                <a:extLst>
                  <a:ext uri="{FF2B5EF4-FFF2-40B4-BE49-F238E27FC236}">
                    <a16:creationId xmlns:a16="http://schemas.microsoft.com/office/drawing/2014/main" id="{DC0C4A60-52A4-E89E-1D22-8895A5D36CD3}"/>
                  </a:ext>
                </a:extLst>
              </p:cNvPr>
              <p:cNvSpPr/>
              <p:nvPr/>
            </p:nvSpPr>
            <p:spPr>
              <a:xfrm>
                <a:off x="1700464" y="6076950"/>
                <a:ext cx="743457" cy="76198"/>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F99F4C33-D580-69EA-7145-BD5BC6C00010}"/>
                  </a:ext>
                </a:extLst>
              </p:cNvPr>
              <p:cNvSpPr txBox="1"/>
              <p:nvPr/>
            </p:nvSpPr>
            <p:spPr>
              <a:xfrm>
                <a:off x="973974" y="4966035"/>
                <a:ext cx="1819729" cy="1015663"/>
              </a:xfrm>
              <a:prstGeom prst="rect">
                <a:avLst/>
              </a:prstGeom>
              <a:grp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login</a:t>
                </a:r>
                <a:endPar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endParaRPr>
              </a:p>
            </p:txBody>
          </p:sp>
          <p:sp>
            <p:nvSpPr>
              <p:cNvPr id="16" name="TextBox 15">
                <a:extLst>
                  <a:ext uri="{FF2B5EF4-FFF2-40B4-BE49-F238E27FC236}">
                    <a16:creationId xmlns:a16="http://schemas.microsoft.com/office/drawing/2014/main" id="{2E309C1F-6871-E7CB-C386-183278520402}"/>
                  </a:ext>
                </a:extLst>
              </p:cNvPr>
              <p:cNvSpPr txBox="1"/>
              <p:nvPr/>
            </p:nvSpPr>
            <p:spPr>
              <a:xfrm>
                <a:off x="1014722" y="4896377"/>
                <a:ext cx="94128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security</a:t>
                </a:r>
              </a:p>
            </p:txBody>
          </p:sp>
        </p:grpSp>
        <p:sp>
          <p:nvSpPr>
            <p:cNvPr id="5" name="Rectangle: Rounded Corners 4">
              <a:extLst>
                <a:ext uri="{FF2B5EF4-FFF2-40B4-BE49-F238E27FC236}">
                  <a16:creationId xmlns:a16="http://schemas.microsoft.com/office/drawing/2014/main" id="{AE5B305D-2BAE-6DF3-8BEF-91785174A2E8}"/>
                </a:ext>
              </a:extLst>
            </p:cNvPr>
            <p:cNvSpPr/>
            <p:nvPr/>
          </p:nvSpPr>
          <p:spPr>
            <a:xfrm>
              <a:off x="1706111" y="5972378"/>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Graphic 5" descr="Lock">
              <a:hlinkClick r:id="rId16" action="ppaction://hlinksldjump"/>
              <a:extLst>
                <a:ext uri="{FF2B5EF4-FFF2-40B4-BE49-F238E27FC236}">
                  <a16:creationId xmlns:a16="http://schemas.microsoft.com/office/drawing/2014/main" id="{01B235A2-B59F-05F6-5FF4-46B93CD1DDE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1481811" y="2589204"/>
              <a:ext cx="1180759" cy="1180759"/>
            </a:xfrm>
            <a:prstGeom prst="rect">
              <a:avLst/>
            </a:prstGeom>
          </p:spPr>
        </p:pic>
      </p:grpSp>
      <p:grpSp>
        <p:nvGrpSpPr>
          <p:cNvPr id="17" name="Group 16">
            <a:extLst>
              <a:ext uri="{FF2B5EF4-FFF2-40B4-BE49-F238E27FC236}">
                <a16:creationId xmlns:a16="http://schemas.microsoft.com/office/drawing/2014/main" id="{DC8253AF-F0D1-D74D-415F-32D771680D91}"/>
              </a:ext>
            </a:extLst>
          </p:cNvPr>
          <p:cNvGrpSpPr/>
          <p:nvPr/>
        </p:nvGrpSpPr>
        <p:grpSpPr>
          <a:xfrm>
            <a:off x="12760622" y="1475524"/>
            <a:ext cx="2114942" cy="4529800"/>
            <a:chOff x="3719822" y="1739138"/>
            <a:chExt cx="2114942" cy="4529800"/>
          </a:xfrm>
        </p:grpSpPr>
        <p:grpSp>
          <p:nvGrpSpPr>
            <p:cNvPr id="18" name="Group 17">
              <a:extLst>
                <a:ext uri="{FF2B5EF4-FFF2-40B4-BE49-F238E27FC236}">
                  <a16:creationId xmlns:a16="http://schemas.microsoft.com/office/drawing/2014/main" id="{40E44162-B08B-8BC4-3D73-0186A7D72100}"/>
                </a:ext>
              </a:extLst>
            </p:cNvPr>
            <p:cNvGrpSpPr/>
            <p:nvPr/>
          </p:nvGrpSpPr>
          <p:grpSpPr>
            <a:xfrm>
              <a:off x="3719822" y="1739138"/>
              <a:ext cx="2114942" cy="4529800"/>
              <a:chOff x="3719822" y="1739138"/>
              <a:chExt cx="2114942" cy="4529800"/>
            </a:xfrm>
          </p:grpSpPr>
          <p:sp>
            <p:nvSpPr>
              <p:cNvPr id="20" name="Rectangle: Rounded Corners 19">
                <a:extLst>
                  <a:ext uri="{FF2B5EF4-FFF2-40B4-BE49-F238E27FC236}">
                    <a16:creationId xmlns:a16="http://schemas.microsoft.com/office/drawing/2014/main" id="{B83F420B-FD35-EE68-9DB9-582873CFE81E}"/>
                  </a:ext>
                </a:extLst>
              </p:cNvPr>
              <p:cNvSpPr/>
              <p:nvPr/>
            </p:nvSpPr>
            <p:spPr>
              <a:xfrm>
                <a:off x="3719822" y="1739138"/>
                <a:ext cx="2114942" cy="4529800"/>
              </a:xfrm>
              <a:prstGeom prst="roundRect">
                <a:avLst/>
              </a:prstGeom>
              <a:blipFill>
                <a:blip r:embed="rId19">
                  <a:extLst>
                    <a:ext uri="{28A0092B-C50C-407E-A947-70E740481C1C}">
                      <a14:useLocalDpi xmlns:a14="http://schemas.microsoft.com/office/drawing/2010/main" val="0"/>
                    </a:ext>
                  </a:extLst>
                </a:blip>
                <a:stretch>
                  <a:fillRect/>
                </a:stretch>
              </a:bli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Rectangle: Rounded Corners 20">
                <a:extLst>
                  <a:ext uri="{FF2B5EF4-FFF2-40B4-BE49-F238E27FC236}">
                    <a16:creationId xmlns:a16="http://schemas.microsoft.com/office/drawing/2014/main" id="{E038D94E-8548-F5FE-9480-77E1FCEDD2B2}"/>
                  </a:ext>
                </a:extLst>
              </p:cNvPr>
              <p:cNvSpPr/>
              <p:nvPr/>
            </p:nvSpPr>
            <p:spPr>
              <a:xfrm>
                <a:off x="4405564" y="6076950"/>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743C3814-9333-B56F-3B7D-3A292D242DF4}"/>
                  </a:ext>
                </a:extLst>
              </p:cNvPr>
              <p:cNvSpPr txBox="1"/>
              <p:nvPr/>
            </p:nvSpPr>
            <p:spPr>
              <a:xfrm>
                <a:off x="3883954" y="4940970"/>
                <a:ext cx="1771639"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6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post</a:t>
                </a:r>
                <a:endPar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endParaRPr>
              </a:p>
            </p:txBody>
          </p:sp>
          <p:sp>
            <p:nvSpPr>
              <p:cNvPr id="23" name="TextBox 22">
                <a:extLst>
                  <a:ext uri="{FF2B5EF4-FFF2-40B4-BE49-F238E27FC236}">
                    <a16:creationId xmlns:a16="http://schemas.microsoft.com/office/drawing/2014/main" id="{A58DDAB5-730C-6BA6-BEFD-5B586B74465F}"/>
                  </a:ext>
                </a:extLst>
              </p:cNvPr>
              <p:cNvSpPr txBox="1"/>
              <p:nvPr/>
            </p:nvSpPr>
            <p:spPr>
              <a:xfrm>
                <a:off x="3883954" y="4990055"/>
                <a:ext cx="92845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Feature</a:t>
                </a:r>
              </a:p>
            </p:txBody>
          </p:sp>
        </p:grpSp>
        <p:pic>
          <p:nvPicPr>
            <p:cNvPr id="19" name="Graphic 18" descr="Mailbox">
              <a:hlinkClick r:id="rId20" action="ppaction://hlinksldjump"/>
              <a:extLst>
                <a:ext uri="{FF2B5EF4-FFF2-40B4-BE49-F238E27FC236}">
                  <a16:creationId xmlns:a16="http://schemas.microsoft.com/office/drawing/2014/main" id="{AE326DF1-FCDB-06F3-E5AB-1DC4EC683A0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p:blipFill>
          <p:spPr>
            <a:xfrm>
              <a:off x="4365472" y="2656589"/>
              <a:ext cx="914400" cy="914400"/>
            </a:xfrm>
            <a:prstGeom prst="rect">
              <a:avLst/>
            </a:prstGeom>
          </p:spPr>
        </p:pic>
      </p:grpSp>
      <p:grpSp>
        <p:nvGrpSpPr>
          <p:cNvPr id="53" name="Group 52">
            <a:extLst>
              <a:ext uri="{FF2B5EF4-FFF2-40B4-BE49-F238E27FC236}">
                <a16:creationId xmlns:a16="http://schemas.microsoft.com/office/drawing/2014/main" id="{5718CF5C-B022-19A1-AD2F-3F4D353FC11E}"/>
              </a:ext>
            </a:extLst>
          </p:cNvPr>
          <p:cNvGrpSpPr/>
          <p:nvPr/>
        </p:nvGrpSpPr>
        <p:grpSpPr>
          <a:xfrm>
            <a:off x="13192867" y="1477501"/>
            <a:ext cx="2127293" cy="4529800"/>
            <a:chOff x="6344887" y="1739138"/>
            <a:chExt cx="2127293" cy="4529800"/>
          </a:xfrm>
        </p:grpSpPr>
        <p:grpSp>
          <p:nvGrpSpPr>
            <p:cNvPr id="54" name="Group 53">
              <a:extLst>
                <a:ext uri="{FF2B5EF4-FFF2-40B4-BE49-F238E27FC236}">
                  <a16:creationId xmlns:a16="http://schemas.microsoft.com/office/drawing/2014/main" id="{0FCDE098-FB35-B081-75F0-902F1E653612}"/>
                </a:ext>
              </a:extLst>
            </p:cNvPr>
            <p:cNvGrpSpPr/>
            <p:nvPr/>
          </p:nvGrpSpPr>
          <p:grpSpPr>
            <a:xfrm>
              <a:off x="6344887" y="1739138"/>
              <a:ext cx="2127293" cy="4529800"/>
              <a:chOff x="6344887" y="1739138"/>
              <a:chExt cx="2127293" cy="4529800"/>
            </a:xfrm>
          </p:grpSpPr>
          <p:sp>
            <p:nvSpPr>
              <p:cNvPr id="56" name="Rectangle: Rounded Corners 55">
                <a:extLst>
                  <a:ext uri="{FF2B5EF4-FFF2-40B4-BE49-F238E27FC236}">
                    <a16:creationId xmlns:a16="http://schemas.microsoft.com/office/drawing/2014/main" id="{1107C86C-B605-FD10-C24C-C1CA01A900D4}"/>
                  </a:ext>
                </a:extLst>
              </p:cNvPr>
              <p:cNvSpPr/>
              <p:nvPr/>
            </p:nvSpPr>
            <p:spPr>
              <a:xfrm>
                <a:off x="6357238" y="1739138"/>
                <a:ext cx="2114942" cy="4529800"/>
              </a:xfrm>
              <a:prstGeom prst="roundRect">
                <a:avLst/>
              </a:prstGeom>
              <a:blipFill>
                <a:blip r:embed="rId23">
                  <a:extLst>
                    <a:ext uri="{28A0092B-C50C-407E-A947-70E740481C1C}">
                      <a14:useLocalDpi xmlns:a14="http://schemas.microsoft.com/office/drawing/2010/main" val="0"/>
                    </a:ext>
                  </a:extLst>
                </a:blip>
                <a:srcRect/>
                <a:stretch>
                  <a:fillRect l="-44972" t="630" r="-26372" b="-630"/>
                </a:stretch>
              </a:blipFill>
              <a:ln>
                <a:noFill/>
              </a:ln>
              <a:effectLst>
                <a:outerShdw blurRad="50800" dist="50800" dir="5400000" algn="ctr"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Rectangle: Rounded Corners 56">
                <a:extLst>
                  <a:ext uri="{FF2B5EF4-FFF2-40B4-BE49-F238E27FC236}">
                    <a16:creationId xmlns:a16="http://schemas.microsoft.com/office/drawing/2014/main" id="{9FA0D535-016D-DD64-227E-F1B824CFFD46}"/>
                  </a:ext>
                </a:extLst>
              </p:cNvPr>
              <p:cNvSpPr/>
              <p:nvPr/>
            </p:nvSpPr>
            <p:spPr>
              <a:xfrm>
                <a:off x="7042980" y="6038851"/>
                <a:ext cx="743457" cy="7619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TextBox 57">
                <a:extLst>
                  <a:ext uri="{FF2B5EF4-FFF2-40B4-BE49-F238E27FC236}">
                    <a16:creationId xmlns:a16="http://schemas.microsoft.com/office/drawing/2014/main" id="{F1DDF537-6FA6-0BA7-CE62-E4884415ED13}"/>
                  </a:ext>
                </a:extLst>
              </p:cNvPr>
              <p:cNvSpPr txBox="1"/>
              <p:nvPr/>
            </p:nvSpPr>
            <p:spPr>
              <a:xfrm>
                <a:off x="6344887" y="5015120"/>
                <a:ext cx="2105063" cy="9387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55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profile</a:t>
                </a:r>
              </a:p>
            </p:txBody>
          </p:sp>
          <p:sp>
            <p:nvSpPr>
              <p:cNvPr id="59" name="TextBox 58">
                <a:extLst>
                  <a:ext uri="{FF2B5EF4-FFF2-40B4-BE49-F238E27FC236}">
                    <a16:creationId xmlns:a16="http://schemas.microsoft.com/office/drawing/2014/main" id="{46E3534B-8DC1-0BFA-9457-428DCFDF05EF}"/>
                  </a:ext>
                </a:extLst>
              </p:cNvPr>
              <p:cNvSpPr txBox="1"/>
              <p:nvPr/>
            </p:nvSpPr>
            <p:spPr>
              <a:xfrm>
                <a:off x="6457042" y="5046202"/>
                <a:ext cx="76174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white"/>
                    </a:solidFill>
                    <a:effectLst/>
                    <a:uLnTx/>
                    <a:uFillTx/>
                    <a:latin typeface="Abadi" panose="020B0604020104020204" pitchFamily="34" charset="0"/>
                    <a:ea typeface="+mn-ea"/>
                    <a:cs typeface="+mn-cs"/>
                  </a:rPr>
                  <a:t>Views</a:t>
                </a:r>
              </a:p>
            </p:txBody>
          </p:sp>
        </p:grpSp>
        <p:pic>
          <p:nvPicPr>
            <p:cNvPr id="55" name="Graphic 54" descr="User">
              <a:hlinkClick r:id="rId24" action="ppaction://hlinksldjump"/>
              <a:extLst>
                <a:ext uri="{FF2B5EF4-FFF2-40B4-BE49-F238E27FC236}">
                  <a16:creationId xmlns:a16="http://schemas.microsoft.com/office/drawing/2014/main" id="{EEAB0735-AE94-8B25-3FD4-2B87304D2EB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rcRect/>
            <a:stretch/>
          </p:blipFill>
          <p:spPr>
            <a:xfrm>
              <a:off x="6940219" y="2615019"/>
              <a:ext cx="914400" cy="914400"/>
            </a:xfrm>
            <a:prstGeom prst="rect">
              <a:avLst/>
            </a:prstGeom>
          </p:spPr>
        </p:pic>
      </p:grpSp>
    </p:spTree>
    <p:extLst>
      <p:ext uri="{BB962C8B-B14F-4D97-AF65-F5344CB8AC3E}">
        <p14:creationId xmlns:p14="http://schemas.microsoft.com/office/powerpoint/2010/main" val="1880233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advTm="1000">
        <p159:morph option="byObject"/>
      </p:transition>
    </mc:Choice>
    <mc:Fallback xmlns="">
      <p:transition spd="slow" advTm="1000">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57" name="Group 56">
            <a:extLst>
              <a:ext uri="{FF2B5EF4-FFF2-40B4-BE49-F238E27FC236}">
                <a16:creationId xmlns:a16="http://schemas.microsoft.com/office/drawing/2014/main" id="{9FF5D956-0CA1-40AE-9D3F-FFA16A6A8686}"/>
              </a:ext>
            </a:extLst>
          </p:cNvPr>
          <p:cNvGrpSpPr/>
          <p:nvPr/>
        </p:nvGrpSpPr>
        <p:grpSpPr>
          <a:xfrm>
            <a:off x="8030379" y="8259523"/>
            <a:ext cx="1644086" cy="2287395"/>
            <a:chOff x="5728041" y="4010797"/>
            <a:chExt cx="1644086" cy="2287395"/>
          </a:xfrm>
        </p:grpSpPr>
        <p:sp>
          <p:nvSpPr>
            <p:cNvPr id="58" name="TextBox 57">
              <a:extLst>
                <a:ext uri="{FF2B5EF4-FFF2-40B4-BE49-F238E27FC236}">
                  <a16:creationId xmlns:a16="http://schemas.microsoft.com/office/drawing/2014/main" id="{5D80E20F-2793-43C3-80C9-12241FB31B86}"/>
                </a:ext>
              </a:extLst>
            </p:cNvPr>
            <p:cNvSpPr txBox="1"/>
            <p:nvPr/>
          </p:nvSpPr>
          <p:spPr>
            <a:xfrm>
              <a:off x="5728041" y="4728532"/>
              <a:ext cx="1509342" cy="15696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Tengok teaser Genshin impact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Teyvat</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style dengan music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dia</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terus</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inspired untuk buat style macam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ni</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a:t>
              </a:r>
              <a:endParaRPr kumimoji="0" lang="en-MY" sz="16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endParaRPr>
            </a:p>
          </p:txBody>
        </p:sp>
        <p:sp>
          <p:nvSpPr>
            <p:cNvPr id="59" name="TextBox 58">
              <a:extLst>
                <a:ext uri="{FF2B5EF4-FFF2-40B4-BE49-F238E27FC236}">
                  <a16:creationId xmlns:a16="http://schemas.microsoft.com/office/drawing/2014/main" id="{42B38E35-CF2C-46BD-ACB6-75B9C5D4FA32}"/>
                </a:ext>
              </a:extLst>
            </p:cNvPr>
            <p:cNvSpPr txBox="1"/>
            <p:nvPr/>
          </p:nvSpPr>
          <p:spPr>
            <a:xfrm>
              <a:off x="5781510" y="4010797"/>
              <a:ext cx="1590617"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T</a:t>
              </a:r>
              <a:r>
                <a:rPr kumimoji="0" lang="en-US" sz="3200" b="1" i="0" u="none" strike="noStrike" kern="1200" cap="none" spc="0" normalizeH="0" baseline="0" noProof="0" dirty="0" err="1">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ekejut</a:t>
              </a:r>
              <a:endParaRPr kumimoji="0" lang="en-MY"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50" name="TextBox 49">
            <a:extLst>
              <a:ext uri="{FF2B5EF4-FFF2-40B4-BE49-F238E27FC236}">
                <a16:creationId xmlns:a16="http://schemas.microsoft.com/office/drawing/2014/main" id="{FB6D391A-E437-4E17-B54A-32056918C409}"/>
              </a:ext>
            </a:extLst>
          </p:cNvPr>
          <p:cNvSpPr txBox="1"/>
          <p:nvPr/>
        </p:nvSpPr>
        <p:spPr>
          <a:xfrm>
            <a:off x="2051310" y="7944361"/>
            <a:ext cx="5629853"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FLEETING</a:t>
            </a:r>
            <a:endParaRPr kumimoji="0" lang="en-US" sz="80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endParaRPr>
          </a:p>
        </p:txBody>
      </p:sp>
      <p:sp>
        <p:nvSpPr>
          <p:cNvPr id="51" name="TextBox 50">
            <a:extLst>
              <a:ext uri="{FF2B5EF4-FFF2-40B4-BE49-F238E27FC236}">
                <a16:creationId xmlns:a16="http://schemas.microsoft.com/office/drawing/2014/main" id="{20FAFAA7-71CB-40E5-AB97-37562B197BDD}"/>
              </a:ext>
            </a:extLst>
          </p:cNvPr>
          <p:cNvSpPr txBox="1"/>
          <p:nvPr/>
        </p:nvSpPr>
        <p:spPr>
          <a:xfrm>
            <a:off x="2118076" y="6657945"/>
            <a:ext cx="309892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Inspired by Style </a:t>
            </a:r>
            <a:r>
              <a:rPr kumimoji="0" lang="en-US" sz="2000" b="1" i="0" u="none" strike="noStrike" kern="1200" cap="none" spc="0" normalizeH="0" baseline="0" noProof="0" dirty="0" err="1">
                <a:ln>
                  <a:noFill/>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Teyvat</a:t>
            </a:r>
            <a:endParaRPr kumimoji="0" lang="en-US" sz="2000" b="1" i="0" u="none" strike="noStrike" kern="1200" cap="none" spc="0" normalizeH="0" baseline="0" noProof="0" dirty="0">
              <a:ln>
                <a:noFill/>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endParaRPr>
          </a:p>
        </p:txBody>
      </p:sp>
      <p:sp>
        <p:nvSpPr>
          <p:cNvPr id="52" name="TextBox 51">
            <a:extLst>
              <a:ext uri="{FF2B5EF4-FFF2-40B4-BE49-F238E27FC236}">
                <a16:creationId xmlns:a16="http://schemas.microsoft.com/office/drawing/2014/main" id="{38090ACE-DE4C-4A8C-B2CE-B85C4C48571D}"/>
              </a:ext>
            </a:extLst>
          </p:cNvPr>
          <p:cNvSpPr txBox="1"/>
          <p:nvPr/>
        </p:nvSpPr>
        <p:spPr>
          <a:xfrm>
            <a:off x="2117878" y="20759677"/>
            <a:ext cx="106311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400" b="1"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WELCOME</a:t>
            </a:r>
            <a:endParaRPr kumimoji="0" lang="en-MY" sz="1800" b="1"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endParaRPr>
          </a:p>
        </p:txBody>
      </p:sp>
      <p:sp>
        <p:nvSpPr>
          <p:cNvPr id="53" name="TextBox 52">
            <a:extLst>
              <a:ext uri="{FF2B5EF4-FFF2-40B4-BE49-F238E27FC236}">
                <a16:creationId xmlns:a16="http://schemas.microsoft.com/office/drawing/2014/main" id="{23400CBE-37B4-4A08-B8C0-07E8B2B8EEB4}"/>
              </a:ext>
            </a:extLst>
          </p:cNvPr>
          <p:cNvSpPr txBox="1"/>
          <p:nvPr/>
        </p:nvSpPr>
        <p:spPr>
          <a:xfrm>
            <a:off x="2117878" y="21063130"/>
            <a:ext cx="3440463" cy="64633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Tengok teaser Genshin impact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Teyvat</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style dengan music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dia</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terus</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inspired untuk buat style macam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ni</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a:t>
            </a:r>
            <a:endParaRPr kumimoji="0" lang="en-MY" sz="16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endParaRPr>
          </a:p>
        </p:txBody>
      </p:sp>
      <p:sp>
        <p:nvSpPr>
          <p:cNvPr id="54" name="TextBox 53">
            <a:extLst>
              <a:ext uri="{FF2B5EF4-FFF2-40B4-BE49-F238E27FC236}">
                <a16:creationId xmlns:a16="http://schemas.microsoft.com/office/drawing/2014/main" id="{F09BA7F4-183E-4813-8F93-DE2CCE7D4448}"/>
              </a:ext>
            </a:extLst>
          </p:cNvPr>
          <p:cNvSpPr txBox="1"/>
          <p:nvPr/>
        </p:nvSpPr>
        <p:spPr>
          <a:xfrm>
            <a:off x="2051310" y="12683869"/>
            <a:ext cx="5113972"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COLORS IN </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TextBox 54">
            <a:extLst>
              <a:ext uri="{FF2B5EF4-FFF2-40B4-BE49-F238E27FC236}">
                <a16:creationId xmlns:a16="http://schemas.microsoft.com/office/drawing/2014/main" id="{F88036FB-25E1-46C6-B329-83F4F1D5567C}"/>
              </a:ext>
            </a:extLst>
          </p:cNvPr>
          <p:cNvSpPr txBox="1"/>
          <p:nvPr/>
        </p:nvSpPr>
        <p:spPr>
          <a:xfrm>
            <a:off x="2051311" y="16857488"/>
            <a:ext cx="3184310"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FLIGHT</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56" name="Picture 55">
            <a:extLst>
              <a:ext uri="{FF2B5EF4-FFF2-40B4-BE49-F238E27FC236}">
                <a16:creationId xmlns:a16="http://schemas.microsoft.com/office/drawing/2014/main" id="{964A446D-749E-4FDA-982B-46EC97133BD6}"/>
              </a:ext>
            </a:extLst>
          </p:cNvPr>
          <p:cNvPicPr>
            <a:picLocks noChangeAspect="1"/>
          </p:cNvPicPr>
          <p:nvPr/>
        </p:nvPicPr>
        <p:blipFill>
          <a:blip r:embed="rId4">
            <a:extLst>
              <a:ext uri="{28A0092B-C50C-407E-A947-70E740481C1C}">
                <a14:useLocalDpi xmlns:a14="http://schemas.microsoft.com/office/drawing/2010/main" val="0"/>
              </a:ext>
            </a:extLst>
          </a:blip>
          <a:srcRect l="30868" r="30868"/>
          <a:stretch/>
        </p:blipFill>
        <p:spPr>
          <a:xfrm>
            <a:off x="7773783" y="6345389"/>
            <a:ext cx="4083920" cy="8004610"/>
          </a:xfrm>
          <a:prstGeom prst="roundRect">
            <a:avLst>
              <a:gd name="adj" fmla="val 50000"/>
            </a:avLst>
          </a:prstGeom>
        </p:spPr>
      </p:pic>
      <p:sp>
        <p:nvSpPr>
          <p:cNvPr id="48" name="Oval 47">
            <a:extLst>
              <a:ext uri="{FF2B5EF4-FFF2-40B4-BE49-F238E27FC236}">
                <a16:creationId xmlns:a16="http://schemas.microsoft.com/office/drawing/2014/main" id="{59EF8E22-CF24-41E7-AB87-4757FEF90251}"/>
              </a:ext>
            </a:extLst>
          </p:cNvPr>
          <p:cNvSpPr/>
          <p:nvPr/>
        </p:nvSpPr>
        <p:spPr>
          <a:xfrm>
            <a:off x="12576391" y="2254828"/>
            <a:ext cx="2604129" cy="2743200"/>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9" name="Picture 48">
            <a:extLst>
              <a:ext uri="{FF2B5EF4-FFF2-40B4-BE49-F238E27FC236}">
                <a16:creationId xmlns:a16="http://schemas.microsoft.com/office/drawing/2014/main" id="{F9315F22-632F-46A7-897E-3F1AD1CF3B46}"/>
              </a:ext>
            </a:extLst>
          </p:cNvPr>
          <p:cNvPicPr>
            <a:picLocks noChangeAspect="1"/>
          </p:cNvPicPr>
          <p:nvPr/>
        </p:nvPicPr>
        <p:blipFill>
          <a:blip r:embed="rId5">
            <a:duotone>
              <a:prstClr val="black"/>
              <a:srgbClr val="7030A0">
                <a:tint val="45000"/>
                <a:satMod val="400000"/>
              </a:srgbClr>
            </a:duotone>
          </a:blip>
          <a:stretch>
            <a:fillRect/>
          </a:stretch>
        </p:blipFill>
        <p:spPr>
          <a:xfrm>
            <a:off x="13056016" y="3251353"/>
            <a:ext cx="452118" cy="801484"/>
          </a:xfrm>
          <a:prstGeom prst="rect">
            <a:avLst/>
          </a:prstGeom>
          <a:noFill/>
        </p:spPr>
      </p:pic>
      <p:sp>
        <p:nvSpPr>
          <p:cNvPr id="46" name="Oval 45">
            <a:extLst>
              <a:ext uri="{FF2B5EF4-FFF2-40B4-BE49-F238E27FC236}">
                <a16:creationId xmlns:a16="http://schemas.microsoft.com/office/drawing/2014/main" id="{BE9CCE2F-2FF1-4FD6-8BA2-99169B88081E}"/>
              </a:ext>
            </a:extLst>
          </p:cNvPr>
          <p:cNvSpPr/>
          <p:nvPr/>
        </p:nvSpPr>
        <p:spPr>
          <a:xfrm>
            <a:off x="4484879" y="-3055518"/>
            <a:ext cx="10235095" cy="10781690"/>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Oval 46">
            <a:extLst>
              <a:ext uri="{FF2B5EF4-FFF2-40B4-BE49-F238E27FC236}">
                <a16:creationId xmlns:a16="http://schemas.microsoft.com/office/drawing/2014/main" id="{4306EF44-F0F9-4446-82E6-A16C21F8C522}"/>
              </a:ext>
            </a:extLst>
          </p:cNvPr>
          <p:cNvSpPr/>
          <p:nvPr/>
        </p:nvSpPr>
        <p:spPr>
          <a:xfrm>
            <a:off x="-2810528" y="-924716"/>
            <a:ext cx="10235095" cy="10781690"/>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3C7CF22E-6E14-443B-BE8E-B401DD30E60A}"/>
              </a:ext>
            </a:extLst>
          </p:cNvPr>
          <p:cNvSpPr txBox="1"/>
          <p:nvPr/>
        </p:nvSpPr>
        <p:spPr>
          <a:xfrm>
            <a:off x="3136715" y="3159881"/>
            <a:ext cx="6519471" cy="267765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Database Schem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Tables &amp; Relationship</a:t>
            </a:r>
            <a:endParaRPr kumimoji="0" lang="en-MY" sz="1800" b="0"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alibri" panose="020F0502020204030204"/>
              <a:ea typeface="+mn-ea"/>
              <a:cs typeface="+mn-cs"/>
            </a:endParaRPr>
          </a:p>
        </p:txBody>
      </p:sp>
      <p:grpSp>
        <p:nvGrpSpPr>
          <p:cNvPr id="60" name="Group 59">
            <a:extLst>
              <a:ext uri="{FF2B5EF4-FFF2-40B4-BE49-F238E27FC236}">
                <a16:creationId xmlns:a16="http://schemas.microsoft.com/office/drawing/2014/main" id="{C2B52133-15F3-4364-B692-0A54D79E2DE1}"/>
              </a:ext>
            </a:extLst>
          </p:cNvPr>
          <p:cNvGrpSpPr/>
          <p:nvPr/>
        </p:nvGrpSpPr>
        <p:grpSpPr>
          <a:xfrm rot="10117570">
            <a:off x="-6248789" y="3143227"/>
            <a:ext cx="8211469" cy="7922438"/>
            <a:chOff x="-7359647" y="3481383"/>
            <a:chExt cx="8211469" cy="7641093"/>
          </a:xfrm>
        </p:grpSpPr>
        <p:sp>
          <p:nvSpPr>
            <p:cNvPr id="61" name="Freeform: Shape 60">
              <a:extLst>
                <a:ext uri="{FF2B5EF4-FFF2-40B4-BE49-F238E27FC236}">
                  <a16:creationId xmlns:a16="http://schemas.microsoft.com/office/drawing/2014/main" id="{9F6E0C86-60EE-4697-8DE7-9563EA73BD26}"/>
                </a:ext>
              </a:extLst>
            </p:cNvPr>
            <p:cNvSpPr/>
            <p:nvPr/>
          </p:nvSpPr>
          <p:spPr>
            <a:xfrm rot="5400000">
              <a:off x="-7074459" y="3196195"/>
              <a:ext cx="7641093" cy="8211469"/>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2">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9E0F3BC8-6C13-49EE-982B-2061343971E7}"/>
                </a:ext>
              </a:extLst>
            </p:cNvPr>
            <p:cNvSpPr/>
            <p:nvPr/>
          </p:nvSpPr>
          <p:spPr>
            <a:xfrm rot="5400000">
              <a:off x="-6543154" y="3693520"/>
              <a:ext cx="6715530" cy="7216817"/>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2">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3" name="Group 22">
            <a:extLst>
              <a:ext uri="{FF2B5EF4-FFF2-40B4-BE49-F238E27FC236}">
                <a16:creationId xmlns:a16="http://schemas.microsoft.com/office/drawing/2014/main" id="{898F7909-32AE-4772-9458-13B8761B9E26}"/>
              </a:ext>
            </a:extLst>
          </p:cNvPr>
          <p:cNvGrpSpPr/>
          <p:nvPr/>
        </p:nvGrpSpPr>
        <p:grpSpPr>
          <a:xfrm rot="10117570">
            <a:off x="8950281" y="-6028526"/>
            <a:ext cx="8211469" cy="7922438"/>
            <a:chOff x="-7359647" y="3481383"/>
            <a:chExt cx="8211469" cy="7641093"/>
          </a:xfrm>
        </p:grpSpPr>
        <p:sp>
          <p:nvSpPr>
            <p:cNvPr id="24" name="Freeform: Shape 23">
              <a:extLst>
                <a:ext uri="{FF2B5EF4-FFF2-40B4-BE49-F238E27FC236}">
                  <a16:creationId xmlns:a16="http://schemas.microsoft.com/office/drawing/2014/main" id="{B731EAF9-E34A-430A-99C4-4FA00AD7AF17}"/>
                </a:ext>
              </a:extLst>
            </p:cNvPr>
            <p:cNvSpPr/>
            <p:nvPr/>
          </p:nvSpPr>
          <p:spPr>
            <a:xfrm rot="5400000">
              <a:off x="-7074459" y="3196195"/>
              <a:ext cx="7641093" cy="8211469"/>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2">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Freeform: Shape 24">
              <a:extLst>
                <a:ext uri="{FF2B5EF4-FFF2-40B4-BE49-F238E27FC236}">
                  <a16:creationId xmlns:a16="http://schemas.microsoft.com/office/drawing/2014/main" id="{E047BD17-C130-41C3-A030-8BC9CCE081ED}"/>
                </a:ext>
              </a:extLst>
            </p:cNvPr>
            <p:cNvSpPr/>
            <p:nvPr/>
          </p:nvSpPr>
          <p:spPr>
            <a:xfrm rot="5400000">
              <a:off x="-6543154" y="3693520"/>
              <a:ext cx="6715530" cy="7216817"/>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2">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6" name="TextBox 25">
            <a:extLst>
              <a:ext uri="{FF2B5EF4-FFF2-40B4-BE49-F238E27FC236}">
                <a16:creationId xmlns:a16="http://schemas.microsoft.com/office/drawing/2014/main" id="{6E91FEF0-52C3-4964-83EA-1D248E5B0647}"/>
              </a:ext>
            </a:extLst>
          </p:cNvPr>
          <p:cNvSpPr txBox="1"/>
          <p:nvPr/>
        </p:nvSpPr>
        <p:spPr>
          <a:xfrm>
            <a:off x="590531" y="-877230"/>
            <a:ext cx="1153039"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hmppt</a:t>
            </a:r>
            <a:endParaRPr kumimoji="0" lang="en-MY" sz="600" b="0"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alibri" panose="020F0502020204030204"/>
              <a:ea typeface="+mn-ea"/>
              <a:cs typeface="+mn-cs"/>
            </a:endParaRPr>
          </a:p>
        </p:txBody>
      </p:sp>
      <p:pic>
        <p:nvPicPr>
          <p:cNvPr id="28" name="Picture 27">
            <a:extLst>
              <a:ext uri="{FF2B5EF4-FFF2-40B4-BE49-F238E27FC236}">
                <a16:creationId xmlns:a16="http://schemas.microsoft.com/office/drawing/2014/main" id="{98691F3D-AA3F-4399-A51A-A17ADEB8BD3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3740" y="-582471"/>
            <a:ext cx="335075" cy="333811"/>
          </a:xfrm>
          <a:prstGeom prst="rect">
            <a:avLst/>
          </a:prstGeom>
        </p:spPr>
      </p:pic>
      <p:sp>
        <p:nvSpPr>
          <p:cNvPr id="29" name="TextBox 28">
            <a:extLst>
              <a:ext uri="{FF2B5EF4-FFF2-40B4-BE49-F238E27FC236}">
                <a16:creationId xmlns:a16="http://schemas.microsoft.com/office/drawing/2014/main" id="{7BD1BC3E-027C-4A23-89DA-18A8B7B8A871}"/>
              </a:ext>
            </a:extLst>
          </p:cNvPr>
          <p:cNvSpPr txBox="1"/>
          <p:nvPr/>
        </p:nvSpPr>
        <p:spPr>
          <a:xfrm>
            <a:off x="1809826" y="-1058181"/>
            <a:ext cx="75957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Home</a:t>
            </a:r>
            <a:endParaRPr kumimoji="0" lang="en-MY" sz="2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5290161E-7145-4CB6-BC75-C4685C79D80B}"/>
              </a:ext>
            </a:extLst>
          </p:cNvPr>
          <p:cNvSpPr txBox="1"/>
          <p:nvPr/>
        </p:nvSpPr>
        <p:spPr>
          <a:xfrm>
            <a:off x="2486381" y="-1342099"/>
            <a:ext cx="77144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Menus </a:t>
            </a:r>
            <a:endParaRPr kumimoji="0" lang="en-MY" sz="2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32C31A47-E1CC-4472-8012-6AE2FF284EA2}"/>
              </a:ext>
            </a:extLst>
          </p:cNvPr>
          <p:cNvSpPr txBox="1"/>
          <p:nvPr/>
        </p:nvSpPr>
        <p:spPr>
          <a:xfrm>
            <a:off x="3229191" y="-1637979"/>
            <a:ext cx="77145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Points </a:t>
            </a:r>
            <a:endParaRPr kumimoji="0" lang="en-MY" sz="2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alibri" panose="020F0502020204030204"/>
              <a:ea typeface="+mn-ea"/>
              <a:cs typeface="+mn-cs"/>
            </a:endParaRPr>
          </a:p>
        </p:txBody>
      </p:sp>
      <p:pic>
        <p:nvPicPr>
          <p:cNvPr id="2" name="Picture 10">
            <a:extLst>
              <a:ext uri="{FF2B5EF4-FFF2-40B4-BE49-F238E27FC236}">
                <a16:creationId xmlns:a16="http://schemas.microsoft.com/office/drawing/2014/main" id="{8D618CFB-9D70-1F3C-5F4A-CBC4034205D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5334236" y="986911"/>
            <a:ext cx="2063876" cy="206387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82766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750" advTm="500">
        <p159:morph option="byObject"/>
      </p:transition>
    </mc:Choice>
    <mc:Fallback xmlns="">
      <p:transition spd="slow" advTm="500">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6000" b="-6000"/>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0654459" y="2569778"/>
            <a:ext cx="1003312" cy="993229"/>
          </a:xfrm>
          <a:prstGeom prst="rect">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5558574" y="1434346"/>
            <a:ext cx="718466"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5F6FA"/>
                </a:solidFill>
                <a:effectLst/>
                <a:uLnTx/>
                <a:uFillTx/>
                <a:latin typeface="Poppins" panose="00000500000000000000" pitchFamily="2" charset="0"/>
                <a:ea typeface="+mn-ea"/>
                <a:cs typeface="Poppins" panose="00000500000000000000" pitchFamily="2" charset="0"/>
              </a:rPr>
              <a:t>User</a:t>
            </a:r>
          </a:p>
        </p:txBody>
      </p:sp>
      <p:sp>
        <p:nvSpPr>
          <p:cNvPr id="8" name="TextBox 7">
            <a:extLst>
              <a:ext uri="{FF2B5EF4-FFF2-40B4-BE49-F238E27FC236}">
                <a16:creationId xmlns:a16="http://schemas.microsoft.com/office/drawing/2014/main" id="{A6F98398-D37C-48F7-AFB4-61414B26E841}"/>
              </a:ext>
            </a:extLst>
          </p:cNvPr>
          <p:cNvSpPr txBox="1"/>
          <p:nvPr/>
        </p:nvSpPr>
        <p:spPr>
          <a:xfrm>
            <a:off x="8463321" y="1564429"/>
            <a:ext cx="936474"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lumMod val="75000"/>
                  </a:srgbClr>
                </a:solidFill>
                <a:effectLst/>
                <a:uLnTx/>
                <a:uFillTx/>
                <a:latin typeface="Poppins" panose="00000500000000000000" pitchFamily="2" charset="0"/>
                <a:ea typeface="+mn-ea"/>
                <a:cs typeface="Poppins" panose="00000500000000000000" pitchFamily="2" charset="0"/>
              </a:rPr>
              <a:t>Profile</a:t>
            </a:r>
          </a:p>
        </p:txBody>
      </p:sp>
      <p:sp>
        <p:nvSpPr>
          <p:cNvPr id="9" name="TextBox 8">
            <a:extLst>
              <a:ext uri="{FF2B5EF4-FFF2-40B4-BE49-F238E27FC236}">
                <a16:creationId xmlns:a16="http://schemas.microsoft.com/office/drawing/2014/main" id="{08049B4D-14D3-4EBB-B0AD-A4BE4C136E58}"/>
              </a:ext>
            </a:extLst>
          </p:cNvPr>
          <p:cNvSpPr txBox="1"/>
          <p:nvPr/>
        </p:nvSpPr>
        <p:spPr>
          <a:xfrm>
            <a:off x="10400389" y="1564429"/>
            <a:ext cx="1487908" cy="338554"/>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600" b="1" i="0" u="none" strike="noStrike" kern="1200" cap="none" spc="0" normalizeH="0" baseline="0" noProof="0" dirty="0">
                <a:ln>
                  <a:noFill/>
                </a:ln>
                <a:solidFill>
                  <a:srgbClr val="FFFFFF">
                    <a:lumMod val="65000"/>
                  </a:srgbClr>
                </a:solidFill>
                <a:effectLst/>
                <a:uLnTx/>
                <a:uFillTx/>
                <a:latin typeface="Poppins" panose="00000500000000000000" pitchFamily="2" charset="0"/>
                <a:ea typeface="+mn-ea"/>
                <a:cs typeface="Poppins" panose="00000500000000000000" pitchFamily="2" charset="0"/>
              </a:rPr>
              <a:t>Profile_User</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206700" y="5801742"/>
            <a:ext cx="3778599"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5F6FA"/>
                </a:solidFill>
                <a:effectLst/>
                <a:uLnTx/>
                <a:uFillTx/>
                <a:latin typeface="Bahnschrift SemiBold" panose="020B0502040204020203" pitchFamily="34" charset="0"/>
                <a:ea typeface="+mn-ea"/>
                <a:cs typeface="+mn-cs"/>
              </a:rPr>
              <a:t>Store the data about Register User</a:t>
            </a:r>
          </a:p>
        </p:txBody>
      </p:sp>
      <p:pic>
        <p:nvPicPr>
          <p:cNvPr id="23" name="Picture 22">
            <a:extLst>
              <a:ext uri="{FF2B5EF4-FFF2-40B4-BE49-F238E27FC236}">
                <a16:creationId xmlns:a16="http://schemas.microsoft.com/office/drawing/2014/main" id="{C645EAF7-5E27-E916-70C3-1B0E5220C52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107032" y="1902983"/>
            <a:ext cx="1621548" cy="3690421"/>
          </a:xfrm>
          <a:prstGeom prst="rect">
            <a:avLst/>
          </a:prstGeom>
        </p:spPr>
      </p:pic>
      <p:pic>
        <p:nvPicPr>
          <p:cNvPr id="25" name="Picture 24">
            <a:extLst>
              <a:ext uri="{FF2B5EF4-FFF2-40B4-BE49-F238E27FC236}">
                <a16:creationId xmlns:a16="http://schemas.microsoft.com/office/drawing/2014/main" id="{7F561A31-5708-4F5E-EC13-BF60277FF819}"/>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185661" y="2075688"/>
            <a:ext cx="1670588" cy="2180118"/>
          </a:xfrm>
          <a:prstGeom prst="rect">
            <a:avLst/>
          </a:prstGeom>
        </p:spPr>
      </p:pic>
      <p:sp>
        <p:nvSpPr>
          <p:cNvPr id="26" name="TextBox 25">
            <a:extLst>
              <a:ext uri="{FF2B5EF4-FFF2-40B4-BE49-F238E27FC236}">
                <a16:creationId xmlns:a16="http://schemas.microsoft.com/office/drawing/2014/main" id="{3D459276-B5E5-93DA-8A84-311089B20964}"/>
              </a:ext>
            </a:extLst>
          </p:cNvPr>
          <p:cNvSpPr txBox="1"/>
          <p:nvPr/>
        </p:nvSpPr>
        <p:spPr>
          <a:xfrm>
            <a:off x="13159317" y="1576530"/>
            <a:ext cx="617478" cy="338554"/>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600" b="0" i="0" u="none" strike="noStrike" kern="1200" cap="none" spc="0" normalizeH="0" baseline="0" noProof="0" dirty="0">
                <a:ln>
                  <a:noFill/>
                </a:ln>
                <a:solidFill>
                  <a:srgbClr val="FFFFFF">
                    <a:lumMod val="65000"/>
                  </a:srgbClr>
                </a:solidFill>
                <a:effectLst/>
                <a:uLnTx/>
                <a:uFillTx/>
                <a:latin typeface="Poppins" panose="00000500000000000000" pitchFamily="2" charset="0"/>
                <a:cs typeface="Poppins" panose="00000500000000000000" pitchFamily="2" charset="0"/>
              </a:rPr>
              <a:t>Post</a:t>
            </a:r>
          </a:p>
        </p:txBody>
      </p:sp>
      <p:pic>
        <p:nvPicPr>
          <p:cNvPr id="27" name="Picture 26">
            <a:extLst>
              <a:ext uri="{FF2B5EF4-FFF2-40B4-BE49-F238E27FC236}">
                <a16:creationId xmlns:a16="http://schemas.microsoft.com/office/drawing/2014/main" id="{7A68B110-1213-00A7-B272-FA4A81F24FF3}"/>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3136538" y="2626454"/>
            <a:ext cx="642481" cy="936553"/>
          </a:xfrm>
          <a:prstGeom prst="rect">
            <a:avLst/>
          </a:prstGeom>
        </p:spPr>
      </p:pic>
    </p:spTree>
    <p:custDataLst>
      <p:tags r:id="rId1"/>
    </p:custDataLst>
    <p:extLst>
      <p:ext uri="{BB962C8B-B14F-4D97-AF65-F5344CB8AC3E}">
        <p14:creationId xmlns:p14="http://schemas.microsoft.com/office/powerpoint/2010/main" val="3531388803"/>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6000" b="-6000"/>
          </a:stretch>
        </a:blip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5ACF30AF-AF43-4AA8-8123-82B4D83D41EF}"/>
              </a:ext>
            </a:extLst>
          </p:cNvPr>
          <p:cNvSpPr txBox="1"/>
          <p:nvPr/>
        </p:nvSpPr>
        <p:spPr>
          <a:xfrm>
            <a:off x="5627766" y="1442181"/>
            <a:ext cx="936474"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5F6FA"/>
                </a:solidFill>
                <a:effectLst/>
                <a:uLnTx/>
                <a:uFillTx/>
                <a:latin typeface="Poppins" panose="00000500000000000000" pitchFamily="2" charset="0"/>
                <a:ea typeface="+mn-ea"/>
                <a:cs typeface="Poppins" panose="00000500000000000000" pitchFamily="2" charset="0"/>
              </a:rPr>
              <a:t>Profile</a:t>
            </a:r>
          </a:p>
        </p:txBody>
      </p:sp>
      <p:sp>
        <p:nvSpPr>
          <p:cNvPr id="8" name="TextBox 7">
            <a:extLst>
              <a:ext uri="{FF2B5EF4-FFF2-40B4-BE49-F238E27FC236}">
                <a16:creationId xmlns:a16="http://schemas.microsoft.com/office/drawing/2014/main" id="{A6F98398-D37C-48F7-AFB4-61414B26E841}"/>
              </a:ext>
            </a:extLst>
          </p:cNvPr>
          <p:cNvSpPr txBox="1"/>
          <p:nvPr/>
        </p:nvSpPr>
        <p:spPr>
          <a:xfrm>
            <a:off x="8106654" y="1564429"/>
            <a:ext cx="1649811"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lumMod val="75000"/>
                  </a:srgbClr>
                </a:solidFill>
                <a:effectLst/>
                <a:uLnTx/>
                <a:uFillTx/>
                <a:latin typeface="Poppins" panose="00000500000000000000" pitchFamily="2" charset="0"/>
                <a:ea typeface="+mn-ea"/>
                <a:cs typeface="Poppins" panose="00000500000000000000" pitchFamily="2" charset="0"/>
              </a:rPr>
              <a:t>Profile_User</a:t>
            </a:r>
          </a:p>
        </p:txBody>
      </p:sp>
      <p:sp>
        <p:nvSpPr>
          <p:cNvPr id="9" name="TextBox 8">
            <a:extLst>
              <a:ext uri="{FF2B5EF4-FFF2-40B4-BE49-F238E27FC236}">
                <a16:creationId xmlns:a16="http://schemas.microsoft.com/office/drawing/2014/main" id="{08049B4D-14D3-4EBB-B0AD-A4BE4C136E58}"/>
              </a:ext>
            </a:extLst>
          </p:cNvPr>
          <p:cNvSpPr txBox="1"/>
          <p:nvPr/>
        </p:nvSpPr>
        <p:spPr>
          <a:xfrm>
            <a:off x="10823583" y="1564429"/>
            <a:ext cx="641522" cy="338554"/>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600" b="1" i="0" u="none" strike="noStrike" kern="1200" cap="none" spc="0" normalizeH="0" baseline="0" noProof="0" dirty="0">
                <a:ln>
                  <a:noFill/>
                </a:ln>
                <a:solidFill>
                  <a:srgbClr val="FFFFFF">
                    <a:lumMod val="65000"/>
                  </a:srgbClr>
                </a:solidFill>
                <a:effectLst/>
                <a:uLnTx/>
                <a:uFillTx/>
                <a:latin typeface="Poppins" panose="00000500000000000000" pitchFamily="2" charset="0"/>
                <a:cs typeface="Poppins" panose="00000500000000000000" pitchFamily="2" charset="0"/>
              </a:rPr>
              <a:t>Post</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901214" y="1564429"/>
            <a:ext cx="718466"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lumMod val="75000"/>
                  </a:srgbClr>
                </a:solidFill>
                <a:effectLst/>
                <a:uLnTx/>
                <a:uFillTx/>
                <a:latin typeface="Poppins" panose="00000500000000000000" pitchFamily="2" charset="0"/>
                <a:ea typeface="+mn-ea"/>
                <a:cs typeface="Poppins" panose="00000500000000000000" pitchFamily="2" charset="0"/>
              </a:rPr>
              <a:t>User</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140197" y="5441819"/>
            <a:ext cx="3911604" cy="369332"/>
          </a:xfrm>
          <a:prstGeom prst="rect">
            <a:avLst/>
          </a:prstGeom>
          <a:noFill/>
        </p:spPr>
        <p:txBody>
          <a:bodyPr wrap="squar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0" i="0" u="none" strike="noStrike" kern="1200" cap="none" spc="0" normalizeH="0" baseline="0" noProof="0" dirty="0">
                <a:ln>
                  <a:noFill/>
                </a:ln>
                <a:solidFill>
                  <a:srgbClr val="F5F6FA"/>
                </a:solidFill>
                <a:effectLst/>
                <a:uLnTx/>
                <a:uFillTx/>
                <a:latin typeface="Bahnschrift SemiBold" panose="020B0502040204020203" pitchFamily="34" charset="0"/>
                <a:ea typeface="+mn-ea"/>
                <a:cs typeface="+mn-cs"/>
              </a:rPr>
              <a:t>Store data about User‘s Profile</a:t>
            </a:r>
          </a:p>
        </p:txBody>
      </p:sp>
      <p:pic>
        <p:nvPicPr>
          <p:cNvPr id="24" name="Picture 23">
            <a:extLst>
              <a:ext uri="{FF2B5EF4-FFF2-40B4-BE49-F238E27FC236}">
                <a16:creationId xmlns:a16="http://schemas.microsoft.com/office/drawing/2014/main" id="{FBB880A8-61D4-D7B7-FDC9-12D4D3EE86B5}"/>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2758121" y="2364522"/>
            <a:ext cx="935449" cy="2128955"/>
          </a:xfrm>
          <a:prstGeom prst="rect">
            <a:avLst/>
          </a:prstGeom>
        </p:spPr>
      </p:pic>
      <p:pic>
        <p:nvPicPr>
          <p:cNvPr id="26" name="Picture 25">
            <a:extLst>
              <a:ext uri="{FF2B5EF4-FFF2-40B4-BE49-F238E27FC236}">
                <a16:creationId xmlns:a16="http://schemas.microsoft.com/office/drawing/2014/main" id="{F3E91634-FB2F-D608-406F-4B4E8C95775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5149249" y="2016616"/>
            <a:ext cx="2027328" cy="2645664"/>
          </a:xfrm>
          <a:prstGeom prst="rect">
            <a:avLst/>
          </a:prstGeom>
        </p:spPr>
      </p:pic>
      <p:pic>
        <p:nvPicPr>
          <p:cNvPr id="28" name="Picture 27">
            <a:extLst>
              <a:ext uri="{FF2B5EF4-FFF2-40B4-BE49-F238E27FC236}">
                <a16:creationId xmlns:a16="http://schemas.microsoft.com/office/drawing/2014/main" id="{F4D6FBC8-7B2C-C51F-E80D-30858DBB7595}"/>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987514" y="2540092"/>
            <a:ext cx="1482605" cy="1467704"/>
          </a:xfrm>
          <a:prstGeom prst="rect">
            <a:avLst/>
          </a:prstGeom>
        </p:spPr>
      </p:pic>
      <p:pic>
        <p:nvPicPr>
          <p:cNvPr id="30" name="Picture 29">
            <a:extLst>
              <a:ext uri="{FF2B5EF4-FFF2-40B4-BE49-F238E27FC236}">
                <a16:creationId xmlns:a16="http://schemas.microsoft.com/office/drawing/2014/main" id="{E77F1093-B4A7-5853-763F-F504FC1C7E36}"/>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10667101" y="2614353"/>
            <a:ext cx="788205" cy="1148977"/>
          </a:xfrm>
          <a:prstGeom prst="rect">
            <a:avLst/>
          </a:prstGeom>
        </p:spPr>
      </p:pic>
      <p:pic>
        <p:nvPicPr>
          <p:cNvPr id="32" name="Picture 31">
            <a:extLst>
              <a:ext uri="{FF2B5EF4-FFF2-40B4-BE49-F238E27FC236}">
                <a16:creationId xmlns:a16="http://schemas.microsoft.com/office/drawing/2014/main" id="{9F66B56A-4D70-01ED-8364-07980FF13EB2}"/>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12938579" y="2476192"/>
            <a:ext cx="995449" cy="1148977"/>
          </a:xfrm>
          <a:prstGeom prst="rect">
            <a:avLst/>
          </a:prstGeom>
        </p:spPr>
      </p:pic>
      <p:sp>
        <p:nvSpPr>
          <p:cNvPr id="33" name="TextBox 32">
            <a:extLst>
              <a:ext uri="{FF2B5EF4-FFF2-40B4-BE49-F238E27FC236}">
                <a16:creationId xmlns:a16="http://schemas.microsoft.com/office/drawing/2014/main" id="{A5B0613F-0E7A-FA2F-6B85-994A07494553}"/>
              </a:ext>
            </a:extLst>
          </p:cNvPr>
          <p:cNvSpPr txBox="1"/>
          <p:nvPr/>
        </p:nvSpPr>
        <p:spPr>
          <a:xfrm>
            <a:off x="13081080" y="1595207"/>
            <a:ext cx="710452" cy="338554"/>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600" b="1" i="0" u="none" strike="noStrike" kern="1200" cap="none" spc="0" normalizeH="0" baseline="0" noProof="0" dirty="0">
                <a:ln>
                  <a:noFill/>
                </a:ln>
                <a:solidFill>
                  <a:srgbClr val="FFFFFF">
                    <a:lumMod val="65000"/>
                  </a:srgbClr>
                </a:solidFill>
                <a:effectLst/>
                <a:uLnTx/>
                <a:uFillTx/>
                <a:latin typeface="Poppins" panose="00000500000000000000" pitchFamily="2" charset="0"/>
                <a:cs typeface="Poppins" panose="00000500000000000000" pitchFamily="2" charset="0"/>
              </a:rPr>
              <a:t>Likes</a:t>
            </a:r>
          </a:p>
        </p:txBody>
      </p:sp>
    </p:spTree>
    <p:custDataLst>
      <p:tags r:id="rId1"/>
    </p:custDataLst>
    <p:extLst>
      <p:ext uri="{BB962C8B-B14F-4D97-AF65-F5344CB8AC3E}">
        <p14:creationId xmlns:p14="http://schemas.microsoft.com/office/powerpoint/2010/main" val="172499577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6000" b="-6000"/>
          </a:stretch>
        </a:blip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5ACF30AF-AF43-4AA8-8123-82B4D83D41EF}"/>
              </a:ext>
            </a:extLst>
          </p:cNvPr>
          <p:cNvSpPr txBox="1"/>
          <p:nvPr/>
        </p:nvSpPr>
        <p:spPr>
          <a:xfrm>
            <a:off x="5144464" y="1412535"/>
            <a:ext cx="1649811"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5F6FA"/>
                </a:solidFill>
                <a:effectLst/>
                <a:uLnTx/>
                <a:uFillTx/>
                <a:latin typeface="Poppins" panose="00000500000000000000" pitchFamily="2" charset="0"/>
                <a:ea typeface="+mn-ea"/>
                <a:cs typeface="Poppins" panose="00000500000000000000" pitchFamily="2" charset="0"/>
              </a:rPr>
              <a:t>Profile_User</a:t>
            </a:r>
          </a:p>
        </p:txBody>
      </p:sp>
      <p:sp>
        <p:nvSpPr>
          <p:cNvPr id="8" name="TextBox 7">
            <a:extLst>
              <a:ext uri="{FF2B5EF4-FFF2-40B4-BE49-F238E27FC236}">
                <a16:creationId xmlns:a16="http://schemas.microsoft.com/office/drawing/2014/main" id="{A6F98398-D37C-48F7-AFB4-61414B26E841}"/>
              </a:ext>
            </a:extLst>
          </p:cNvPr>
          <p:cNvSpPr txBox="1"/>
          <p:nvPr/>
        </p:nvSpPr>
        <p:spPr>
          <a:xfrm>
            <a:off x="8582746" y="1564429"/>
            <a:ext cx="697628"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lumMod val="75000"/>
                  </a:srgbClr>
                </a:solidFill>
                <a:effectLst/>
                <a:uLnTx/>
                <a:uFillTx/>
                <a:latin typeface="Poppins" panose="00000500000000000000" pitchFamily="2" charset="0"/>
                <a:ea typeface="+mn-ea"/>
                <a:cs typeface="Poppins" panose="00000500000000000000" pitchFamily="2" charset="0"/>
              </a:rPr>
              <a:t>Post</a:t>
            </a:r>
          </a:p>
        </p:txBody>
      </p:sp>
      <p:sp>
        <p:nvSpPr>
          <p:cNvPr id="9" name="TextBox 8">
            <a:extLst>
              <a:ext uri="{FF2B5EF4-FFF2-40B4-BE49-F238E27FC236}">
                <a16:creationId xmlns:a16="http://schemas.microsoft.com/office/drawing/2014/main" id="{08049B4D-14D3-4EBB-B0AD-A4BE4C136E58}"/>
              </a:ext>
            </a:extLst>
          </p:cNvPr>
          <p:cNvSpPr txBox="1"/>
          <p:nvPr/>
        </p:nvSpPr>
        <p:spPr>
          <a:xfrm>
            <a:off x="10846023" y="1564429"/>
            <a:ext cx="596638" cy="338554"/>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600" b="1" i="0" u="none" strike="noStrike" kern="1200" cap="none" spc="0" normalizeH="0" baseline="0" noProof="0" dirty="0">
                <a:ln>
                  <a:noFill/>
                </a:ln>
                <a:solidFill>
                  <a:srgbClr val="FFFFFF">
                    <a:lumMod val="65000"/>
                  </a:srgbClr>
                </a:solidFill>
                <a:effectLst/>
                <a:uLnTx/>
                <a:uFillTx/>
                <a:latin typeface="Poppins" panose="00000500000000000000" pitchFamily="2" charset="0"/>
                <a:ea typeface="+mn-ea"/>
                <a:cs typeface="Poppins" panose="00000500000000000000" pitchFamily="2" charset="0"/>
              </a:rPr>
              <a:t>Like</a:t>
            </a:r>
          </a:p>
        </p:txBody>
      </p:sp>
      <p:sp>
        <p:nvSpPr>
          <p:cNvPr id="10" name="TextBox 9">
            <a:extLst>
              <a:ext uri="{FF2B5EF4-FFF2-40B4-BE49-F238E27FC236}">
                <a16:creationId xmlns:a16="http://schemas.microsoft.com/office/drawing/2014/main" id="{2D955090-E87B-41DF-B5F9-2F676D0D45F4}"/>
              </a:ext>
            </a:extLst>
          </p:cNvPr>
          <p:cNvSpPr txBox="1"/>
          <p:nvPr/>
        </p:nvSpPr>
        <p:spPr>
          <a:xfrm>
            <a:off x="718885" y="1564429"/>
            <a:ext cx="657552" cy="338554"/>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600" b="1" i="0" u="none" strike="noStrike" kern="1200" cap="none" spc="0" normalizeH="0" baseline="0" noProof="0" dirty="0">
                <a:ln>
                  <a:noFill/>
                </a:ln>
                <a:solidFill>
                  <a:srgbClr val="FFFFFF">
                    <a:lumMod val="65000"/>
                  </a:srgbClr>
                </a:solidFill>
                <a:effectLst/>
                <a:uLnTx/>
                <a:uFillTx/>
                <a:latin typeface="Poppins" panose="00000500000000000000" pitchFamily="2" charset="0"/>
                <a:ea typeface="+mn-ea"/>
                <a:cs typeface="Poppins" panose="00000500000000000000" pitchFamily="2" charset="0"/>
              </a:rPr>
              <a:t>User</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792213" y="1564429"/>
            <a:ext cx="936475"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lumMod val="75000"/>
                  </a:srgbClr>
                </a:solidFill>
                <a:effectLst/>
                <a:uLnTx/>
                <a:uFillTx/>
                <a:latin typeface="Poppins" panose="00000500000000000000" pitchFamily="2" charset="0"/>
                <a:ea typeface="+mn-ea"/>
                <a:cs typeface="Poppins" panose="00000500000000000000" pitchFamily="2" charset="0"/>
              </a:rPr>
              <a:t>Profile</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274506" y="5441819"/>
            <a:ext cx="3642985" cy="646331"/>
          </a:xfrm>
          <a:prstGeom prst="rect">
            <a:avLst/>
          </a:prstGeom>
          <a:noFill/>
        </p:spPr>
        <p:txBody>
          <a:bodyPr wrap="squar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0" i="0" u="none" strike="noStrike" kern="1200" cap="none" spc="0" normalizeH="0" baseline="0" noProof="0" dirty="0">
                <a:ln>
                  <a:noFill/>
                </a:ln>
                <a:solidFill>
                  <a:srgbClr val="F5F6FA"/>
                </a:solidFill>
                <a:effectLst/>
                <a:uLnTx/>
                <a:uFillTx/>
                <a:latin typeface="Bahnschrift SemiBold" panose="020B0502040204020203" pitchFamily="34" charset="0"/>
                <a:ea typeface="+mn-ea"/>
                <a:cs typeface="+mn-cs"/>
              </a:rPr>
              <a:t>Store data about which profile belongs to which user</a:t>
            </a:r>
          </a:p>
        </p:txBody>
      </p:sp>
      <p:pic>
        <p:nvPicPr>
          <p:cNvPr id="24" name="Picture 23">
            <a:extLst>
              <a:ext uri="{FF2B5EF4-FFF2-40B4-BE49-F238E27FC236}">
                <a16:creationId xmlns:a16="http://schemas.microsoft.com/office/drawing/2014/main" id="{92747CAA-7C62-E9A3-4988-703882E1A595}"/>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702952" y="2344153"/>
            <a:ext cx="744269" cy="1693856"/>
          </a:xfrm>
          <a:prstGeom prst="rect">
            <a:avLst/>
          </a:prstGeom>
        </p:spPr>
      </p:pic>
      <p:pic>
        <p:nvPicPr>
          <p:cNvPr id="26" name="Picture 25">
            <a:extLst>
              <a:ext uri="{FF2B5EF4-FFF2-40B4-BE49-F238E27FC236}">
                <a16:creationId xmlns:a16="http://schemas.microsoft.com/office/drawing/2014/main" id="{859DC77F-8DC3-7371-967A-3CB73F508D4C}"/>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2429321" y="2200779"/>
            <a:ext cx="1535726" cy="2004123"/>
          </a:xfrm>
          <a:prstGeom prst="rect">
            <a:avLst/>
          </a:prstGeom>
        </p:spPr>
      </p:pic>
      <p:pic>
        <p:nvPicPr>
          <p:cNvPr id="28" name="Picture 27">
            <a:extLst>
              <a:ext uri="{FF2B5EF4-FFF2-40B4-BE49-F238E27FC236}">
                <a16:creationId xmlns:a16="http://schemas.microsoft.com/office/drawing/2014/main" id="{9F3F9B79-5A3D-4E40-7094-51ADC9112B35}"/>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4913201" y="2153889"/>
            <a:ext cx="2365594" cy="2341820"/>
          </a:xfrm>
          <a:prstGeom prst="rect">
            <a:avLst/>
          </a:prstGeom>
        </p:spPr>
      </p:pic>
      <p:pic>
        <p:nvPicPr>
          <p:cNvPr id="30" name="Picture 29">
            <a:extLst>
              <a:ext uri="{FF2B5EF4-FFF2-40B4-BE49-F238E27FC236}">
                <a16:creationId xmlns:a16="http://schemas.microsoft.com/office/drawing/2014/main" id="{95FE44C2-429F-29DC-FAFF-C02A48096391}"/>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8307355" y="2392493"/>
            <a:ext cx="1128834" cy="1645516"/>
          </a:xfrm>
          <a:prstGeom prst="rect">
            <a:avLst/>
          </a:prstGeom>
        </p:spPr>
      </p:pic>
      <p:pic>
        <p:nvPicPr>
          <p:cNvPr id="31" name="Picture 30">
            <a:extLst>
              <a:ext uri="{FF2B5EF4-FFF2-40B4-BE49-F238E27FC236}">
                <a16:creationId xmlns:a16="http://schemas.microsoft.com/office/drawing/2014/main" id="{56D179D5-FB8B-1332-0620-400D34014736}"/>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10819109" y="2392493"/>
            <a:ext cx="938677" cy="1083448"/>
          </a:xfrm>
          <a:prstGeom prst="rect">
            <a:avLst/>
          </a:prstGeom>
        </p:spPr>
      </p:pic>
      <p:pic>
        <p:nvPicPr>
          <p:cNvPr id="33" name="Picture 32">
            <a:extLst>
              <a:ext uri="{FF2B5EF4-FFF2-40B4-BE49-F238E27FC236}">
                <a16:creationId xmlns:a16="http://schemas.microsoft.com/office/drawing/2014/main" id="{67EC58B2-1F0D-DE64-A1C2-E183FAC4DA66}"/>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13140706" y="2476472"/>
            <a:ext cx="789214" cy="915489"/>
          </a:xfrm>
          <a:prstGeom prst="rect">
            <a:avLst/>
          </a:prstGeom>
        </p:spPr>
      </p:pic>
      <p:sp>
        <p:nvSpPr>
          <p:cNvPr id="34" name="TextBox 33">
            <a:extLst>
              <a:ext uri="{FF2B5EF4-FFF2-40B4-BE49-F238E27FC236}">
                <a16:creationId xmlns:a16="http://schemas.microsoft.com/office/drawing/2014/main" id="{EEE96569-D9B8-8A59-515A-426F6C79048A}"/>
              </a:ext>
            </a:extLst>
          </p:cNvPr>
          <p:cNvSpPr txBox="1"/>
          <p:nvPr/>
        </p:nvSpPr>
        <p:spPr>
          <a:xfrm>
            <a:off x="12766350" y="1597201"/>
            <a:ext cx="1257075" cy="338554"/>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600" b="1" i="0" u="none" strike="noStrike" kern="1200" cap="none" spc="0" normalizeH="0" baseline="0" noProof="0" dirty="0">
                <a:ln>
                  <a:noFill/>
                </a:ln>
                <a:solidFill>
                  <a:srgbClr val="FFFFFF">
                    <a:lumMod val="65000"/>
                  </a:srgbClr>
                </a:solidFill>
                <a:effectLst/>
                <a:uLnTx/>
                <a:uFillTx/>
                <a:latin typeface="Poppins" panose="00000500000000000000" pitchFamily="2" charset="0"/>
                <a:ea typeface="+mn-ea"/>
                <a:cs typeface="Poppins" panose="00000500000000000000" pitchFamily="2" charset="0"/>
              </a:rPr>
              <a:t>Comment</a:t>
            </a:r>
          </a:p>
        </p:txBody>
      </p:sp>
    </p:spTree>
    <p:custDataLst>
      <p:tags r:id="rId1"/>
    </p:custDataLst>
    <p:extLst>
      <p:ext uri="{BB962C8B-B14F-4D97-AF65-F5344CB8AC3E}">
        <p14:creationId xmlns:p14="http://schemas.microsoft.com/office/powerpoint/2010/main" val="400963279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6000" b="-6000"/>
          </a:stretch>
        </a:blip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5ACF30AF-AF43-4AA8-8123-82B4D83D41EF}"/>
              </a:ext>
            </a:extLst>
          </p:cNvPr>
          <p:cNvSpPr txBox="1"/>
          <p:nvPr/>
        </p:nvSpPr>
        <p:spPr>
          <a:xfrm>
            <a:off x="5747189" y="1564429"/>
            <a:ext cx="697628"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5F6FA"/>
                </a:solidFill>
                <a:effectLst/>
                <a:uLnTx/>
                <a:uFillTx/>
                <a:latin typeface="Poppins" panose="00000500000000000000" pitchFamily="2" charset="0"/>
                <a:ea typeface="+mn-ea"/>
                <a:cs typeface="Poppins" panose="00000500000000000000" pitchFamily="2" charset="0"/>
              </a:rPr>
              <a:t>Post</a:t>
            </a:r>
          </a:p>
        </p:txBody>
      </p:sp>
      <p:sp>
        <p:nvSpPr>
          <p:cNvPr id="8" name="TextBox 7">
            <a:extLst>
              <a:ext uri="{FF2B5EF4-FFF2-40B4-BE49-F238E27FC236}">
                <a16:creationId xmlns:a16="http://schemas.microsoft.com/office/drawing/2014/main" id="{A6F98398-D37C-48F7-AFB4-61414B26E841}"/>
              </a:ext>
            </a:extLst>
          </p:cNvPr>
          <p:cNvSpPr txBox="1"/>
          <p:nvPr/>
        </p:nvSpPr>
        <p:spPr>
          <a:xfrm>
            <a:off x="8607592" y="1564429"/>
            <a:ext cx="647934"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lumMod val="75000"/>
                  </a:srgbClr>
                </a:solidFill>
                <a:effectLst/>
                <a:uLnTx/>
                <a:uFillTx/>
                <a:latin typeface="Poppins" panose="00000500000000000000" pitchFamily="2" charset="0"/>
                <a:ea typeface="+mn-ea"/>
                <a:cs typeface="Poppins" panose="00000500000000000000" pitchFamily="2" charset="0"/>
              </a:rPr>
              <a:t>Like</a:t>
            </a:r>
          </a:p>
        </p:txBody>
      </p:sp>
      <p:sp>
        <p:nvSpPr>
          <p:cNvPr id="9" name="TextBox 8">
            <a:extLst>
              <a:ext uri="{FF2B5EF4-FFF2-40B4-BE49-F238E27FC236}">
                <a16:creationId xmlns:a16="http://schemas.microsoft.com/office/drawing/2014/main" id="{08049B4D-14D3-4EBB-B0AD-A4BE4C136E58}"/>
              </a:ext>
            </a:extLst>
          </p:cNvPr>
          <p:cNvSpPr txBox="1"/>
          <p:nvPr/>
        </p:nvSpPr>
        <p:spPr>
          <a:xfrm>
            <a:off x="10515806" y="1564429"/>
            <a:ext cx="1257075" cy="338554"/>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600" b="1" i="0" u="none" strike="noStrike" kern="1200" cap="none" spc="0" normalizeH="0" baseline="0" noProof="0" dirty="0">
                <a:ln>
                  <a:noFill/>
                </a:ln>
                <a:solidFill>
                  <a:srgbClr val="FFFFFF">
                    <a:lumMod val="65000"/>
                  </a:srgbClr>
                </a:solidFill>
                <a:effectLst/>
                <a:uLnTx/>
                <a:uFillTx/>
                <a:latin typeface="Poppins" panose="00000500000000000000" pitchFamily="2" charset="0"/>
                <a:ea typeface="+mn-ea"/>
                <a:cs typeface="Poppins" panose="00000500000000000000" pitchFamily="2" charset="0"/>
              </a:rPr>
              <a:t>Comment</a:t>
            </a:r>
          </a:p>
        </p:txBody>
      </p:sp>
      <p:sp>
        <p:nvSpPr>
          <p:cNvPr id="10" name="TextBox 9">
            <a:extLst>
              <a:ext uri="{FF2B5EF4-FFF2-40B4-BE49-F238E27FC236}">
                <a16:creationId xmlns:a16="http://schemas.microsoft.com/office/drawing/2014/main" id="{2D955090-E87B-41DF-B5F9-2F676D0D45F4}"/>
              </a:ext>
            </a:extLst>
          </p:cNvPr>
          <p:cNvSpPr txBox="1"/>
          <p:nvPr/>
        </p:nvSpPr>
        <p:spPr>
          <a:xfrm>
            <a:off x="620301" y="1564429"/>
            <a:ext cx="854722" cy="338554"/>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600" b="1" i="0" u="none" strike="noStrike" kern="1200" cap="none" spc="0" normalizeH="0" baseline="0" noProof="0" dirty="0">
                <a:ln>
                  <a:noFill/>
                </a:ln>
                <a:solidFill>
                  <a:srgbClr val="FFFFFF">
                    <a:lumMod val="65000"/>
                  </a:srgbClr>
                </a:solidFill>
                <a:effectLst/>
                <a:uLnTx/>
                <a:uFillTx/>
                <a:latin typeface="Poppins" panose="00000500000000000000" pitchFamily="2" charset="0"/>
                <a:ea typeface="+mn-ea"/>
                <a:cs typeface="Poppins" panose="00000500000000000000" pitchFamily="2" charset="0"/>
              </a:rPr>
              <a:t>Profile</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435547" y="1564429"/>
            <a:ext cx="1649811"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lumMod val="75000"/>
                  </a:srgbClr>
                </a:solidFill>
                <a:effectLst/>
                <a:uLnTx/>
                <a:uFillTx/>
                <a:latin typeface="Poppins" panose="00000500000000000000" pitchFamily="2" charset="0"/>
                <a:ea typeface="+mn-ea"/>
                <a:cs typeface="Poppins" panose="00000500000000000000" pitchFamily="2" charset="0"/>
              </a:rPr>
              <a:t>Profile_User</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274506" y="5441819"/>
            <a:ext cx="3642985" cy="369332"/>
          </a:xfrm>
          <a:prstGeom prst="rect">
            <a:avLst/>
          </a:prstGeom>
          <a:noFill/>
        </p:spPr>
        <p:txBody>
          <a:bodyPr wrap="squar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0" i="0" u="none" strike="noStrike" kern="1200" cap="none" spc="0" normalizeH="0" baseline="0" noProof="0" dirty="0">
                <a:ln>
                  <a:noFill/>
                </a:ln>
                <a:solidFill>
                  <a:srgbClr val="F5F6FA"/>
                </a:solidFill>
                <a:effectLst/>
                <a:uLnTx/>
                <a:uFillTx/>
                <a:latin typeface="Bahnschrift SemiBold" panose="020B0502040204020203" pitchFamily="34" charset="0"/>
                <a:ea typeface="+mn-ea"/>
                <a:cs typeface="+mn-cs"/>
              </a:rPr>
              <a:t>Store data about Posts</a:t>
            </a:r>
          </a:p>
        </p:txBody>
      </p:sp>
      <p:sp>
        <p:nvSpPr>
          <p:cNvPr id="22" name="TextBox 21">
            <a:extLst>
              <a:ext uri="{FF2B5EF4-FFF2-40B4-BE49-F238E27FC236}">
                <a16:creationId xmlns:a16="http://schemas.microsoft.com/office/drawing/2014/main" id="{8CAFE9BC-158E-C9D3-F64D-B19BDE6A4608}"/>
              </a:ext>
            </a:extLst>
          </p:cNvPr>
          <p:cNvSpPr txBox="1"/>
          <p:nvPr/>
        </p:nvSpPr>
        <p:spPr>
          <a:xfrm>
            <a:off x="-1474222" y="1621291"/>
            <a:ext cx="857927" cy="338554"/>
          </a:xfrm>
          <a:prstGeom prst="rect">
            <a:avLst/>
          </a:prstGeom>
          <a:noFill/>
        </p:spPr>
        <p:txBody>
          <a:bodyPr wrap="squar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600" b="1" i="0" u="none" strike="noStrike" kern="1200" cap="none" spc="0" normalizeH="0" baseline="0" noProof="0" dirty="0">
                <a:ln>
                  <a:noFill/>
                </a:ln>
                <a:solidFill>
                  <a:srgbClr val="FFFFFF">
                    <a:lumMod val="65000"/>
                  </a:srgbClr>
                </a:solidFill>
                <a:effectLst/>
                <a:uLnTx/>
                <a:uFillTx/>
                <a:latin typeface="Poppins" panose="00000500000000000000" pitchFamily="2" charset="0"/>
                <a:ea typeface="+mn-ea"/>
                <a:cs typeface="Poppins" panose="00000500000000000000" pitchFamily="2" charset="0"/>
              </a:rPr>
              <a:t>User</a:t>
            </a:r>
          </a:p>
        </p:txBody>
      </p:sp>
      <p:pic>
        <p:nvPicPr>
          <p:cNvPr id="23" name="Picture 22">
            <a:extLst>
              <a:ext uri="{FF2B5EF4-FFF2-40B4-BE49-F238E27FC236}">
                <a16:creationId xmlns:a16="http://schemas.microsoft.com/office/drawing/2014/main" id="{063BF026-684B-D247-329D-6C87A6000386}"/>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463202" y="2401015"/>
            <a:ext cx="820251" cy="1866781"/>
          </a:xfrm>
          <a:prstGeom prst="rect">
            <a:avLst/>
          </a:prstGeom>
        </p:spPr>
      </p:pic>
      <p:pic>
        <p:nvPicPr>
          <p:cNvPr id="3" name="Picture 2">
            <a:extLst>
              <a:ext uri="{FF2B5EF4-FFF2-40B4-BE49-F238E27FC236}">
                <a16:creationId xmlns:a16="http://schemas.microsoft.com/office/drawing/2014/main" id="{3F1F8F1B-238C-1AA6-48F4-4F0646D3BD63}"/>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494655" y="2317729"/>
            <a:ext cx="1089387" cy="1421651"/>
          </a:xfrm>
          <a:prstGeom prst="rect">
            <a:avLst/>
          </a:prstGeom>
        </p:spPr>
      </p:pic>
      <p:pic>
        <p:nvPicPr>
          <p:cNvPr id="5" name="Picture 4">
            <a:extLst>
              <a:ext uri="{FF2B5EF4-FFF2-40B4-BE49-F238E27FC236}">
                <a16:creationId xmlns:a16="http://schemas.microsoft.com/office/drawing/2014/main" id="{FFC68146-629C-F6A0-DD71-24C46A12C09D}"/>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369137" y="2392492"/>
            <a:ext cx="1360562" cy="1346888"/>
          </a:xfrm>
          <a:prstGeom prst="rect">
            <a:avLst/>
          </a:prstGeom>
        </p:spPr>
      </p:pic>
      <p:pic>
        <p:nvPicPr>
          <p:cNvPr id="17" name="Picture 16">
            <a:extLst>
              <a:ext uri="{FF2B5EF4-FFF2-40B4-BE49-F238E27FC236}">
                <a16:creationId xmlns:a16="http://schemas.microsoft.com/office/drawing/2014/main" id="{3B3D6C2C-D6B1-77FA-83AA-991560242536}"/>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5046501" y="2026957"/>
            <a:ext cx="1991045" cy="2902372"/>
          </a:xfrm>
          <a:prstGeom prst="rect">
            <a:avLst/>
          </a:prstGeom>
        </p:spPr>
      </p:pic>
      <p:pic>
        <p:nvPicPr>
          <p:cNvPr id="25" name="Picture 24">
            <a:extLst>
              <a:ext uri="{FF2B5EF4-FFF2-40B4-BE49-F238E27FC236}">
                <a16:creationId xmlns:a16="http://schemas.microsoft.com/office/drawing/2014/main" id="{0A7DD8C8-7E9E-B2BE-6CEB-96335C0ED398}"/>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8175151" y="2239033"/>
            <a:ext cx="1464815" cy="1690732"/>
          </a:xfrm>
          <a:prstGeom prst="rect">
            <a:avLst/>
          </a:prstGeom>
        </p:spPr>
      </p:pic>
      <p:pic>
        <p:nvPicPr>
          <p:cNvPr id="29" name="Picture 28">
            <a:extLst>
              <a:ext uri="{FF2B5EF4-FFF2-40B4-BE49-F238E27FC236}">
                <a16:creationId xmlns:a16="http://schemas.microsoft.com/office/drawing/2014/main" id="{D6FEFF7E-366A-408D-4D5F-032973A72389}"/>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10569304" y="2360876"/>
            <a:ext cx="1192558" cy="1383368"/>
          </a:xfrm>
          <a:prstGeom prst="rect">
            <a:avLst/>
          </a:prstGeom>
        </p:spPr>
      </p:pic>
      <p:pic>
        <p:nvPicPr>
          <p:cNvPr id="36" name="Picture 35">
            <a:extLst>
              <a:ext uri="{FF2B5EF4-FFF2-40B4-BE49-F238E27FC236}">
                <a16:creationId xmlns:a16="http://schemas.microsoft.com/office/drawing/2014/main" id="{41CEE49D-3D13-9161-79F2-EAE1E2F14A22}"/>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13086951" y="2401015"/>
            <a:ext cx="753585" cy="1232112"/>
          </a:xfrm>
          <a:prstGeom prst="rect">
            <a:avLst/>
          </a:prstGeom>
        </p:spPr>
      </p:pic>
      <p:sp>
        <p:nvSpPr>
          <p:cNvPr id="37" name="TextBox 36">
            <a:extLst>
              <a:ext uri="{FF2B5EF4-FFF2-40B4-BE49-F238E27FC236}">
                <a16:creationId xmlns:a16="http://schemas.microsoft.com/office/drawing/2014/main" id="{8D3942AF-B38D-54E3-BE2F-13B68D9A02CE}"/>
              </a:ext>
            </a:extLst>
          </p:cNvPr>
          <p:cNvSpPr txBox="1"/>
          <p:nvPr/>
        </p:nvSpPr>
        <p:spPr>
          <a:xfrm>
            <a:off x="12586012" y="1597201"/>
            <a:ext cx="1617752" cy="338554"/>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600" b="1" i="0" u="none" strike="noStrike" kern="1200" cap="none" spc="0" normalizeH="0" baseline="0" noProof="0" dirty="0">
                <a:ln>
                  <a:noFill/>
                </a:ln>
                <a:solidFill>
                  <a:srgbClr val="FFFFFF">
                    <a:lumMod val="65000"/>
                  </a:srgbClr>
                </a:solidFill>
                <a:effectLst/>
                <a:uLnTx/>
                <a:uFillTx/>
                <a:latin typeface="Poppins" panose="00000500000000000000" pitchFamily="2" charset="0"/>
                <a:ea typeface="+mn-ea"/>
                <a:cs typeface="Poppins" panose="00000500000000000000" pitchFamily="2" charset="0"/>
              </a:rPr>
              <a:t>Ch_message</a:t>
            </a:r>
          </a:p>
        </p:txBody>
      </p:sp>
    </p:spTree>
    <p:custDataLst>
      <p:tags r:id="rId1"/>
    </p:custDataLst>
    <p:extLst>
      <p:ext uri="{BB962C8B-B14F-4D97-AF65-F5344CB8AC3E}">
        <p14:creationId xmlns:p14="http://schemas.microsoft.com/office/powerpoint/2010/main" val="31185821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6000" b="-6000"/>
          </a:stretch>
        </a:blip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5ACF30AF-AF43-4AA8-8123-82B4D83D41EF}"/>
              </a:ext>
            </a:extLst>
          </p:cNvPr>
          <p:cNvSpPr txBox="1"/>
          <p:nvPr/>
        </p:nvSpPr>
        <p:spPr>
          <a:xfrm>
            <a:off x="5643835" y="1533651"/>
            <a:ext cx="647934"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5F6FA"/>
                </a:solidFill>
                <a:effectLst/>
                <a:uLnTx/>
                <a:uFillTx/>
                <a:latin typeface="Poppins" panose="00000500000000000000" pitchFamily="2" charset="0"/>
                <a:ea typeface="+mn-ea"/>
                <a:cs typeface="Poppins" panose="00000500000000000000" pitchFamily="2" charset="0"/>
              </a:rPr>
              <a:t>Like</a:t>
            </a:r>
          </a:p>
        </p:txBody>
      </p:sp>
      <p:sp>
        <p:nvSpPr>
          <p:cNvPr id="8" name="TextBox 7">
            <a:extLst>
              <a:ext uri="{FF2B5EF4-FFF2-40B4-BE49-F238E27FC236}">
                <a16:creationId xmlns:a16="http://schemas.microsoft.com/office/drawing/2014/main" id="{A6F98398-D37C-48F7-AFB4-61414B26E841}"/>
              </a:ext>
            </a:extLst>
          </p:cNvPr>
          <p:cNvSpPr txBox="1"/>
          <p:nvPr/>
        </p:nvSpPr>
        <p:spPr>
          <a:xfrm>
            <a:off x="7949269" y="1533651"/>
            <a:ext cx="1386919"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lumMod val="75000"/>
                  </a:srgbClr>
                </a:solidFill>
                <a:effectLst/>
                <a:uLnTx/>
                <a:uFillTx/>
                <a:latin typeface="Poppins" panose="00000500000000000000" pitchFamily="2" charset="0"/>
                <a:ea typeface="+mn-ea"/>
                <a:cs typeface="Poppins" panose="00000500000000000000" pitchFamily="2" charset="0"/>
              </a:rPr>
              <a:t>Comment</a:t>
            </a:r>
          </a:p>
        </p:txBody>
      </p:sp>
      <p:sp>
        <p:nvSpPr>
          <p:cNvPr id="10" name="TextBox 9">
            <a:extLst>
              <a:ext uri="{FF2B5EF4-FFF2-40B4-BE49-F238E27FC236}">
                <a16:creationId xmlns:a16="http://schemas.microsoft.com/office/drawing/2014/main" id="{2D955090-E87B-41DF-B5F9-2F676D0D45F4}"/>
              </a:ext>
            </a:extLst>
          </p:cNvPr>
          <p:cNvSpPr txBox="1"/>
          <p:nvPr/>
        </p:nvSpPr>
        <p:spPr>
          <a:xfrm>
            <a:off x="346427" y="1615229"/>
            <a:ext cx="1321196" cy="307777"/>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lumMod val="65000"/>
                  </a:srgbClr>
                </a:solidFill>
                <a:effectLst/>
                <a:uLnTx/>
                <a:uFillTx/>
                <a:latin typeface="Poppins" panose="00000500000000000000" pitchFamily="2" charset="0"/>
                <a:ea typeface="+mn-ea"/>
                <a:cs typeface="Poppins" panose="00000500000000000000" pitchFamily="2" charset="0"/>
              </a:rPr>
              <a:t>Profile_User</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562823" y="1571041"/>
            <a:ext cx="697628"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lumMod val="75000"/>
                  </a:srgbClr>
                </a:solidFill>
                <a:effectLst/>
                <a:uLnTx/>
                <a:uFillTx/>
                <a:latin typeface="Poppins" panose="00000500000000000000" pitchFamily="2" charset="0"/>
                <a:ea typeface="+mn-ea"/>
                <a:cs typeface="Poppins" panose="00000500000000000000" pitchFamily="2" charset="0"/>
              </a:rPr>
              <a:t>Post</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274506" y="5441819"/>
            <a:ext cx="3642985" cy="369332"/>
          </a:xfrm>
          <a:prstGeom prst="rect">
            <a:avLst/>
          </a:prstGeom>
          <a:noFill/>
        </p:spPr>
        <p:txBody>
          <a:bodyPr wrap="squar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0" i="0" u="none" strike="noStrike" kern="1200" cap="none" spc="0" normalizeH="0" baseline="0" noProof="0" dirty="0">
                <a:ln>
                  <a:noFill/>
                </a:ln>
                <a:solidFill>
                  <a:srgbClr val="F5F6FA"/>
                </a:solidFill>
                <a:effectLst/>
                <a:uLnTx/>
                <a:uFillTx/>
                <a:latin typeface="Bahnschrift SemiBold" panose="020B0502040204020203" pitchFamily="34" charset="0"/>
                <a:ea typeface="+mn-ea"/>
                <a:cs typeface="+mn-cs"/>
              </a:rPr>
              <a:t>Store data about Likes on Post</a:t>
            </a:r>
          </a:p>
        </p:txBody>
      </p:sp>
      <p:sp>
        <p:nvSpPr>
          <p:cNvPr id="34" name="TextBox 33">
            <a:extLst>
              <a:ext uri="{FF2B5EF4-FFF2-40B4-BE49-F238E27FC236}">
                <a16:creationId xmlns:a16="http://schemas.microsoft.com/office/drawing/2014/main" id="{EEE96569-D9B8-8A59-515A-426F6C79048A}"/>
              </a:ext>
            </a:extLst>
          </p:cNvPr>
          <p:cNvSpPr txBox="1"/>
          <p:nvPr/>
        </p:nvSpPr>
        <p:spPr>
          <a:xfrm>
            <a:off x="12658952" y="1597201"/>
            <a:ext cx="1471878" cy="338554"/>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600" b="1" i="0" u="none" strike="noStrike" kern="1200" cap="none" spc="0" normalizeH="0" baseline="0" noProof="0" dirty="0">
                <a:ln>
                  <a:noFill/>
                </a:ln>
                <a:solidFill>
                  <a:srgbClr val="FFFFFF">
                    <a:lumMod val="65000"/>
                  </a:srgbClr>
                </a:solidFill>
                <a:effectLst/>
                <a:uLnTx/>
                <a:uFillTx/>
                <a:latin typeface="Poppins" panose="00000500000000000000" pitchFamily="2" charset="0"/>
                <a:ea typeface="+mn-ea"/>
                <a:cs typeface="Poppins" panose="00000500000000000000" pitchFamily="2" charset="0"/>
              </a:rPr>
              <a:t>Ch_favorite</a:t>
            </a:r>
          </a:p>
        </p:txBody>
      </p:sp>
      <p:sp>
        <p:nvSpPr>
          <p:cNvPr id="22" name="TextBox 21">
            <a:extLst>
              <a:ext uri="{FF2B5EF4-FFF2-40B4-BE49-F238E27FC236}">
                <a16:creationId xmlns:a16="http://schemas.microsoft.com/office/drawing/2014/main" id="{8CAFE9BC-158E-C9D3-F64D-B19BDE6A4608}"/>
              </a:ext>
            </a:extLst>
          </p:cNvPr>
          <p:cNvSpPr txBox="1"/>
          <p:nvPr/>
        </p:nvSpPr>
        <p:spPr>
          <a:xfrm>
            <a:off x="-2043979" y="1621291"/>
            <a:ext cx="1587293" cy="338554"/>
          </a:xfrm>
          <a:prstGeom prst="rect">
            <a:avLst/>
          </a:prstGeom>
          <a:noFill/>
        </p:spPr>
        <p:txBody>
          <a:bodyPr wrap="squar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600" b="1" i="0" u="none" strike="noStrike" kern="1200" cap="none" spc="0" normalizeH="0" baseline="0" noProof="0" dirty="0">
                <a:ln>
                  <a:noFill/>
                </a:ln>
                <a:solidFill>
                  <a:srgbClr val="FFFFFF">
                    <a:lumMod val="65000"/>
                  </a:srgbClr>
                </a:solidFill>
                <a:effectLst/>
                <a:uLnTx/>
                <a:uFillTx/>
                <a:latin typeface="Poppins" panose="00000500000000000000" pitchFamily="2" charset="0"/>
                <a:ea typeface="+mn-ea"/>
                <a:cs typeface="Poppins" panose="00000500000000000000" pitchFamily="2" charset="0"/>
              </a:rPr>
              <a:t>Profiles</a:t>
            </a:r>
          </a:p>
        </p:txBody>
      </p:sp>
      <p:pic>
        <p:nvPicPr>
          <p:cNvPr id="24" name="Picture 23">
            <a:extLst>
              <a:ext uri="{FF2B5EF4-FFF2-40B4-BE49-F238E27FC236}">
                <a16:creationId xmlns:a16="http://schemas.microsoft.com/office/drawing/2014/main" id="{14CC3C28-4587-9E91-A0F6-9C323F46D585}"/>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959513" y="2334072"/>
            <a:ext cx="1344624" cy="1754736"/>
          </a:xfrm>
          <a:prstGeom prst="rect">
            <a:avLst/>
          </a:prstGeom>
        </p:spPr>
      </p:pic>
      <p:pic>
        <p:nvPicPr>
          <p:cNvPr id="26" name="Picture 25">
            <a:extLst>
              <a:ext uri="{FF2B5EF4-FFF2-40B4-BE49-F238E27FC236}">
                <a16:creationId xmlns:a16="http://schemas.microsoft.com/office/drawing/2014/main" id="{F749321C-DA42-E2E7-DC05-CBB38BED6570}"/>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559270" y="2535864"/>
            <a:ext cx="892589" cy="883619"/>
          </a:xfrm>
          <a:prstGeom prst="rect">
            <a:avLst/>
          </a:prstGeom>
        </p:spPr>
      </p:pic>
      <p:pic>
        <p:nvPicPr>
          <p:cNvPr id="27" name="Picture 26">
            <a:extLst>
              <a:ext uri="{FF2B5EF4-FFF2-40B4-BE49-F238E27FC236}">
                <a16:creationId xmlns:a16="http://schemas.microsoft.com/office/drawing/2014/main" id="{CA13C4F4-D867-F7EF-DDEC-BB06113BA82F}"/>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4701536" y="2146280"/>
            <a:ext cx="2469083" cy="2849887"/>
          </a:xfrm>
          <a:prstGeom prst="rect">
            <a:avLst/>
          </a:prstGeom>
        </p:spPr>
      </p:pic>
      <p:pic>
        <p:nvPicPr>
          <p:cNvPr id="28" name="Picture 27">
            <a:extLst>
              <a:ext uri="{FF2B5EF4-FFF2-40B4-BE49-F238E27FC236}">
                <a16:creationId xmlns:a16="http://schemas.microsoft.com/office/drawing/2014/main" id="{D46A1B8D-255D-CE10-3783-EB2DFC226F8D}"/>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7840769" y="2270149"/>
            <a:ext cx="1819487" cy="2110606"/>
          </a:xfrm>
          <a:prstGeom prst="rect">
            <a:avLst/>
          </a:prstGeom>
        </p:spPr>
      </p:pic>
      <p:pic>
        <p:nvPicPr>
          <p:cNvPr id="4" name="Picture 3">
            <a:extLst>
              <a:ext uri="{FF2B5EF4-FFF2-40B4-BE49-F238E27FC236}">
                <a16:creationId xmlns:a16="http://schemas.microsoft.com/office/drawing/2014/main" id="{275234F6-F492-3AFC-45A5-A02481119BA2}"/>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12966192" y="2393705"/>
            <a:ext cx="964113" cy="944831"/>
          </a:xfrm>
          <a:prstGeom prst="rect">
            <a:avLst/>
          </a:prstGeom>
        </p:spPr>
      </p:pic>
      <p:pic>
        <p:nvPicPr>
          <p:cNvPr id="18" name="Picture 17">
            <a:extLst>
              <a:ext uri="{FF2B5EF4-FFF2-40B4-BE49-F238E27FC236}">
                <a16:creationId xmlns:a16="http://schemas.microsoft.com/office/drawing/2014/main" id="{B5B61B85-5401-FAFD-B354-79BAFBCBC1B6}"/>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2312341" y="2234191"/>
            <a:ext cx="1198592" cy="1747202"/>
          </a:xfrm>
          <a:prstGeom prst="rect">
            <a:avLst/>
          </a:prstGeom>
        </p:spPr>
      </p:pic>
      <p:sp>
        <p:nvSpPr>
          <p:cNvPr id="33" name="TextBox 32">
            <a:extLst>
              <a:ext uri="{FF2B5EF4-FFF2-40B4-BE49-F238E27FC236}">
                <a16:creationId xmlns:a16="http://schemas.microsoft.com/office/drawing/2014/main" id="{13296790-BD59-A806-0FC4-6EA68DE140E2}"/>
              </a:ext>
            </a:extLst>
          </p:cNvPr>
          <p:cNvSpPr txBox="1"/>
          <p:nvPr/>
        </p:nvSpPr>
        <p:spPr>
          <a:xfrm>
            <a:off x="10312319" y="1599154"/>
            <a:ext cx="1617752" cy="338554"/>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600" b="1" i="0" u="none" strike="noStrike" kern="1200" cap="none" spc="0" normalizeH="0" baseline="0" noProof="0" dirty="0">
                <a:ln>
                  <a:noFill/>
                </a:ln>
                <a:solidFill>
                  <a:srgbClr val="FFFFFF">
                    <a:lumMod val="65000"/>
                  </a:srgbClr>
                </a:solidFill>
                <a:effectLst/>
                <a:uLnTx/>
                <a:uFillTx/>
                <a:latin typeface="Poppins" panose="00000500000000000000" pitchFamily="2" charset="0"/>
                <a:ea typeface="+mn-ea"/>
                <a:cs typeface="Poppins" panose="00000500000000000000" pitchFamily="2" charset="0"/>
              </a:rPr>
              <a:t>Ch_message</a:t>
            </a:r>
          </a:p>
        </p:txBody>
      </p:sp>
      <p:pic>
        <p:nvPicPr>
          <p:cNvPr id="36" name="Picture 35">
            <a:extLst>
              <a:ext uri="{FF2B5EF4-FFF2-40B4-BE49-F238E27FC236}">
                <a16:creationId xmlns:a16="http://schemas.microsoft.com/office/drawing/2014/main" id="{FA74AEA9-1095-13DC-355F-FB8D971357BC}"/>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10595971" y="2393705"/>
            <a:ext cx="1036759" cy="1695103"/>
          </a:xfrm>
          <a:prstGeom prst="rect">
            <a:avLst/>
          </a:prstGeom>
        </p:spPr>
      </p:pic>
    </p:spTree>
    <p:custDataLst>
      <p:tags r:id="rId1"/>
    </p:custDataLst>
    <p:extLst>
      <p:ext uri="{BB962C8B-B14F-4D97-AF65-F5344CB8AC3E}">
        <p14:creationId xmlns:p14="http://schemas.microsoft.com/office/powerpoint/2010/main" val="86296126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6000" b="-6000"/>
          </a:stretch>
        </a:blip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5ACF30AF-AF43-4AA8-8123-82B4D83D41EF}"/>
              </a:ext>
            </a:extLst>
          </p:cNvPr>
          <p:cNvSpPr txBox="1"/>
          <p:nvPr/>
        </p:nvSpPr>
        <p:spPr>
          <a:xfrm>
            <a:off x="5202169" y="1615229"/>
            <a:ext cx="1386919"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5F6FA"/>
                </a:solidFill>
                <a:effectLst/>
                <a:uLnTx/>
                <a:uFillTx/>
                <a:latin typeface="Poppins" panose="00000500000000000000" pitchFamily="2" charset="0"/>
                <a:ea typeface="+mn-ea"/>
                <a:cs typeface="Poppins" panose="00000500000000000000" pitchFamily="2" charset="0"/>
              </a:rPr>
              <a:t>Comment</a:t>
            </a:r>
          </a:p>
        </p:txBody>
      </p:sp>
      <p:sp>
        <p:nvSpPr>
          <p:cNvPr id="8" name="TextBox 7">
            <a:extLst>
              <a:ext uri="{FF2B5EF4-FFF2-40B4-BE49-F238E27FC236}">
                <a16:creationId xmlns:a16="http://schemas.microsoft.com/office/drawing/2014/main" id="{A6F98398-D37C-48F7-AFB4-61414B26E841}"/>
              </a:ext>
            </a:extLst>
          </p:cNvPr>
          <p:cNvSpPr txBox="1"/>
          <p:nvPr/>
        </p:nvSpPr>
        <p:spPr>
          <a:xfrm>
            <a:off x="8150264" y="1615229"/>
            <a:ext cx="1795684"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lumMod val="75000"/>
                  </a:srgbClr>
                </a:solidFill>
                <a:effectLst/>
                <a:uLnTx/>
                <a:uFillTx/>
                <a:latin typeface="Poppins" panose="00000500000000000000" pitchFamily="2" charset="0"/>
                <a:ea typeface="+mn-ea"/>
                <a:cs typeface="Poppins" panose="00000500000000000000" pitchFamily="2" charset="0"/>
              </a:rPr>
              <a:t>Ch_message</a:t>
            </a:r>
          </a:p>
        </p:txBody>
      </p:sp>
      <p:sp>
        <p:nvSpPr>
          <p:cNvPr id="10" name="TextBox 9">
            <a:extLst>
              <a:ext uri="{FF2B5EF4-FFF2-40B4-BE49-F238E27FC236}">
                <a16:creationId xmlns:a16="http://schemas.microsoft.com/office/drawing/2014/main" id="{2D955090-E87B-41DF-B5F9-2F676D0D45F4}"/>
              </a:ext>
            </a:extLst>
          </p:cNvPr>
          <p:cNvSpPr txBox="1"/>
          <p:nvPr/>
        </p:nvSpPr>
        <p:spPr>
          <a:xfrm>
            <a:off x="715916" y="1615229"/>
            <a:ext cx="582212" cy="307777"/>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lumMod val="65000"/>
                  </a:srgbClr>
                </a:solidFill>
                <a:effectLst/>
                <a:uLnTx/>
                <a:uFillTx/>
                <a:latin typeface="Poppins" panose="00000500000000000000" pitchFamily="2" charset="0"/>
                <a:ea typeface="+mn-ea"/>
                <a:cs typeface="Poppins" panose="00000500000000000000" pitchFamily="2" charset="0"/>
              </a:rPr>
              <a:t>Post</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677241" y="1558560"/>
            <a:ext cx="647934"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lumMod val="75000"/>
                  </a:srgbClr>
                </a:solidFill>
                <a:effectLst/>
                <a:uLnTx/>
                <a:uFillTx/>
                <a:latin typeface="Poppins" panose="00000500000000000000" pitchFamily="2" charset="0"/>
                <a:ea typeface="+mn-ea"/>
                <a:cs typeface="Poppins" panose="00000500000000000000" pitchFamily="2" charset="0"/>
              </a:rPr>
              <a:t>Like</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274506" y="5441819"/>
            <a:ext cx="3642985" cy="646331"/>
          </a:xfrm>
          <a:prstGeom prst="rect">
            <a:avLst/>
          </a:prstGeom>
          <a:noFill/>
        </p:spPr>
        <p:txBody>
          <a:bodyPr wrap="squar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0" i="0" u="none" strike="noStrike" kern="1200" cap="none" spc="0" normalizeH="0" baseline="0" noProof="0" dirty="0">
                <a:ln>
                  <a:noFill/>
                </a:ln>
                <a:solidFill>
                  <a:srgbClr val="F5F6FA"/>
                </a:solidFill>
                <a:effectLst/>
                <a:uLnTx/>
                <a:uFillTx/>
                <a:latin typeface="Bahnschrift SemiBold" panose="020B0502040204020203" pitchFamily="34" charset="0"/>
                <a:ea typeface="+mn-ea"/>
                <a:cs typeface="+mn-cs"/>
              </a:rPr>
              <a:t>Store data about Comments on a post</a:t>
            </a:r>
          </a:p>
        </p:txBody>
      </p:sp>
      <p:sp>
        <p:nvSpPr>
          <p:cNvPr id="34" name="TextBox 33">
            <a:extLst>
              <a:ext uri="{FF2B5EF4-FFF2-40B4-BE49-F238E27FC236}">
                <a16:creationId xmlns:a16="http://schemas.microsoft.com/office/drawing/2014/main" id="{EEE96569-D9B8-8A59-515A-426F6C79048A}"/>
              </a:ext>
            </a:extLst>
          </p:cNvPr>
          <p:cNvSpPr txBox="1"/>
          <p:nvPr/>
        </p:nvSpPr>
        <p:spPr>
          <a:xfrm>
            <a:off x="12913829" y="1597201"/>
            <a:ext cx="962123" cy="338554"/>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600" b="1" i="0" u="none" strike="noStrike" kern="1200" cap="none" spc="0" normalizeH="0" baseline="0" noProof="0" dirty="0">
                <a:ln>
                  <a:noFill/>
                </a:ln>
                <a:solidFill>
                  <a:srgbClr val="FFFFFF">
                    <a:lumMod val="65000"/>
                  </a:srgbClr>
                </a:solidFill>
                <a:effectLst/>
                <a:uLnTx/>
                <a:uFillTx/>
                <a:latin typeface="Poppins" panose="00000500000000000000" pitchFamily="2" charset="0"/>
                <a:ea typeface="+mn-ea"/>
                <a:cs typeface="Poppins" panose="00000500000000000000" pitchFamily="2" charset="0"/>
              </a:rPr>
              <a:t>Umpire</a:t>
            </a:r>
          </a:p>
        </p:txBody>
      </p:sp>
      <p:sp>
        <p:nvSpPr>
          <p:cNvPr id="22" name="TextBox 21">
            <a:extLst>
              <a:ext uri="{FF2B5EF4-FFF2-40B4-BE49-F238E27FC236}">
                <a16:creationId xmlns:a16="http://schemas.microsoft.com/office/drawing/2014/main" id="{8CAFE9BC-158E-C9D3-F64D-B19BDE6A4608}"/>
              </a:ext>
            </a:extLst>
          </p:cNvPr>
          <p:cNvSpPr txBox="1"/>
          <p:nvPr/>
        </p:nvSpPr>
        <p:spPr>
          <a:xfrm>
            <a:off x="-2043979" y="1621291"/>
            <a:ext cx="1587293" cy="338554"/>
          </a:xfrm>
          <a:prstGeom prst="rect">
            <a:avLst/>
          </a:prstGeom>
          <a:noFill/>
        </p:spPr>
        <p:txBody>
          <a:bodyPr wrap="squar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600" b="1" i="0" u="none" strike="noStrike" kern="1200" cap="none" spc="0" normalizeH="0" baseline="0" noProof="0" dirty="0">
                <a:ln>
                  <a:noFill/>
                </a:ln>
                <a:solidFill>
                  <a:srgbClr val="FFFFFF">
                    <a:lumMod val="65000"/>
                  </a:srgbClr>
                </a:solidFill>
                <a:effectLst/>
                <a:uLnTx/>
                <a:uFillTx/>
                <a:latin typeface="Poppins" panose="00000500000000000000" pitchFamily="2" charset="0"/>
                <a:ea typeface="+mn-ea"/>
                <a:cs typeface="Poppins" panose="00000500000000000000" pitchFamily="2" charset="0"/>
              </a:rPr>
              <a:t>Profile_User</a:t>
            </a:r>
          </a:p>
        </p:txBody>
      </p:sp>
      <p:sp>
        <p:nvSpPr>
          <p:cNvPr id="33" name="TextBox 32">
            <a:extLst>
              <a:ext uri="{FF2B5EF4-FFF2-40B4-BE49-F238E27FC236}">
                <a16:creationId xmlns:a16="http://schemas.microsoft.com/office/drawing/2014/main" id="{13296790-BD59-A806-0FC4-6EA68DE140E2}"/>
              </a:ext>
            </a:extLst>
          </p:cNvPr>
          <p:cNvSpPr txBox="1"/>
          <p:nvPr/>
        </p:nvSpPr>
        <p:spPr>
          <a:xfrm>
            <a:off x="10385258" y="1599154"/>
            <a:ext cx="1471878" cy="338554"/>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600" b="1" i="0" u="none" strike="noStrike" kern="1200" cap="none" spc="0" normalizeH="0" baseline="0" noProof="0" dirty="0">
                <a:ln>
                  <a:noFill/>
                </a:ln>
                <a:solidFill>
                  <a:srgbClr val="FFFFFF">
                    <a:lumMod val="65000"/>
                  </a:srgbClr>
                </a:solidFill>
                <a:effectLst/>
                <a:uLnTx/>
                <a:uFillTx/>
                <a:latin typeface="Poppins" panose="00000500000000000000" pitchFamily="2" charset="0"/>
                <a:ea typeface="+mn-ea"/>
                <a:cs typeface="Poppins" panose="00000500000000000000" pitchFamily="2" charset="0"/>
              </a:rPr>
              <a:t>Ch_favorite</a:t>
            </a:r>
          </a:p>
        </p:txBody>
      </p:sp>
      <p:pic>
        <p:nvPicPr>
          <p:cNvPr id="19" name="Picture 18">
            <a:extLst>
              <a:ext uri="{FF2B5EF4-FFF2-40B4-BE49-F238E27FC236}">
                <a16:creationId xmlns:a16="http://schemas.microsoft.com/office/drawing/2014/main" id="{83A62F6F-D3BD-0BC2-BC28-FDDB233D149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590337" y="2535864"/>
            <a:ext cx="892589" cy="883619"/>
          </a:xfrm>
          <a:prstGeom prst="rect">
            <a:avLst/>
          </a:prstGeom>
        </p:spPr>
      </p:pic>
      <p:pic>
        <p:nvPicPr>
          <p:cNvPr id="20" name="Picture 19">
            <a:extLst>
              <a:ext uri="{FF2B5EF4-FFF2-40B4-BE49-F238E27FC236}">
                <a16:creationId xmlns:a16="http://schemas.microsoft.com/office/drawing/2014/main" id="{6D1F69EE-D58A-F82A-9A79-BBAEA3559CC8}"/>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459728" y="2361971"/>
            <a:ext cx="892589" cy="1301140"/>
          </a:xfrm>
          <a:prstGeom prst="rect">
            <a:avLst/>
          </a:prstGeom>
        </p:spPr>
      </p:pic>
      <p:pic>
        <p:nvPicPr>
          <p:cNvPr id="21" name="Picture 20">
            <a:extLst>
              <a:ext uri="{FF2B5EF4-FFF2-40B4-BE49-F238E27FC236}">
                <a16:creationId xmlns:a16="http://schemas.microsoft.com/office/drawing/2014/main" id="{84E4D664-B044-7B90-036B-E76A86EDC63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224880" y="2220162"/>
            <a:ext cx="1380667" cy="1593607"/>
          </a:xfrm>
          <a:prstGeom prst="rect">
            <a:avLst/>
          </a:prstGeom>
        </p:spPr>
      </p:pic>
      <p:pic>
        <p:nvPicPr>
          <p:cNvPr id="23" name="Picture 22">
            <a:extLst>
              <a:ext uri="{FF2B5EF4-FFF2-40B4-BE49-F238E27FC236}">
                <a16:creationId xmlns:a16="http://schemas.microsoft.com/office/drawing/2014/main" id="{ECEC7394-657B-CF73-23CA-E3ACE3D7B931}"/>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4782381" y="2093009"/>
            <a:ext cx="2385335" cy="2766989"/>
          </a:xfrm>
          <a:prstGeom prst="rect">
            <a:avLst/>
          </a:prstGeom>
        </p:spPr>
      </p:pic>
      <p:pic>
        <p:nvPicPr>
          <p:cNvPr id="25" name="Picture 24">
            <a:extLst>
              <a:ext uri="{FF2B5EF4-FFF2-40B4-BE49-F238E27FC236}">
                <a16:creationId xmlns:a16="http://schemas.microsoft.com/office/drawing/2014/main" id="{F8CFA50B-2243-4E91-2568-626C8DF6C9FC}"/>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8344550" y="2220162"/>
            <a:ext cx="1311425" cy="2144180"/>
          </a:xfrm>
          <a:prstGeom prst="rect">
            <a:avLst/>
          </a:prstGeom>
        </p:spPr>
      </p:pic>
      <p:pic>
        <p:nvPicPr>
          <p:cNvPr id="29" name="Picture 28">
            <a:extLst>
              <a:ext uri="{FF2B5EF4-FFF2-40B4-BE49-F238E27FC236}">
                <a16:creationId xmlns:a16="http://schemas.microsoft.com/office/drawing/2014/main" id="{AEBB848D-EF65-F757-BC88-16E45E04E11D}"/>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10432266" y="2416991"/>
            <a:ext cx="1424870" cy="1396373"/>
          </a:xfrm>
          <a:prstGeom prst="rect">
            <a:avLst/>
          </a:prstGeom>
        </p:spPr>
      </p:pic>
      <p:pic>
        <p:nvPicPr>
          <p:cNvPr id="3" name="Picture 2">
            <a:extLst>
              <a:ext uri="{FF2B5EF4-FFF2-40B4-BE49-F238E27FC236}">
                <a16:creationId xmlns:a16="http://schemas.microsoft.com/office/drawing/2014/main" id="{7053F0B8-997E-337C-04ED-AE3E8EADD8D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2653998" y="2483312"/>
            <a:ext cx="1481781" cy="878915"/>
          </a:xfrm>
          <a:prstGeom prst="rect">
            <a:avLst/>
          </a:prstGeom>
        </p:spPr>
      </p:pic>
    </p:spTree>
    <p:custDataLst>
      <p:tags r:id="rId1"/>
    </p:custDataLst>
    <p:extLst>
      <p:ext uri="{BB962C8B-B14F-4D97-AF65-F5344CB8AC3E}">
        <p14:creationId xmlns:p14="http://schemas.microsoft.com/office/powerpoint/2010/main" val="343612177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6000" b="-6000"/>
          </a:stretch>
        </a:blip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5ACF30AF-AF43-4AA8-8123-82B4D83D41EF}"/>
              </a:ext>
            </a:extLst>
          </p:cNvPr>
          <p:cNvSpPr txBox="1"/>
          <p:nvPr/>
        </p:nvSpPr>
        <p:spPr>
          <a:xfrm>
            <a:off x="5198164" y="1564429"/>
            <a:ext cx="1795684"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5F6FA"/>
                </a:solidFill>
                <a:effectLst/>
                <a:uLnTx/>
                <a:uFillTx/>
                <a:latin typeface="Poppins" panose="00000500000000000000" pitchFamily="2" charset="0"/>
                <a:ea typeface="+mn-ea"/>
                <a:cs typeface="Poppins" panose="00000500000000000000" pitchFamily="2" charset="0"/>
              </a:rPr>
              <a:t>Ch_message</a:t>
            </a:r>
          </a:p>
        </p:txBody>
      </p:sp>
      <p:sp>
        <p:nvSpPr>
          <p:cNvPr id="8" name="TextBox 7">
            <a:extLst>
              <a:ext uri="{FF2B5EF4-FFF2-40B4-BE49-F238E27FC236}">
                <a16:creationId xmlns:a16="http://schemas.microsoft.com/office/drawing/2014/main" id="{A6F98398-D37C-48F7-AFB4-61414B26E841}"/>
              </a:ext>
            </a:extLst>
          </p:cNvPr>
          <p:cNvSpPr txBox="1"/>
          <p:nvPr/>
        </p:nvSpPr>
        <p:spPr>
          <a:xfrm>
            <a:off x="8023010" y="1553674"/>
            <a:ext cx="1630575"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lumMod val="75000"/>
                  </a:srgbClr>
                </a:solidFill>
                <a:effectLst/>
                <a:uLnTx/>
                <a:uFillTx/>
                <a:latin typeface="Poppins" panose="00000500000000000000" pitchFamily="2" charset="0"/>
                <a:ea typeface="+mn-ea"/>
                <a:cs typeface="Poppins" panose="00000500000000000000" pitchFamily="2" charset="0"/>
              </a:rPr>
              <a:t>Ch_favorite</a:t>
            </a:r>
          </a:p>
        </p:txBody>
      </p:sp>
      <p:sp>
        <p:nvSpPr>
          <p:cNvPr id="10" name="TextBox 9">
            <a:extLst>
              <a:ext uri="{FF2B5EF4-FFF2-40B4-BE49-F238E27FC236}">
                <a16:creationId xmlns:a16="http://schemas.microsoft.com/office/drawing/2014/main" id="{2D955090-E87B-41DF-B5F9-2F676D0D45F4}"/>
              </a:ext>
            </a:extLst>
          </p:cNvPr>
          <p:cNvSpPr txBox="1"/>
          <p:nvPr/>
        </p:nvSpPr>
        <p:spPr>
          <a:xfrm>
            <a:off x="685460" y="1615229"/>
            <a:ext cx="643126" cy="307777"/>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lumMod val="65000"/>
                  </a:srgbClr>
                </a:solidFill>
                <a:effectLst/>
                <a:uLnTx/>
                <a:uFillTx/>
                <a:latin typeface="Poppins" panose="00000500000000000000" pitchFamily="2" charset="0"/>
                <a:ea typeface="+mn-ea"/>
                <a:cs typeface="Poppins" panose="00000500000000000000" pitchFamily="2" charset="0"/>
              </a:rPr>
              <a:t>Likes</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566992" y="1564429"/>
            <a:ext cx="1386919"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lumMod val="75000"/>
                  </a:srgbClr>
                </a:solidFill>
                <a:effectLst/>
                <a:uLnTx/>
                <a:uFillTx/>
                <a:latin typeface="Poppins" panose="00000500000000000000" pitchFamily="2" charset="0"/>
                <a:ea typeface="+mn-ea"/>
                <a:cs typeface="Poppins" panose="00000500000000000000" pitchFamily="2" charset="0"/>
              </a:rPr>
              <a:t>Comment</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274507" y="5899333"/>
            <a:ext cx="3642985" cy="646331"/>
          </a:xfrm>
          <a:prstGeom prst="rect">
            <a:avLst/>
          </a:prstGeom>
          <a:noFill/>
        </p:spPr>
        <p:txBody>
          <a:bodyPr wrap="squar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0" i="0" u="none" strike="noStrike" kern="1200" cap="none" spc="0" normalizeH="0" baseline="0" noProof="0" dirty="0">
                <a:ln>
                  <a:noFill/>
                </a:ln>
                <a:solidFill>
                  <a:srgbClr val="F5F6FA"/>
                </a:solidFill>
                <a:effectLst/>
                <a:uLnTx/>
                <a:uFillTx/>
                <a:latin typeface="Bahnschrift SemiBold" panose="020B0502040204020203" pitchFamily="34" charset="0"/>
                <a:ea typeface="+mn-ea"/>
                <a:cs typeface="+mn-cs"/>
              </a:rPr>
              <a:t>Store data about message between two users</a:t>
            </a:r>
          </a:p>
        </p:txBody>
      </p:sp>
      <p:sp>
        <p:nvSpPr>
          <p:cNvPr id="22" name="TextBox 21">
            <a:extLst>
              <a:ext uri="{FF2B5EF4-FFF2-40B4-BE49-F238E27FC236}">
                <a16:creationId xmlns:a16="http://schemas.microsoft.com/office/drawing/2014/main" id="{8CAFE9BC-158E-C9D3-F64D-B19BDE6A4608}"/>
              </a:ext>
            </a:extLst>
          </p:cNvPr>
          <p:cNvSpPr txBox="1"/>
          <p:nvPr/>
        </p:nvSpPr>
        <p:spPr>
          <a:xfrm>
            <a:off x="-2043979" y="1621291"/>
            <a:ext cx="1587293" cy="338554"/>
          </a:xfrm>
          <a:prstGeom prst="rect">
            <a:avLst/>
          </a:prstGeom>
          <a:noFill/>
        </p:spPr>
        <p:txBody>
          <a:bodyPr wrap="squar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600" b="1" i="0" u="none" strike="noStrike" kern="1200" cap="none" spc="0" normalizeH="0" baseline="0" noProof="0" dirty="0">
                <a:ln>
                  <a:noFill/>
                </a:ln>
                <a:solidFill>
                  <a:srgbClr val="FFFFFF">
                    <a:lumMod val="65000"/>
                  </a:srgbClr>
                </a:solidFill>
                <a:effectLst/>
                <a:uLnTx/>
                <a:uFillTx/>
                <a:latin typeface="Poppins" panose="00000500000000000000" pitchFamily="2" charset="0"/>
                <a:ea typeface="+mn-ea"/>
                <a:cs typeface="Poppins" panose="00000500000000000000" pitchFamily="2" charset="0"/>
              </a:rPr>
              <a:t>Post</a:t>
            </a:r>
          </a:p>
        </p:txBody>
      </p:sp>
      <p:pic>
        <p:nvPicPr>
          <p:cNvPr id="18" name="Picture 17">
            <a:extLst>
              <a:ext uri="{FF2B5EF4-FFF2-40B4-BE49-F238E27FC236}">
                <a16:creationId xmlns:a16="http://schemas.microsoft.com/office/drawing/2014/main" id="{ED64D6C5-D186-87AA-5384-2CB91337850F}"/>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759525" y="2192379"/>
            <a:ext cx="1147246" cy="1672357"/>
          </a:xfrm>
          <a:prstGeom prst="rect">
            <a:avLst/>
          </a:prstGeom>
        </p:spPr>
      </p:pic>
      <p:pic>
        <p:nvPicPr>
          <p:cNvPr id="24" name="Picture 23">
            <a:extLst>
              <a:ext uri="{FF2B5EF4-FFF2-40B4-BE49-F238E27FC236}">
                <a16:creationId xmlns:a16="http://schemas.microsoft.com/office/drawing/2014/main" id="{4F607046-AD98-B2ED-18FF-285642CB4AFF}"/>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499183" y="2386028"/>
            <a:ext cx="953885" cy="1101002"/>
          </a:xfrm>
          <a:prstGeom prst="rect">
            <a:avLst/>
          </a:prstGeom>
        </p:spPr>
      </p:pic>
      <p:pic>
        <p:nvPicPr>
          <p:cNvPr id="26" name="Picture 25">
            <a:extLst>
              <a:ext uri="{FF2B5EF4-FFF2-40B4-BE49-F238E27FC236}">
                <a16:creationId xmlns:a16="http://schemas.microsoft.com/office/drawing/2014/main" id="{058BF184-66B4-4803-BA80-BF2E54081221}"/>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400850" y="2192379"/>
            <a:ext cx="1719201" cy="1994274"/>
          </a:xfrm>
          <a:prstGeom prst="rect">
            <a:avLst/>
          </a:prstGeom>
        </p:spPr>
      </p:pic>
      <p:pic>
        <p:nvPicPr>
          <p:cNvPr id="27" name="Picture 26">
            <a:extLst>
              <a:ext uri="{FF2B5EF4-FFF2-40B4-BE49-F238E27FC236}">
                <a16:creationId xmlns:a16="http://schemas.microsoft.com/office/drawing/2014/main" id="{A23DD532-3B08-A468-11DD-178510FDC498}"/>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5066720" y="1933761"/>
            <a:ext cx="2325636" cy="3802416"/>
          </a:xfrm>
          <a:prstGeom prst="rect">
            <a:avLst/>
          </a:prstGeom>
        </p:spPr>
      </p:pic>
      <p:pic>
        <p:nvPicPr>
          <p:cNvPr id="28" name="Picture 27">
            <a:extLst>
              <a:ext uri="{FF2B5EF4-FFF2-40B4-BE49-F238E27FC236}">
                <a16:creationId xmlns:a16="http://schemas.microsoft.com/office/drawing/2014/main" id="{40173F29-245D-BBCD-03B5-7718E9F7FB57}"/>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8027306" y="2284628"/>
            <a:ext cx="1732077" cy="1697437"/>
          </a:xfrm>
          <a:prstGeom prst="rect">
            <a:avLst/>
          </a:prstGeom>
        </p:spPr>
      </p:pic>
    </p:spTree>
    <p:custDataLst>
      <p:tags r:id="rId1"/>
    </p:custDataLst>
    <p:extLst>
      <p:ext uri="{BB962C8B-B14F-4D97-AF65-F5344CB8AC3E}">
        <p14:creationId xmlns:p14="http://schemas.microsoft.com/office/powerpoint/2010/main" val="58156620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715DA86-8FF2-4CCC-B46B-BA6BC7BF4B54}"/>
              </a:ext>
            </a:extLst>
          </p:cNvPr>
          <p:cNvSpPr txBox="1"/>
          <p:nvPr/>
        </p:nvSpPr>
        <p:spPr>
          <a:xfrm>
            <a:off x="1993249" y="1703894"/>
            <a:ext cx="8767144" cy="186204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15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Introduction</a:t>
            </a:r>
            <a:endParaRPr kumimoji="0" lang="en-MY" sz="166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5" name="TextBox 4">
            <a:extLst>
              <a:ext uri="{FF2B5EF4-FFF2-40B4-BE49-F238E27FC236}">
                <a16:creationId xmlns:a16="http://schemas.microsoft.com/office/drawing/2014/main" id="{CCBCF5AA-8D30-4ED2-9E23-5831B6D06E91}"/>
              </a:ext>
            </a:extLst>
          </p:cNvPr>
          <p:cNvSpPr txBox="1"/>
          <p:nvPr/>
        </p:nvSpPr>
        <p:spPr>
          <a:xfrm>
            <a:off x="5195323" y="7150001"/>
            <a:ext cx="5971507" cy="36933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96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subpoint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13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7" name="TextBox 6">
            <a:extLst>
              <a:ext uri="{FF2B5EF4-FFF2-40B4-BE49-F238E27FC236}">
                <a16:creationId xmlns:a16="http://schemas.microsoft.com/office/drawing/2014/main" id="{4A58C4AF-4768-4F51-9970-BFCF8851C819}"/>
              </a:ext>
            </a:extLst>
          </p:cNvPr>
          <p:cNvSpPr txBox="1"/>
          <p:nvPr/>
        </p:nvSpPr>
        <p:spPr>
          <a:xfrm>
            <a:off x="5195323" y="10852777"/>
            <a:ext cx="6117770"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Lorem ipsum </a:t>
            </a:r>
            <a:r>
              <a:rPr kumimoji="0" lang="en-MY" sz="1800" b="0" i="0" u="none" strike="noStrike" kern="1200" cap="none" spc="0" normalizeH="0" baseline="0" noProof="0" dirty="0" err="1">
                <a:ln>
                  <a:noFill/>
                </a:ln>
                <a:solidFill>
                  <a:prstClr val="black"/>
                </a:solidFill>
                <a:effectLst/>
                <a:uLnTx/>
                <a:uFillTx/>
                <a:latin typeface="Calibri" panose="020F0502020204030204"/>
                <a:ea typeface="+mn-ea"/>
                <a:cs typeface="+mn-cs"/>
              </a:rPr>
              <a:t>dolor</a:t>
            </a: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 sit </a:t>
            </a:r>
            <a:r>
              <a:rPr kumimoji="0" lang="en-MY" sz="1800" b="0" i="0" u="none" strike="noStrike" kern="1200" cap="none" spc="0" normalizeH="0" baseline="0" noProof="0" dirty="0" err="1">
                <a:ln>
                  <a:noFill/>
                </a:ln>
                <a:solidFill>
                  <a:prstClr val="black"/>
                </a:solidFill>
                <a:effectLst/>
                <a:uLnTx/>
                <a:uFillTx/>
                <a:latin typeface="Calibri" panose="020F0502020204030204"/>
                <a:ea typeface="+mn-ea"/>
                <a:cs typeface="+mn-cs"/>
              </a:rPr>
              <a:t>amet</a:t>
            </a: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MY" sz="1800" b="0" i="0" u="none" strike="noStrike" kern="1200" cap="none" spc="0" normalizeH="0" baseline="0" noProof="0" dirty="0" err="1">
                <a:ln>
                  <a:noFill/>
                </a:ln>
                <a:solidFill>
                  <a:prstClr val="black"/>
                </a:solidFill>
                <a:effectLst/>
                <a:uLnTx/>
                <a:uFillTx/>
                <a:latin typeface="Calibri" panose="020F0502020204030204"/>
                <a:ea typeface="+mn-ea"/>
                <a:cs typeface="+mn-cs"/>
              </a:rPr>
              <a:t>consectetur</a:t>
            </a: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MY" sz="1800" b="0" i="0" u="none" strike="noStrike" kern="1200" cap="none" spc="0" normalizeH="0" baseline="0" noProof="0" dirty="0" err="1">
                <a:ln>
                  <a:noFill/>
                </a:ln>
                <a:solidFill>
                  <a:prstClr val="black"/>
                </a:solidFill>
                <a:effectLst/>
                <a:uLnTx/>
                <a:uFillTx/>
                <a:latin typeface="Calibri" panose="020F0502020204030204"/>
                <a:ea typeface="+mn-ea"/>
                <a:cs typeface="+mn-cs"/>
              </a:rPr>
              <a:t>adipiscing</a:t>
            </a: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MY" sz="1800" b="0" i="0" u="none" strike="noStrike" kern="1200" cap="none" spc="0" normalizeH="0" baseline="0" noProof="0" dirty="0" err="1">
                <a:ln>
                  <a:noFill/>
                </a:ln>
                <a:solidFill>
                  <a:prstClr val="black"/>
                </a:solidFill>
                <a:effectLst/>
                <a:uLnTx/>
                <a:uFillTx/>
                <a:latin typeface="Calibri" panose="020F0502020204030204"/>
                <a:ea typeface="+mn-ea"/>
                <a:cs typeface="+mn-cs"/>
              </a:rPr>
              <a:t>elit</a:t>
            </a: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MY" sz="1800" b="0" i="0" u="none" strike="noStrike" kern="1200" cap="none" spc="0" normalizeH="0" baseline="0" noProof="0" dirty="0" err="1">
                <a:ln>
                  <a:noFill/>
                </a:ln>
                <a:solidFill>
                  <a:prstClr val="black"/>
                </a:solidFill>
                <a:effectLst/>
                <a:uLnTx/>
                <a:uFillTx/>
                <a:latin typeface="Calibri" panose="020F0502020204030204"/>
                <a:ea typeface="+mn-ea"/>
                <a:cs typeface="+mn-cs"/>
              </a:rPr>
              <a:t>sed</a:t>
            </a: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 do </a:t>
            </a:r>
            <a:r>
              <a:rPr kumimoji="0" lang="en-MY" sz="1800" b="0" i="0" u="none" strike="noStrike" kern="1200" cap="none" spc="0" normalizeH="0" baseline="0" noProof="0" dirty="0" err="1">
                <a:ln>
                  <a:noFill/>
                </a:ln>
                <a:solidFill>
                  <a:prstClr val="black"/>
                </a:solidFill>
                <a:effectLst/>
                <a:uLnTx/>
                <a:uFillTx/>
                <a:latin typeface="Calibri" panose="020F0502020204030204"/>
                <a:ea typeface="+mn-ea"/>
                <a:cs typeface="+mn-cs"/>
              </a:rPr>
              <a:t>eiusmod</a:t>
            </a: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MY" sz="1800" b="0" i="0" u="none" strike="noStrike" kern="1200" cap="none" spc="0" normalizeH="0" baseline="0" noProof="0" dirty="0" err="1">
                <a:ln>
                  <a:noFill/>
                </a:ln>
                <a:solidFill>
                  <a:prstClr val="black"/>
                </a:solidFill>
                <a:effectLst/>
                <a:uLnTx/>
                <a:uFillTx/>
                <a:latin typeface="Century" panose="02040604050505020304" pitchFamily="18" charset="0"/>
                <a:ea typeface="+mn-ea"/>
                <a:cs typeface="+mn-cs"/>
              </a:rPr>
              <a:t>tempor</a:t>
            </a: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MY" sz="1800" b="0" i="0" u="none" strike="noStrike" kern="1200" cap="none" spc="0" normalizeH="0" baseline="0" noProof="0" dirty="0" err="1">
                <a:ln>
                  <a:noFill/>
                </a:ln>
                <a:solidFill>
                  <a:prstClr val="black"/>
                </a:solidFill>
                <a:effectLst/>
                <a:uLnTx/>
                <a:uFillTx/>
                <a:latin typeface="Calibri" panose="020F0502020204030204"/>
                <a:ea typeface="+mn-ea"/>
                <a:cs typeface="+mn-cs"/>
              </a:rPr>
              <a:t>incididunt</a:t>
            </a: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MY" sz="1800" b="0" i="0" u="none" strike="noStrike" kern="1200" cap="none" spc="0" normalizeH="0" baseline="0" noProof="0" dirty="0" err="1">
                <a:ln>
                  <a:noFill/>
                </a:ln>
                <a:solidFill>
                  <a:prstClr val="black"/>
                </a:solidFill>
                <a:effectLst/>
                <a:uLnTx/>
                <a:uFillTx/>
                <a:latin typeface="Calibri" panose="020F0502020204030204"/>
                <a:ea typeface="+mn-ea"/>
                <a:cs typeface="+mn-cs"/>
              </a:rPr>
              <a:t>ut</a:t>
            </a: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 labore et dolore magna </a:t>
            </a:r>
            <a:r>
              <a:rPr kumimoji="0" lang="en-MY" sz="1800" b="0" i="0" u="none" strike="noStrike" kern="1200" cap="none" spc="0" normalizeH="0" baseline="0" noProof="0" dirty="0" err="1">
                <a:ln>
                  <a:noFill/>
                </a:ln>
                <a:solidFill>
                  <a:prstClr val="black"/>
                </a:solidFill>
                <a:effectLst/>
                <a:uLnTx/>
                <a:uFillTx/>
                <a:latin typeface="Calibri" panose="020F0502020204030204"/>
                <a:ea typeface="+mn-ea"/>
                <a:cs typeface="+mn-cs"/>
              </a:rPr>
              <a:t>aliqua</a:t>
            </a: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 Ut </a:t>
            </a:r>
            <a:r>
              <a:rPr kumimoji="0" lang="en-MY" sz="1800" b="0" i="0" u="none" strike="noStrike" kern="1200" cap="none" spc="0" normalizeH="0" baseline="0" noProof="0" dirty="0" err="1">
                <a:ln>
                  <a:noFill/>
                </a:ln>
                <a:solidFill>
                  <a:prstClr val="black"/>
                </a:solidFill>
                <a:effectLst/>
                <a:uLnTx/>
                <a:uFillTx/>
                <a:latin typeface="Calibri" panose="020F0502020204030204"/>
                <a:ea typeface="+mn-ea"/>
                <a:cs typeface="+mn-cs"/>
              </a:rPr>
              <a:t>enim</a:t>
            </a: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 ad minim </a:t>
            </a:r>
            <a:r>
              <a:rPr kumimoji="0" lang="en-MY" sz="1800" b="0" i="0" u="none" strike="noStrike" kern="1200" cap="none" spc="0" normalizeH="0" baseline="0" noProof="0" dirty="0" err="1">
                <a:ln>
                  <a:noFill/>
                </a:ln>
                <a:solidFill>
                  <a:prstClr val="black"/>
                </a:solidFill>
                <a:effectLst/>
                <a:uLnTx/>
                <a:uFillTx/>
                <a:latin typeface="Calibri" panose="020F0502020204030204"/>
                <a:ea typeface="+mn-ea"/>
                <a:cs typeface="+mn-cs"/>
              </a:rPr>
              <a:t>veniam</a:t>
            </a: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MY" sz="1800" b="0" i="0" u="none" strike="noStrike" kern="1200" cap="none" spc="0" normalizeH="0" baseline="0" noProof="0" dirty="0" err="1">
                <a:ln>
                  <a:noFill/>
                </a:ln>
                <a:solidFill>
                  <a:prstClr val="black"/>
                </a:solidFill>
                <a:effectLst/>
                <a:uLnTx/>
                <a:uFillTx/>
                <a:latin typeface="Calibri" panose="020F0502020204030204"/>
                <a:ea typeface="+mn-ea"/>
                <a:cs typeface="+mn-cs"/>
              </a:rPr>
              <a:t>quis</a:t>
            </a: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MY" sz="1800" b="0" i="0" u="none" strike="noStrike" kern="1200" cap="none" spc="0" normalizeH="0" baseline="0" noProof="0" dirty="0" err="1">
                <a:ln>
                  <a:noFill/>
                </a:ln>
                <a:solidFill>
                  <a:prstClr val="black"/>
                </a:solidFill>
                <a:effectLst/>
                <a:uLnTx/>
                <a:uFillTx/>
                <a:latin typeface="Calibri" panose="020F0502020204030204"/>
                <a:ea typeface="+mn-ea"/>
                <a:cs typeface="+mn-cs"/>
              </a:rPr>
              <a:t>nostrud</a:t>
            </a: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 exercitation </a:t>
            </a:r>
            <a:r>
              <a:rPr kumimoji="0" lang="en-MY" sz="1800" b="0" i="0" u="none" strike="noStrike" kern="1200" cap="none" spc="0" normalizeH="0" baseline="0" noProof="0" dirty="0" err="1">
                <a:ln>
                  <a:noFill/>
                </a:ln>
                <a:solidFill>
                  <a:prstClr val="black"/>
                </a:solidFill>
                <a:effectLst/>
                <a:uLnTx/>
                <a:uFillTx/>
                <a:latin typeface="Calibri" panose="020F0502020204030204"/>
                <a:ea typeface="+mn-ea"/>
                <a:cs typeface="+mn-cs"/>
              </a:rPr>
              <a:t>ullamco</a:t>
            </a: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MY" sz="1800" b="0" i="0" u="none" strike="noStrike" kern="1200" cap="none" spc="0" normalizeH="0" baseline="0" noProof="0" dirty="0" err="1">
                <a:ln>
                  <a:noFill/>
                </a:ln>
                <a:solidFill>
                  <a:prstClr val="black"/>
                </a:solidFill>
                <a:effectLst/>
                <a:uLnTx/>
                <a:uFillTx/>
                <a:latin typeface="Calibri" panose="020F0502020204030204"/>
                <a:ea typeface="+mn-ea"/>
                <a:cs typeface="+mn-cs"/>
              </a:rPr>
              <a:t>laboris</a:t>
            </a: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 nisi </a:t>
            </a:r>
            <a:r>
              <a:rPr kumimoji="0" lang="en-MY" sz="1800" b="0" i="0" u="none" strike="noStrike" kern="1200" cap="none" spc="0" normalizeH="0" baseline="0" noProof="0" dirty="0" err="1">
                <a:ln>
                  <a:noFill/>
                </a:ln>
                <a:solidFill>
                  <a:prstClr val="black"/>
                </a:solidFill>
                <a:effectLst/>
                <a:uLnTx/>
                <a:uFillTx/>
                <a:latin typeface="Calibri" panose="020F0502020204030204"/>
                <a:ea typeface="+mn-ea"/>
                <a:cs typeface="+mn-cs"/>
              </a:rPr>
              <a:t>ut</a:t>
            </a: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MY" sz="1800" b="0" i="0" u="none" strike="noStrike" kern="1200" cap="none" spc="0" normalizeH="0" baseline="0" noProof="0" dirty="0" err="1">
                <a:ln>
                  <a:noFill/>
                </a:ln>
                <a:solidFill>
                  <a:prstClr val="black"/>
                </a:solidFill>
                <a:effectLst/>
                <a:uLnTx/>
                <a:uFillTx/>
                <a:latin typeface="Calibri" panose="020F0502020204030204"/>
                <a:ea typeface="+mn-ea"/>
                <a:cs typeface="+mn-cs"/>
              </a:rPr>
              <a:t>aliquip</a:t>
            </a: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 ex </a:t>
            </a:r>
            <a:r>
              <a:rPr kumimoji="0" lang="en-MY" sz="1800" b="0" i="0" u="none" strike="noStrike" kern="1200" cap="none" spc="0" normalizeH="0" baseline="0" noProof="0" dirty="0" err="1">
                <a:ln>
                  <a:noFill/>
                </a:ln>
                <a:solidFill>
                  <a:prstClr val="black"/>
                </a:solidFill>
                <a:effectLst/>
                <a:uLnTx/>
                <a:uFillTx/>
                <a:latin typeface="Calibri" panose="020F0502020204030204"/>
                <a:ea typeface="+mn-ea"/>
                <a:cs typeface="+mn-cs"/>
              </a:rPr>
              <a:t>ea</a:t>
            </a: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MY" sz="1800" b="0" i="0" u="none" strike="noStrike" kern="1200" cap="none" spc="0" normalizeH="0" baseline="0" noProof="0" dirty="0" err="1">
                <a:ln>
                  <a:noFill/>
                </a:ln>
                <a:solidFill>
                  <a:prstClr val="black"/>
                </a:solidFill>
                <a:effectLst/>
                <a:uLnTx/>
                <a:uFillTx/>
                <a:latin typeface="Calibri" panose="020F0502020204030204"/>
                <a:ea typeface="+mn-ea"/>
                <a:cs typeface="+mn-cs"/>
              </a:rPr>
              <a:t>commodo</a:t>
            </a: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MY" sz="1800" b="0" i="0" u="none" strike="noStrike" kern="1200" cap="none" spc="0" normalizeH="0" baseline="0" noProof="0" dirty="0" err="1">
                <a:ln>
                  <a:noFill/>
                </a:ln>
                <a:solidFill>
                  <a:prstClr val="black"/>
                </a:solidFill>
                <a:effectLst/>
                <a:uLnTx/>
                <a:uFillTx/>
                <a:latin typeface="Calibri" panose="020F0502020204030204"/>
                <a:ea typeface="+mn-ea"/>
                <a:cs typeface="+mn-cs"/>
              </a:rPr>
              <a:t>consequat</a:t>
            </a:r>
            <a:r>
              <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pic>
        <p:nvPicPr>
          <p:cNvPr id="9" name="Picture 8">
            <a:extLst>
              <a:ext uri="{FF2B5EF4-FFF2-40B4-BE49-F238E27FC236}">
                <a16:creationId xmlns:a16="http://schemas.microsoft.com/office/drawing/2014/main" id="{16A3FD68-5CAE-40F5-A9AE-D61E4606F44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72152" y="1168400"/>
            <a:ext cx="4741292" cy="4521200"/>
          </a:xfrm>
          <a:prstGeom prst="rect">
            <a:avLst/>
          </a:prstGeom>
        </p:spPr>
      </p:pic>
      <mc:AlternateContent xmlns:mc="http://schemas.openxmlformats.org/markup-compatibility/2006" xmlns:pslz="http://schemas.microsoft.com/office/powerpoint/2016/slidezoom">
        <mc:Choice Requires="pslz">
          <p:graphicFrame>
            <p:nvGraphicFramePr>
              <p:cNvPr id="3" name="Slide Zoom 2">
                <a:extLst>
                  <a:ext uri="{FF2B5EF4-FFF2-40B4-BE49-F238E27FC236}">
                    <a16:creationId xmlns:a16="http://schemas.microsoft.com/office/drawing/2014/main" id="{5275F5FA-D172-89EA-761B-91F9967ED8ED}"/>
                  </a:ext>
                </a:extLst>
              </p:cNvPr>
              <p:cNvGraphicFramePr>
                <a:graphicFrameLocks noChangeAspect="1"/>
              </p:cNvGraphicFramePr>
              <p:nvPr>
                <p:extLst>
                  <p:ext uri="{D42A27DB-BD31-4B8C-83A1-F6EECF244321}">
                    <p14:modId xmlns:p14="http://schemas.microsoft.com/office/powerpoint/2010/main" val="2637308159"/>
                  </p:ext>
                </p:extLst>
              </p:nvPr>
            </p:nvGraphicFramePr>
            <p:xfrm>
              <a:off x="1015209" y="4608876"/>
              <a:ext cx="3048000" cy="1714500"/>
            </p:xfrm>
            <a:graphic>
              <a:graphicData uri="http://schemas.microsoft.com/office/powerpoint/2016/slidezoom">
                <pslz:sldZm>
                  <pslz:sldZmObj sldId="262" cId="4240248860">
                    <pslz:zmPr id="{D4E67CBB-E945-493F-8BD1-AEEB6F804861}" returnToParent="0" transitionDur="1000">
                      <p166:blipFill xmlns:p166="http://schemas.microsoft.com/office/powerpoint/2016/6/main">
                        <a:blip r:embed="rId3"/>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Slide Zoom 2">
                <a:hlinkClick r:id="rId4" action="ppaction://hlinksldjump"/>
                <a:extLst>
                  <a:ext uri="{FF2B5EF4-FFF2-40B4-BE49-F238E27FC236}">
                    <a16:creationId xmlns:a16="http://schemas.microsoft.com/office/drawing/2014/main" id="{5275F5FA-D172-89EA-761B-91F9967ED8ED}"/>
                  </a:ext>
                </a:extLst>
              </p:cNvPr>
              <p:cNvPicPr>
                <a:picLocks noGrp="1" noRot="1" noChangeAspect="1" noMove="1" noResize="1" noEditPoints="1" noAdjustHandles="1" noChangeArrowheads="1" noChangeShapeType="1"/>
              </p:cNvPicPr>
              <p:nvPr/>
            </p:nvPicPr>
            <p:blipFill>
              <a:blip r:embed="rId5"/>
              <a:stretch>
                <a:fillRect/>
              </a:stretch>
            </p:blipFill>
            <p:spPr>
              <a:xfrm>
                <a:off x="1015209" y="4608876"/>
                <a:ext cx="3048000" cy="1714500"/>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4CD83136-C111-8226-6835-3BEFE1CD816A}"/>
                  </a:ext>
                </a:extLst>
              </p:cNvPr>
              <p:cNvGraphicFramePr>
                <a:graphicFrameLocks noChangeAspect="1"/>
              </p:cNvGraphicFramePr>
              <p:nvPr>
                <p:extLst>
                  <p:ext uri="{D42A27DB-BD31-4B8C-83A1-F6EECF244321}">
                    <p14:modId xmlns:p14="http://schemas.microsoft.com/office/powerpoint/2010/main" val="1086955752"/>
                  </p:ext>
                </p:extLst>
              </p:nvPr>
            </p:nvGraphicFramePr>
            <p:xfrm>
              <a:off x="4572000" y="4637609"/>
              <a:ext cx="3048000" cy="1714500"/>
            </p:xfrm>
            <a:graphic>
              <a:graphicData uri="http://schemas.microsoft.com/office/powerpoint/2016/slidezoom">
                <pslz:sldZm>
                  <pslz:sldZmObj sldId="325" cId="1598830874">
                    <pslz:zmPr id="{7B9BAEA4-5038-4F6A-A100-6050FFE5C30F}" returnToParent="0" transitionDur="1000">
                      <p166:blipFill xmlns:p166="http://schemas.microsoft.com/office/powerpoint/2016/6/main">
                        <a:blip r:embed="rId6"/>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11" name="Slide Zoom 10">
                <a:hlinkClick r:id="rId7" action="ppaction://hlinksldjump"/>
                <a:extLst>
                  <a:ext uri="{FF2B5EF4-FFF2-40B4-BE49-F238E27FC236}">
                    <a16:creationId xmlns:a16="http://schemas.microsoft.com/office/drawing/2014/main" id="{4CD83136-C111-8226-6835-3BEFE1CD816A}"/>
                  </a:ext>
                </a:extLst>
              </p:cNvPr>
              <p:cNvPicPr>
                <a:picLocks noGrp="1" noRot="1" noChangeAspect="1" noMove="1" noResize="1" noEditPoints="1" noAdjustHandles="1" noChangeArrowheads="1" noChangeShapeType="1"/>
              </p:cNvPicPr>
              <p:nvPr/>
            </p:nvPicPr>
            <p:blipFill>
              <a:blip r:embed="rId8"/>
              <a:stretch>
                <a:fillRect/>
              </a:stretch>
            </p:blipFill>
            <p:spPr>
              <a:xfrm>
                <a:off x="4572000" y="4637609"/>
                <a:ext cx="3048000" cy="1714500"/>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3" name="Slide Zoom 12">
                <a:extLst>
                  <a:ext uri="{FF2B5EF4-FFF2-40B4-BE49-F238E27FC236}">
                    <a16:creationId xmlns:a16="http://schemas.microsoft.com/office/drawing/2014/main" id="{53136D88-ADE8-E9D6-045D-64557E4057EF}"/>
                  </a:ext>
                </a:extLst>
              </p:cNvPr>
              <p:cNvGraphicFramePr>
                <a:graphicFrameLocks noChangeAspect="1"/>
              </p:cNvGraphicFramePr>
              <p:nvPr>
                <p:extLst>
                  <p:ext uri="{D42A27DB-BD31-4B8C-83A1-F6EECF244321}">
                    <p14:modId xmlns:p14="http://schemas.microsoft.com/office/powerpoint/2010/main" val="3974084098"/>
                  </p:ext>
                </p:extLst>
              </p:nvPr>
            </p:nvGraphicFramePr>
            <p:xfrm>
              <a:off x="8254208" y="4669319"/>
              <a:ext cx="3048000" cy="1714500"/>
            </p:xfrm>
            <a:graphic>
              <a:graphicData uri="http://schemas.microsoft.com/office/powerpoint/2016/slidezoom">
                <pslz:sldZm>
                  <pslz:sldZmObj sldId="261" cId="3667921507">
                    <pslz:zmPr id="{ADB5E305-5F37-4E38-9ADD-91B528A7214D}" returnToParent="0" transitionDur="1000">
                      <p166:blipFill xmlns:p166="http://schemas.microsoft.com/office/powerpoint/2016/6/main">
                        <a:blip r:embed="rId9"/>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13" name="Slide Zoom 12">
                <a:hlinkClick r:id="rId10" action="ppaction://hlinksldjump"/>
                <a:extLst>
                  <a:ext uri="{FF2B5EF4-FFF2-40B4-BE49-F238E27FC236}">
                    <a16:creationId xmlns:a16="http://schemas.microsoft.com/office/drawing/2014/main" id="{53136D88-ADE8-E9D6-045D-64557E4057EF}"/>
                  </a:ext>
                </a:extLst>
              </p:cNvPr>
              <p:cNvPicPr>
                <a:picLocks noGrp="1" noRot="1" noChangeAspect="1" noMove="1" noResize="1" noEditPoints="1" noAdjustHandles="1" noChangeArrowheads="1" noChangeShapeType="1"/>
              </p:cNvPicPr>
              <p:nvPr/>
            </p:nvPicPr>
            <p:blipFill>
              <a:blip r:embed="rId11"/>
              <a:stretch>
                <a:fillRect/>
              </a:stretch>
            </p:blipFill>
            <p:spPr>
              <a:xfrm>
                <a:off x="8254208" y="4669319"/>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27464217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6000" b="-6000"/>
          </a:stretch>
        </a:blip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5ACF30AF-AF43-4AA8-8123-82B4D83D41EF}"/>
              </a:ext>
            </a:extLst>
          </p:cNvPr>
          <p:cNvSpPr txBox="1"/>
          <p:nvPr/>
        </p:nvSpPr>
        <p:spPr>
          <a:xfrm>
            <a:off x="5280718" y="1564429"/>
            <a:ext cx="1630575"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5F6FA"/>
                </a:solidFill>
                <a:effectLst/>
                <a:uLnTx/>
                <a:uFillTx/>
                <a:latin typeface="Poppins" panose="00000500000000000000" pitchFamily="2" charset="0"/>
                <a:ea typeface="+mn-ea"/>
                <a:cs typeface="Poppins" panose="00000500000000000000" pitchFamily="2" charset="0"/>
              </a:rPr>
              <a:t>Ch_favorite</a:t>
            </a:r>
          </a:p>
        </p:txBody>
      </p:sp>
      <p:sp>
        <p:nvSpPr>
          <p:cNvPr id="10" name="TextBox 9">
            <a:extLst>
              <a:ext uri="{FF2B5EF4-FFF2-40B4-BE49-F238E27FC236}">
                <a16:creationId xmlns:a16="http://schemas.microsoft.com/office/drawing/2014/main" id="{2D955090-E87B-41DF-B5F9-2F676D0D45F4}"/>
              </a:ext>
            </a:extLst>
          </p:cNvPr>
          <p:cNvSpPr txBox="1"/>
          <p:nvPr/>
        </p:nvSpPr>
        <p:spPr>
          <a:xfrm>
            <a:off x="447418" y="1615229"/>
            <a:ext cx="1119217" cy="307777"/>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lumMod val="65000"/>
                  </a:srgbClr>
                </a:solidFill>
                <a:effectLst/>
                <a:uLnTx/>
                <a:uFillTx/>
                <a:latin typeface="Poppins" panose="00000500000000000000" pitchFamily="2" charset="0"/>
                <a:ea typeface="+mn-ea"/>
                <a:cs typeface="Poppins" panose="00000500000000000000" pitchFamily="2" charset="0"/>
              </a:rPr>
              <a:t>Comment</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362613" y="1564429"/>
            <a:ext cx="1795684" cy="369332"/>
          </a:xfrm>
          <a:prstGeom prst="rect">
            <a:avLst/>
          </a:prstGeom>
          <a:noFill/>
        </p:spPr>
        <p:txBody>
          <a:bodyPr wrap="non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lumMod val="75000"/>
                  </a:srgbClr>
                </a:solidFill>
                <a:effectLst/>
                <a:uLnTx/>
                <a:uFillTx/>
                <a:latin typeface="Poppins" panose="00000500000000000000" pitchFamily="2" charset="0"/>
                <a:ea typeface="+mn-ea"/>
                <a:cs typeface="Poppins" panose="00000500000000000000" pitchFamily="2" charset="0"/>
              </a:rPr>
              <a:t>Ch_message</a:t>
            </a:r>
          </a:p>
        </p:txBody>
      </p:sp>
      <p:sp>
        <p:nvSpPr>
          <p:cNvPr id="12" name="TextBox 11">
            <a:extLst>
              <a:ext uri="{FF2B5EF4-FFF2-40B4-BE49-F238E27FC236}">
                <a16:creationId xmlns:a16="http://schemas.microsoft.com/office/drawing/2014/main" id="{AB08C9B5-ABA4-4234-AB60-76C647A098EE}"/>
              </a:ext>
            </a:extLst>
          </p:cNvPr>
          <p:cNvSpPr txBox="1"/>
          <p:nvPr/>
        </p:nvSpPr>
        <p:spPr>
          <a:xfrm>
            <a:off x="4274506" y="5441819"/>
            <a:ext cx="3642985" cy="646331"/>
          </a:xfrm>
          <a:prstGeom prst="rect">
            <a:avLst/>
          </a:prstGeom>
          <a:noFill/>
        </p:spPr>
        <p:txBody>
          <a:bodyPr wrap="squar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800" b="0" i="0" u="none" strike="noStrike" kern="1200" cap="none" spc="0" normalizeH="0" baseline="0" noProof="0" dirty="0">
                <a:ln>
                  <a:noFill/>
                </a:ln>
                <a:solidFill>
                  <a:srgbClr val="F5F6FA"/>
                </a:solidFill>
                <a:effectLst/>
                <a:uLnTx/>
                <a:uFillTx/>
                <a:latin typeface="Bahnschrift SemiBold" panose="020B0502040204020203" pitchFamily="34" charset="0"/>
                <a:ea typeface="+mn-ea"/>
                <a:cs typeface="+mn-cs"/>
              </a:rPr>
              <a:t>Store data about favorite users of current user</a:t>
            </a:r>
          </a:p>
        </p:txBody>
      </p:sp>
      <p:sp>
        <p:nvSpPr>
          <p:cNvPr id="22" name="TextBox 21">
            <a:extLst>
              <a:ext uri="{FF2B5EF4-FFF2-40B4-BE49-F238E27FC236}">
                <a16:creationId xmlns:a16="http://schemas.microsoft.com/office/drawing/2014/main" id="{8CAFE9BC-158E-C9D3-F64D-B19BDE6A4608}"/>
              </a:ext>
            </a:extLst>
          </p:cNvPr>
          <p:cNvSpPr txBox="1"/>
          <p:nvPr/>
        </p:nvSpPr>
        <p:spPr>
          <a:xfrm>
            <a:off x="-2043979" y="1621291"/>
            <a:ext cx="1587293" cy="338554"/>
          </a:xfrm>
          <a:prstGeom prst="rect">
            <a:avLst/>
          </a:prstGeom>
          <a:noFill/>
        </p:spPr>
        <p:txBody>
          <a:bodyPr wrap="square" numCol="1"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1600" b="1" i="0" u="none" strike="noStrike" kern="1200" cap="none" spc="0" normalizeH="0" baseline="0" noProof="0" dirty="0">
                <a:ln>
                  <a:noFill/>
                </a:ln>
                <a:solidFill>
                  <a:srgbClr val="FFFFFF">
                    <a:lumMod val="65000"/>
                  </a:srgbClr>
                </a:solidFill>
                <a:effectLst/>
                <a:uLnTx/>
                <a:uFillTx/>
                <a:latin typeface="Poppins" panose="00000500000000000000" pitchFamily="2" charset="0"/>
                <a:ea typeface="+mn-ea"/>
                <a:cs typeface="Poppins" panose="00000500000000000000" pitchFamily="2" charset="0"/>
              </a:rPr>
              <a:t>Like</a:t>
            </a:r>
          </a:p>
        </p:txBody>
      </p:sp>
      <p:pic>
        <p:nvPicPr>
          <p:cNvPr id="26" name="Picture 25">
            <a:extLst>
              <a:ext uri="{FF2B5EF4-FFF2-40B4-BE49-F238E27FC236}">
                <a16:creationId xmlns:a16="http://schemas.microsoft.com/office/drawing/2014/main" id="{058BF184-66B4-4803-BA80-BF2E54081221}"/>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361487" y="2308795"/>
            <a:ext cx="1333684" cy="1547074"/>
          </a:xfrm>
          <a:prstGeom prst="rect">
            <a:avLst/>
          </a:prstGeom>
        </p:spPr>
      </p:pic>
      <p:pic>
        <p:nvPicPr>
          <p:cNvPr id="27" name="Picture 26">
            <a:extLst>
              <a:ext uri="{FF2B5EF4-FFF2-40B4-BE49-F238E27FC236}">
                <a16:creationId xmlns:a16="http://schemas.microsoft.com/office/drawing/2014/main" id="{A23DD532-3B08-A468-11DD-178510FDC498}"/>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2790466" y="2223846"/>
            <a:ext cx="927819" cy="1516985"/>
          </a:xfrm>
          <a:prstGeom prst="rect">
            <a:avLst/>
          </a:prstGeom>
        </p:spPr>
      </p:pic>
      <p:pic>
        <p:nvPicPr>
          <p:cNvPr id="28" name="Picture 27">
            <a:extLst>
              <a:ext uri="{FF2B5EF4-FFF2-40B4-BE49-F238E27FC236}">
                <a16:creationId xmlns:a16="http://schemas.microsoft.com/office/drawing/2014/main" id="{40173F29-245D-BBCD-03B5-7718E9F7FB5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4871063" y="1970255"/>
            <a:ext cx="2890599" cy="2832788"/>
          </a:xfrm>
          <a:prstGeom prst="rect">
            <a:avLst/>
          </a:prstGeom>
        </p:spPr>
      </p:pic>
      <p:pic>
        <p:nvPicPr>
          <p:cNvPr id="19" name="Picture 18">
            <a:extLst>
              <a:ext uri="{FF2B5EF4-FFF2-40B4-BE49-F238E27FC236}">
                <a16:creationId xmlns:a16="http://schemas.microsoft.com/office/drawing/2014/main" id="{4C91E789-D732-EC83-4BE2-DB2BE4ED47CE}"/>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1481596" y="2386028"/>
            <a:ext cx="953885" cy="1101002"/>
          </a:xfrm>
          <a:prstGeom prst="rect">
            <a:avLst/>
          </a:prstGeom>
        </p:spPr>
      </p:pic>
    </p:spTree>
    <p:custDataLst>
      <p:tags r:id="rId1"/>
    </p:custDataLst>
    <p:extLst>
      <p:ext uri="{BB962C8B-B14F-4D97-AF65-F5344CB8AC3E}">
        <p14:creationId xmlns:p14="http://schemas.microsoft.com/office/powerpoint/2010/main" val="125818560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6000" b="-6000"/>
          </a:stretch>
        </a:blip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a:extLst>
              <a:ext uri="{FF2B5EF4-FFF2-40B4-BE49-F238E27FC236}">
                <a16:creationId xmlns:a16="http://schemas.microsoft.com/office/drawing/2014/main" id="{54624894-EE83-E0C7-84F0-F74FBD7C46B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99800" y="-281665"/>
            <a:ext cx="12391800" cy="7243145"/>
          </a:xfrm>
          <a:prstGeom prst="rect">
            <a:avLst/>
          </a:prstGeom>
        </p:spPr>
      </p:pic>
      <p:sp>
        <p:nvSpPr>
          <p:cNvPr id="6" name="Rectangle 5">
            <a:extLst>
              <a:ext uri="{FF2B5EF4-FFF2-40B4-BE49-F238E27FC236}">
                <a16:creationId xmlns:a16="http://schemas.microsoft.com/office/drawing/2014/main" id="{9CDD8A82-EE82-4947-69E3-6CCF76E91EE1}"/>
              </a:ext>
            </a:extLst>
          </p:cNvPr>
          <p:cNvSpPr/>
          <p:nvPr/>
        </p:nvSpPr>
        <p:spPr>
          <a:xfrm>
            <a:off x="10679836" y="6356411"/>
            <a:ext cx="1494408" cy="474955"/>
          </a:xfrm>
          <a:prstGeom prst="rect">
            <a:avLst/>
          </a:prstGeom>
          <a:solidFill>
            <a:srgbClr val="F9F9F9"/>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dirty="0" err="1">
              <a:ln>
                <a:noFill/>
              </a:ln>
              <a:solidFill>
                <a:srgbClr val="F5F6FA"/>
              </a:solidFill>
              <a:effectLst/>
              <a:uLnTx/>
              <a:uFillTx/>
              <a:latin typeface="Segoe UI Semibold"/>
              <a:ea typeface="+mn-ea"/>
              <a:cs typeface="+mn-cs"/>
            </a:endParaRPr>
          </a:p>
        </p:txBody>
      </p:sp>
      <p:sp>
        <p:nvSpPr>
          <p:cNvPr id="2" name="TextBox 1">
            <a:extLst>
              <a:ext uri="{FF2B5EF4-FFF2-40B4-BE49-F238E27FC236}">
                <a16:creationId xmlns:a16="http://schemas.microsoft.com/office/drawing/2014/main" id="{FD9D82A4-E11C-D5F4-089C-5FF5D6FE8A72}"/>
              </a:ext>
            </a:extLst>
          </p:cNvPr>
          <p:cNvSpPr txBox="1"/>
          <p:nvPr/>
        </p:nvSpPr>
        <p:spPr>
          <a:xfrm>
            <a:off x="10118810" y="5788427"/>
            <a:ext cx="2143760" cy="738664"/>
          </a:xfrm>
          <a:prstGeom prst="rect">
            <a:avLst/>
          </a:prstGeom>
          <a:noFill/>
        </p:spPr>
        <p:txBody>
          <a:bodyPr wrap="square" lIns="0" tIns="0" rIns="0" bIns="0" numCol="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353B48"/>
                </a:solidFill>
                <a:effectLst/>
                <a:uLnTx/>
                <a:uFillTx/>
                <a:latin typeface="Poppins" panose="00000500000000000000" pitchFamily="2" charset="0"/>
                <a:ea typeface="+mn-ea"/>
                <a:cs typeface="Poppins" panose="00000500000000000000" pitchFamily="2" charset="0"/>
              </a:rPr>
              <a:t>Tables With Relations 🔑</a:t>
            </a:r>
            <a:endParaRPr kumimoji="0" lang="en-IN" sz="2400" b="1" i="0" u="none" strike="noStrike" kern="0" cap="none" spc="0" normalizeH="0" baseline="0" noProof="0" dirty="0">
              <a:ln>
                <a:noFill/>
              </a:ln>
              <a:solidFill>
                <a:srgbClr val="353B48"/>
              </a:solidFill>
              <a:effectLst/>
              <a:uLnTx/>
              <a:uFillTx/>
              <a:latin typeface="Poppins" panose="00000500000000000000" pitchFamily="2" charset="0"/>
              <a:ea typeface="+mn-ea"/>
              <a:cs typeface="Poppins" panose="00000500000000000000" pitchFamily="2" charset="0"/>
            </a:endParaRPr>
          </a:p>
        </p:txBody>
      </p:sp>
      <p:pic>
        <p:nvPicPr>
          <p:cNvPr id="3" name="Picture 2">
            <a:extLst>
              <a:ext uri="{FF2B5EF4-FFF2-40B4-BE49-F238E27FC236}">
                <a16:creationId xmlns:a16="http://schemas.microsoft.com/office/drawing/2014/main" id="{271E898E-E3D8-7995-4574-C17D9EDF8BA8}"/>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5837595" y="138317"/>
            <a:ext cx="1423069" cy="1650760"/>
          </a:xfrm>
          <a:prstGeom prst="rect">
            <a:avLst/>
          </a:prstGeom>
        </p:spPr>
      </p:pic>
      <p:pic>
        <p:nvPicPr>
          <p:cNvPr id="4" name="Picture 3">
            <a:extLst>
              <a:ext uri="{FF2B5EF4-FFF2-40B4-BE49-F238E27FC236}">
                <a16:creationId xmlns:a16="http://schemas.microsoft.com/office/drawing/2014/main" id="{754A9D75-50DF-652A-79D0-98BCAD89DA6F}"/>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5949448" y="3670090"/>
            <a:ext cx="1423069" cy="2326720"/>
          </a:xfrm>
          <a:prstGeom prst="rect">
            <a:avLst/>
          </a:prstGeom>
        </p:spPr>
      </p:pic>
      <p:pic>
        <p:nvPicPr>
          <p:cNvPr id="7" name="Picture 6">
            <a:extLst>
              <a:ext uri="{FF2B5EF4-FFF2-40B4-BE49-F238E27FC236}">
                <a16:creationId xmlns:a16="http://schemas.microsoft.com/office/drawing/2014/main" id="{06FA543F-7502-3E9B-AA6E-C16F571ABADD}"/>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1185783" y="246978"/>
            <a:ext cx="1423070" cy="1394609"/>
          </a:xfrm>
          <a:prstGeom prst="rect">
            <a:avLst/>
          </a:prstGeom>
        </p:spPr>
      </p:pic>
    </p:spTree>
    <p:custDataLst>
      <p:tags r:id="rId1"/>
    </p:custDataLst>
    <p:extLst>
      <p:ext uri="{BB962C8B-B14F-4D97-AF65-F5344CB8AC3E}">
        <p14:creationId xmlns:p14="http://schemas.microsoft.com/office/powerpoint/2010/main" val="6197669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6C40FCE-D23F-D32F-A43D-AB75109168A7}"/>
              </a:ext>
            </a:extLst>
          </p:cNvPr>
          <p:cNvPicPr>
            <a:picLocks noChangeAspect="1"/>
          </p:cNvPicPr>
          <p:nvPr/>
        </p:nvPicPr>
        <p:blipFill rotWithShape="1">
          <a:blip r:embed="rId2">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val="0"/>
              </a:ext>
            </a:extLst>
          </a:blip>
          <a:srcRect t="23359" r="16592"/>
          <a:stretch/>
        </p:blipFill>
        <p:spPr>
          <a:xfrm>
            <a:off x="0" y="466939"/>
            <a:ext cx="12472945" cy="5260511"/>
          </a:xfrm>
          <a:prstGeom prst="rect">
            <a:avLst/>
          </a:prstGeom>
        </p:spPr>
      </p:pic>
      <p:sp>
        <p:nvSpPr>
          <p:cNvPr id="15" name="TextBox 14">
            <a:extLst>
              <a:ext uri="{FF2B5EF4-FFF2-40B4-BE49-F238E27FC236}">
                <a16:creationId xmlns:a16="http://schemas.microsoft.com/office/drawing/2014/main" id="{D4814E8E-6373-3BF1-503D-741F9C6AA158}"/>
              </a:ext>
            </a:extLst>
          </p:cNvPr>
          <p:cNvSpPr txBox="1"/>
          <p:nvPr/>
        </p:nvSpPr>
        <p:spPr>
          <a:xfrm>
            <a:off x="528508" y="5652397"/>
            <a:ext cx="1832727" cy="738664"/>
          </a:xfrm>
          <a:prstGeom prst="rect">
            <a:avLst/>
          </a:prstGeom>
          <a:noFill/>
        </p:spPr>
        <p:txBody>
          <a:bodyPr wrap="square" lIns="0" tIns="0" rIns="0" bIns="0" numCol="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Poppins" panose="00000500000000000000" pitchFamily="2" charset="0"/>
                <a:ea typeface="+mn-ea"/>
                <a:cs typeface="Poppins" panose="00000500000000000000" pitchFamily="2" charset="0"/>
              </a:rPr>
              <a:t>E-R Diagram  🕸</a:t>
            </a:r>
            <a:endParaRPr kumimoji="0" lang="en-IN" sz="2400" b="1" i="0" u="none" strike="noStrike" kern="0" cap="none" spc="0" normalizeH="0" baseline="0" noProof="0" dirty="0">
              <a:ln>
                <a:noFill/>
              </a:ln>
              <a:solidFill>
                <a:srgbClr val="000000"/>
              </a:solidFill>
              <a:effectLst/>
              <a:uLnTx/>
              <a:uFillTx/>
              <a:latin typeface="Poppins" panose="00000500000000000000" pitchFamily="2" charset="0"/>
              <a:ea typeface="+mn-ea"/>
              <a:cs typeface="Poppins" panose="00000500000000000000" pitchFamily="2" charset="0"/>
            </a:endParaRPr>
          </a:p>
        </p:txBody>
      </p:sp>
      <p:grpSp>
        <p:nvGrpSpPr>
          <p:cNvPr id="31" name="Group 30">
            <a:extLst>
              <a:ext uri="{FF2B5EF4-FFF2-40B4-BE49-F238E27FC236}">
                <a16:creationId xmlns:a16="http://schemas.microsoft.com/office/drawing/2014/main" id="{7BB78265-E676-40EB-3603-AAEDC869CEB1}"/>
              </a:ext>
            </a:extLst>
          </p:cNvPr>
          <p:cNvGrpSpPr/>
          <p:nvPr/>
        </p:nvGrpSpPr>
        <p:grpSpPr>
          <a:xfrm>
            <a:off x="17828392" y="1042527"/>
            <a:ext cx="1714343" cy="2209664"/>
            <a:chOff x="5728041" y="4010797"/>
            <a:chExt cx="1714343" cy="2209664"/>
          </a:xfrm>
        </p:grpSpPr>
        <p:sp>
          <p:nvSpPr>
            <p:cNvPr id="32" name="TextBox 31">
              <a:extLst>
                <a:ext uri="{FF2B5EF4-FFF2-40B4-BE49-F238E27FC236}">
                  <a16:creationId xmlns:a16="http://schemas.microsoft.com/office/drawing/2014/main" id="{2A0FE713-3A3A-007B-C7A5-74423F954893}"/>
                </a:ext>
              </a:extLst>
            </p:cNvPr>
            <p:cNvSpPr txBox="1"/>
            <p:nvPr/>
          </p:nvSpPr>
          <p:spPr>
            <a:xfrm>
              <a:off x="5728041" y="4650801"/>
              <a:ext cx="1509342" cy="1569660"/>
            </a:xfrm>
            <a:prstGeom prst="rect">
              <a:avLst/>
            </a:prstGeom>
            <a:noFill/>
          </p:spPr>
          <p:txBody>
            <a:bodyPr wrap="square" rtlCol="0">
              <a:spAutoFit/>
            </a:bodyPr>
            <a:lstStyle/>
            <a:p>
              <a:pPr marL="171450" indent="-171450">
                <a:buFont typeface="Arial" panose="020B0604020202020204" pitchFamily="34" charset="0"/>
                <a:buChar char="•"/>
              </a:pPr>
              <a:r>
                <a:rPr lang="en-MY" sz="1200" dirty="0">
                  <a:solidFill>
                    <a:prstClr val="white">
                      <a:lumMod val="65000"/>
                    </a:prstClr>
                  </a:solidFill>
                  <a:latin typeface="Century Gothic" panose="020B0502020202020204" pitchFamily="34" charset="0"/>
                </a:rPr>
                <a:t>Tengok teaser Genshin impact </a:t>
              </a:r>
              <a:r>
                <a:rPr lang="en-MY" sz="1200" dirty="0" err="1">
                  <a:solidFill>
                    <a:prstClr val="white">
                      <a:lumMod val="65000"/>
                    </a:prstClr>
                  </a:solidFill>
                  <a:latin typeface="Century Gothic" panose="020B0502020202020204" pitchFamily="34" charset="0"/>
                </a:rPr>
                <a:t>Teyvat</a:t>
              </a:r>
              <a:r>
                <a:rPr lang="en-MY" sz="1200" dirty="0">
                  <a:solidFill>
                    <a:prstClr val="white">
                      <a:lumMod val="65000"/>
                    </a:prstClr>
                  </a:solidFill>
                  <a:latin typeface="Century Gothic" panose="020B0502020202020204" pitchFamily="34" charset="0"/>
                </a:rPr>
                <a:t> style dengan music </a:t>
              </a:r>
              <a:r>
                <a:rPr lang="en-MY" sz="1200" dirty="0" err="1">
                  <a:solidFill>
                    <a:prstClr val="white">
                      <a:lumMod val="65000"/>
                    </a:prstClr>
                  </a:solidFill>
                  <a:latin typeface="Century Gothic" panose="020B0502020202020204" pitchFamily="34" charset="0"/>
                </a:rPr>
                <a:t>dia</a:t>
              </a:r>
              <a:r>
                <a:rPr lang="en-MY" sz="1200" dirty="0">
                  <a:solidFill>
                    <a:prstClr val="white">
                      <a:lumMod val="65000"/>
                    </a:prstClr>
                  </a:solidFill>
                  <a:latin typeface="Century Gothic" panose="020B0502020202020204" pitchFamily="34" charset="0"/>
                </a:rPr>
                <a:t> </a:t>
              </a:r>
              <a:r>
                <a:rPr lang="en-MY" sz="1200" dirty="0" err="1">
                  <a:solidFill>
                    <a:prstClr val="white">
                      <a:lumMod val="65000"/>
                    </a:prstClr>
                  </a:solidFill>
                  <a:latin typeface="Century Gothic" panose="020B0502020202020204" pitchFamily="34" charset="0"/>
                </a:rPr>
                <a:t>terus</a:t>
              </a:r>
              <a:r>
                <a:rPr lang="en-MY" sz="1200" dirty="0">
                  <a:solidFill>
                    <a:prstClr val="white">
                      <a:lumMod val="65000"/>
                    </a:prstClr>
                  </a:solidFill>
                  <a:latin typeface="Century Gothic" panose="020B0502020202020204" pitchFamily="34" charset="0"/>
                </a:rPr>
                <a:t> inspired untuk buat style macam </a:t>
              </a:r>
              <a:r>
                <a:rPr lang="en-MY" sz="1200" dirty="0" err="1">
                  <a:solidFill>
                    <a:prstClr val="white">
                      <a:lumMod val="65000"/>
                    </a:prstClr>
                  </a:solidFill>
                  <a:latin typeface="Century Gothic" panose="020B0502020202020204" pitchFamily="34" charset="0"/>
                </a:rPr>
                <a:t>ni</a:t>
              </a:r>
              <a:r>
                <a:rPr lang="en-MY" sz="1200" dirty="0">
                  <a:solidFill>
                    <a:prstClr val="white">
                      <a:lumMod val="65000"/>
                    </a:prstClr>
                  </a:solidFill>
                  <a:latin typeface="Century Gothic" panose="020B0502020202020204" pitchFamily="34" charset="0"/>
                </a:rPr>
                <a:t>.</a:t>
              </a:r>
              <a:endParaRPr lang="en-MY" sz="1600" dirty="0">
                <a:solidFill>
                  <a:prstClr val="white">
                    <a:lumMod val="65000"/>
                  </a:prstClr>
                </a:solidFill>
                <a:latin typeface="Century Gothic" panose="020B0502020202020204" pitchFamily="34" charset="0"/>
              </a:endParaRPr>
            </a:p>
          </p:txBody>
        </p:sp>
        <p:sp>
          <p:nvSpPr>
            <p:cNvPr id="33" name="TextBox 32">
              <a:extLst>
                <a:ext uri="{FF2B5EF4-FFF2-40B4-BE49-F238E27FC236}">
                  <a16:creationId xmlns:a16="http://schemas.microsoft.com/office/drawing/2014/main" id="{8357C842-B84F-AED6-5707-9FA73C9EAD38}"/>
                </a:ext>
              </a:extLst>
            </p:cNvPr>
            <p:cNvSpPr txBox="1"/>
            <p:nvPr/>
          </p:nvSpPr>
          <p:spPr>
            <a:xfrm>
              <a:off x="5851767" y="4010797"/>
              <a:ext cx="1590617" cy="584775"/>
            </a:xfrm>
            <a:prstGeom prst="rect">
              <a:avLst/>
            </a:prstGeom>
            <a:noFill/>
          </p:spPr>
          <p:txBody>
            <a:bodyPr wrap="square">
              <a:spAutoFit/>
            </a:bodyPr>
            <a:lstStyle/>
            <a:p>
              <a:r>
                <a:rPr lang="en-US" sz="3200" b="1" dirty="0">
                  <a:blipFill dpi="0" rotWithShape="1">
                    <a:blip r:embed="rId4">
                      <a:extLst>
                        <a:ext uri="{28A0092B-C50C-407E-A947-70E740481C1C}">
                          <a14:useLocalDpi xmlns:a14="http://schemas.microsoft.com/office/drawing/2010/main" val="0"/>
                        </a:ext>
                      </a:extLst>
                    </a:blip>
                    <a:srcRect/>
                    <a:stretch>
                      <a:fillRect/>
                    </a:stretch>
                  </a:blipFill>
                  <a:latin typeface="Century Gothic" panose="020B0502020202020204" pitchFamily="34" charset="0"/>
                </a:rPr>
                <a:t>PENSEL</a:t>
              </a:r>
              <a:endParaRPr lang="en-MY" sz="800" dirty="0">
                <a:solidFill>
                  <a:prstClr val="black"/>
                </a:solidFill>
                <a:latin typeface="Calibri" panose="020F0502020204030204"/>
              </a:endParaRPr>
            </a:p>
          </p:txBody>
        </p:sp>
      </p:grpSp>
      <p:grpSp>
        <p:nvGrpSpPr>
          <p:cNvPr id="34" name="Group 33">
            <a:extLst>
              <a:ext uri="{FF2B5EF4-FFF2-40B4-BE49-F238E27FC236}">
                <a16:creationId xmlns:a16="http://schemas.microsoft.com/office/drawing/2014/main" id="{DC7F0978-A477-893C-1D60-722A0936AB77}"/>
              </a:ext>
            </a:extLst>
          </p:cNvPr>
          <p:cNvGrpSpPr/>
          <p:nvPr/>
        </p:nvGrpSpPr>
        <p:grpSpPr>
          <a:xfrm>
            <a:off x="24550757" y="1043125"/>
            <a:ext cx="1714343" cy="2209664"/>
            <a:chOff x="5728041" y="4010797"/>
            <a:chExt cx="1714343" cy="2209664"/>
          </a:xfrm>
        </p:grpSpPr>
        <p:sp>
          <p:nvSpPr>
            <p:cNvPr id="35" name="TextBox 34">
              <a:extLst>
                <a:ext uri="{FF2B5EF4-FFF2-40B4-BE49-F238E27FC236}">
                  <a16:creationId xmlns:a16="http://schemas.microsoft.com/office/drawing/2014/main" id="{3861A58D-3A74-B558-556E-9268FCA160D0}"/>
                </a:ext>
              </a:extLst>
            </p:cNvPr>
            <p:cNvSpPr txBox="1"/>
            <p:nvPr/>
          </p:nvSpPr>
          <p:spPr>
            <a:xfrm>
              <a:off x="5728041" y="4650801"/>
              <a:ext cx="1509342" cy="1569660"/>
            </a:xfrm>
            <a:prstGeom prst="rect">
              <a:avLst/>
            </a:prstGeom>
            <a:noFill/>
          </p:spPr>
          <p:txBody>
            <a:bodyPr wrap="square" rtlCol="0">
              <a:spAutoFit/>
            </a:bodyPr>
            <a:lstStyle/>
            <a:p>
              <a:pPr marL="171450" indent="-171450">
                <a:buFont typeface="Arial" panose="020B0604020202020204" pitchFamily="34" charset="0"/>
                <a:buChar char="•"/>
              </a:pPr>
              <a:r>
                <a:rPr lang="en-MY" sz="1200" dirty="0">
                  <a:solidFill>
                    <a:prstClr val="white">
                      <a:lumMod val="65000"/>
                    </a:prstClr>
                  </a:solidFill>
                  <a:latin typeface="Century Gothic" panose="020B0502020202020204" pitchFamily="34" charset="0"/>
                </a:rPr>
                <a:t>Tengok teaser Genshin impact </a:t>
              </a:r>
              <a:r>
                <a:rPr lang="en-MY" sz="1200" dirty="0" err="1">
                  <a:solidFill>
                    <a:prstClr val="white">
                      <a:lumMod val="65000"/>
                    </a:prstClr>
                  </a:solidFill>
                  <a:latin typeface="Century Gothic" panose="020B0502020202020204" pitchFamily="34" charset="0"/>
                </a:rPr>
                <a:t>Teyvat</a:t>
              </a:r>
              <a:r>
                <a:rPr lang="en-MY" sz="1200" dirty="0">
                  <a:solidFill>
                    <a:prstClr val="white">
                      <a:lumMod val="65000"/>
                    </a:prstClr>
                  </a:solidFill>
                  <a:latin typeface="Century Gothic" panose="020B0502020202020204" pitchFamily="34" charset="0"/>
                </a:rPr>
                <a:t> style dengan music </a:t>
              </a:r>
              <a:r>
                <a:rPr lang="en-MY" sz="1200" dirty="0" err="1">
                  <a:solidFill>
                    <a:prstClr val="white">
                      <a:lumMod val="65000"/>
                    </a:prstClr>
                  </a:solidFill>
                  <a:latin typeface="Century Gothic" panose="020B0502020202020204" pitchFamily="34" charset="0"/>
                </a:rPr>
                <a:t>dia</a:t>
              </a:r>
              <a:r>
                <a:rPr lang="en-MY" sz="1200" dirty="0">
                  <a:solidFill>
                    <a:prstClr val="white">
                      <a:lumMod val="65000"/>
                    </a:prstClr>
                  </a:solidFill>
                  <a:latin typeface="Century Gothic" panose="020B0502020202020204" pitchFamily="34" charset="0"/>
                </a:rPr>
                <a:t> </a:t>
              </a:r>
              <a:r>
                <a:rPr lang="en-MY" sz="1200" dirty="0" err="1">
                  <a:solidFill>
                    <a:prstClr val="white">
                      <a:lumMod val="65000"/>
                    </a:prstClr>
                  </a:solidFill>
                  <a:latin typeface="Century Gothic" panose="020B0502020202020204" pitchFamily="34" charset="0"/>
                </a:rPr>
                <a:t>terus</a:t>
              </a:r>
              <a:r>
                <a:rPr lang="en-MY" sz="1200" dirty="0">
                  <a:solidFill>
                    <a:prstClr val="white">
                      <a:lumMod val="65000"/>
                    </a:prstClr>
                  </a:solidFill>
                  <a:latin typeface="Century Gothic" panose="020B0502020202020204" pitchFamily="34" charset="0"/>
                </a:rPr>
                <a:t> inspired untuk buat style macam </a:t>
              </a:r>
              <a:r>
                <a:rPr lang="en-MY" sz="1200" dirty="0" err="1">
                  <a:solidFill>
                    <a:prstClr val="white">
                      <a:lumMod val="65000"/>
                    </a:prstClr>
                  </a:solidFill>
                  <a:latin typeface="Century Gothic" panose="020B0502020202020204" pitchFamily="34" charset="0"/>
                </a:rPr>
                <a:t>ni</a:t>
              </a:r>
              <a:r>
                <a:rPr lang="en-MY" sz="1200" dirty="0">
                  <a:solidFill>
                    <a:prstClr val="white">
                      <a:lumMod val="65000"/>
                    </a:prstClr>
                  </a:solidFill>
                  <a:latin typeface="Century Gothic" panose="020B0502020202020204" pitchFamily="34" charset="0"/>
                </a:rPr>
                <a:t>.</a:t>
              </a:r>
              <a:endParaRPr lang="en-MY" sz="1600" dirty="0">
                <a:solidFill>
                  <a:prstClr val="white">
                    <a:lumMod val="65000"/>
                  </a:prstClr>
                </a:solidFill>
                <a:latin typeface="Century Gothic" panose="020B0502020202020204" pitchFamily="34" charset="0"/>
              </a:endParaRPr>
            </a:p>
          </p:txBody>
        </p:sp>
        <p:sp>
          <p:nvSpPr>
            <p:cNvPr id="36" name="TextBox 35">
              <a:extLst>
                <a:ext uri="{FF2B5EF4-FFF2-40B4-BE49-F238E27FC236}">
                  <a16:creationId xmlns:a16="http://schemas.microsoft.com/office/drawing/2014/main" id="{1BEA56C6-60ED-CF8C-254E-A1DF6A73487E}"/>
                </a:ext>
              </a:extLst>
            </p:cNvPr>
            <p:cNvSpPr txBox="1"/>
            <p:nvPr/>
          </p:nvSpPr>
          <p:spPr>
            <a:xfrm>
              <a:off x="5851767" y="4010797"/>
              <a:ext cx="1590617" cy="584775"/>
            </a:xfrm>
            <a:prstGeom prst="rect">
              <a:avLst/>
            </a:prstGeom>
            <a:noFill/>
          </p:spPr>
          <p:txBody>
            <a:bodyPr wrap="square">
              <a:spAutoFit/>
            </a:bodyPr>
            <a:lstStyle/>
            <a:p>
              <a:r>
                <a:rPr lang="en-US" sz="3200" b="1" dirty="0">
                  <a:blipFill dpi="0" rotWithShape="1">
                    <a:blip r:embed="rId4">
                      <a:extLst>
                        <a:ext uri="{28A0092B-C50C-407E-A947-70E740481C1C}">
                          <a14:useLocalDpi xmlns:a14="http://schemas.microsoft.com/office/drawing/2010/main" val="0"/>
                        </a:ext>
                      </a:extLst>
                    </a:blip>
                    <a:srcRect/>
                    <a:stretch>
                      <a:fillRect/>
                    </a:stretch>
                  </a:blipFill>
                  <a:latin typeface="Century Gothic" panose="020B0502020202020204" pitchFamily="34" charset="0"/>
                </a:rPr>
                <a:t>LOKEY</a:t>
              </a:r>
              <a:endParaRPr lang="en-MY" sz="800" dirty="0">
                <a:solidFill>
                  <a:prstClr val="black"/>
                </a:solidFill>
                <a:latin typeface="Calibri" panose="020F0502020204030204"/>
              </a:endParaRPr>
            </a:p>
          </p:txBody>
        </p:sp>
      </p:grpSp>
      <p:pic>
        <p:nvPicPr>
          <p:cNvPr id="37" name="Picture 36">
            <a:extLst>
              <a:ext uri="{FF2B5EF4-FFF2-40B4-BE49-F238E27FC236}">
                <a16:creationId xmlns:a16="http://schemas.microsoft.com/office/drawing/2014/main" id="{0FEF04C6-C1C4-DD44-BA49-EFAC9C58EE1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7021667" y="505479"/>
            <a:ext cx="1576715" cy="3090411"/>
          </a:xfrm>
          <a:prstGeom prst="roundRect">
            <a:avLst>
              <a:gd name="adj" fmla="val 50000"/>
            </a:avLst>
          </a:prstGeom>
        </p:spPr>
      </p:pic>
      <p:pic>
        <p:nvPicPr>
          <p:cNvPr id="38" name="Picture 37">
            <a:extLst>
              <a:ext uri="{FF2B5EF4-FFF2-40B4-BE49-F238E27FC236}">
                <a16:creationId xmlns:a16="http://schemas.microsoft.com/office/drawing/2014/main" id="{6C03AE63-D431-666F-8017-A92C9286EADD}"/>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24673332" y="466939"/>
            <a:ext cx="1576715" cy="3090411"/>
          </a:xfrm>
          <a:prstGeom prst="roundRect">
            <a:avLst>
              <a:gd name="adj" fmla="val 50000"/>
            </a:avLst>
          </a:prstGeom>
        </p:spPr>
      </p:pic>
      <p:grpSp>
        <p:nvGrpSpPr>
          <p:cNvPr id="39" name="Group 38">
            <a:extLst>
              <a:ext uri="{FF2B5EF4-FFF2-40B4-BE49-F238E27FC236}">
                <a16:creationId xmlns:a16="http://schemas.microsoft.com/office/drawing/2014/main" id="{3C0AB4E7-D381-A7EF-20C6-054AEFBDEE8D}"/>
              </a:ext>
            </a:extLst>
          </p:cNvPr>
          <p:cNvGrpSpPr/>
          <p:nvPr/>
        </p:nvGrpSpPr>
        <p:grpSpPr>
          <a:xfrm>
            <a:off x="10900897" y="19415644"/>
            <a:ext cx="1644086" cy="2287395"/>
            <a:chOff x="5728041" y="4010797"/>
            <a:chExt cx="1644086" cy="2287395"/>
          </a:xfrm>
        </p:grpSpPr>
        <p:sp>
          <p:nvSpPr>
            <p:cNvPr id="40" name="TextBox 39">
              <a:extLst>
                <a:ext uri="{FF2B5EF4-FFF2-40B4-BE49-F238E27FC236}">
                  <a16:creationId xmlns:a16="http://schemas.microsoft.com/office/drawing/2014/main" id="{823AD03F-AD8A-744B-4866-86B1A3033B62}"/>
                </a:ext>
              </a:extLst>
            </p:cNvPr>
            <p:cNvSpPr txBox="1"/>
            <p:nvPr/>
          </p:nvSpPr>
          <p:spPr>
            <a:xfrm>
              <a:off x="5728041" y="4728532"/>
              <a:ext cx="1509342" cy="1569660"/>
            </a:xfrm>
            <a:prstGeom prst="rect">
              <a:avLst/>
            </a:prstGeom>
            <a:noFill/>
          </p:spPr>
          <p:txBody>
            <a:bodyPr wrap="square" rtlCol="0">
              <a:spAutoFit/>
            </a:bodyPr>
            <a:lstStyle/>
            <a:p>
              <a:pPr marL="171450" indent="-171450">
                <a:buFont typeface="Arial" panose="020B0604020202020204" pitchFamily="34" charset="0"/>
                <a:buChar char="•"/>
              </a:pPr>
              <a:r>
                <a:rPr lang="en-MY" sz="1200" dirty="0">
                  <a:solidFill>
                    <a:prstClr val="white">
                      <a:lumMod val="65000"/>
                    </a:prstClr>
                  </a:solidFill>
                  <a:latin typeface="Century Gothic" panose="020B0502020202020204" pitchFamily="34" charset="0"/>
                </a:rPr>
                <a:t>Tengok teaser Genshin impact </a:t>
              </a:r>
              <a:r>
                <a:rPr lang="en-MY" sz="1200" dirty="0" err="1">
                  <a:solidFill>
                    <a:prstClr val="white">
                      <a:lumMod val="65000"/>
                    </a:prstClr>
                  </a:solidFill>
                  <a:latin typeface="Century Gothic" panose="020B0502020202020204" pitchFamily="34" charset="0"/>
                </a:rPr>
                <a:t>Teyvat</a:t>
              </a:r>
              <a:r>
                <a:rPr lang="en-MY" sz="1200" dirty="0">
                  <a:solidFill>
                    <a:prstClr val="white">
                      <a:lumMod val="65000"/>
                    </a:prstClr>
                  </a:solidFill>
                  <a:latin typeface="Century Gothic" panose="020B0502020202020204" pitchFamily="34" charset="0"/>
                </a:rPr>
                <a:t> style dengan music </a:t>
              </a:r>
              <a:r>
                <a:rPr lang="en-MY" sz="1200" dirty="0" err="1">
                  <a:solidFill>
                    <a:prstClr val="white">
                      <a:lumMod val="65000"/>
                    </a:prstClr>
                  </a:solidFill>
                  <a:latin typeface="Century Gothic" panose="020B0502020202020204" pitchFamily="34" charset="0"/>
                </a:rPr>
                <a:t>dia</a:t>
              </a:r>
              <a:r>
                <a:rPr lang="en-MY" sz="1200" dirty="0">
                  <a:solidFill>
                    <a:prstClr val="white">
                      <a:lumMod val="65000"/>
                    </a:prstClr>
                  </a:solidFill>
                  <a:latin typeface="Century Gothic" panose="020B0502020202020204" pitchFamily="34" charset="0"/>
                </a:rPr>
                <a:t> </a:t>
              </a:r>
              <a:r>
                <a:rPr lang="en-MY" sz="1200" dirty="0" err="1">
                  <a:solidFill>
                    <a:prstClr val="white">
                      <a:lumMod val="65000"/>
                    </a:prstClr>
                  </a:solidFill>
                  <a:latin typeface="Century Gothic" panose="020B0502020202020204" pitchFamily="34" charset="0"/>
                </a:rPr>
                <a:t>terus</a:t>
              </a:r>
              <a:r>
                <a:rPr lang="en-MY" sz="1200" dirty="0">
                  <a:solidFill>
                    <a:prstClr val="white">
                      <a:lumMod val="65000"/>
                    </a:prstClr>
                  </a:solidFill>
                  <a:latin typeface="Century Gothic" panose="020B0502020202020204" pitchFamily="34" charset="0"/>
                </a:rPr>
                <a:t> inspired untuk buat style macam </a:t>
              </a:r>
              <a:r>
                <a:rPr lang="en-MY" sz="1200" dirty="0" err="1">
                  <a:solidFill>
                    <a:prstClr val="white">
                      <a:lumMod val="65000"/>
                    </a:prstClr>
                  </a:solidFill>
                  <a:latin typeface="Century Gothic" panose="020B0502020202020204" pitchFamily="34" charset="0"/>
                </a:rPr>
                <a:t>ni</a:t>
              </a:r>
              <a:r>
                <a:rPr lang="en-MY" sz="1200" dirty="0">
                  <a:solidFill>
                    <a:prstClr val="white">
                      <a:lumMod val="65000"/>
                    </a:prstClr>
                  </a:solidFill>
                  <a:latin typeface="Century Gothic" panose="020B0502020202020204" pitchFamily="34" charset="0"/>
                </a:rPr>
                <a:t>.</a:t>
              </a:r>
              <a:endParaRPr lang="en-MY" sz="1600" dirty="0">
                <a:solidFill>
                  <a:prstClr val="white">
                    <a:lumMod val="65000"/>
                  </a:prstClr>
                </a:solidFill>
                <a:latin typeface="Century Gothic" panose="020B0502020202020204" pitchFamily="34" charset="0"/>
              </a:endParaRPr>
            </a:p>
          </p:txBody>
        </p:sp>
        <p:sp>
          <p:nvSpPr>
            <p:cNvPr id="41" name="TextBox 40">
              <a:extLst>
                <a:ext uri="{FF2B5EF4-FFF2-40B4-BE49-F238E27FC236}">
                  <a16:creationId xmlns:a16="http://schemas.microsoft.com/office/drawing/2014/main" id="{315DB135-0AE6-57FB-10C9-3F01B9407736}"/>
                </a:ext>
              </a:extLst>
            </p:cNvPr>
            <p:cNvSpPr txBox="1"/>
            <p:nvPr/>
          </p:nvSpPr>
          <p:spPr>
            <a:xfrm>
              <a:off x="5781510" y="4010797"/>
              <a:ext cx="1590617" cy="584775"/>
            </a:xfrm>
            <a:prstGeom prst="rect">
              <a:avLst/>
            </a:prstGeom>
            <a:noFill/>
          </p:spPr>
          <p:txBody>
            <a:bodyPr wrap="square">
              <a:spAutoFit/>
            </a:bodyPr>
            <a:lstStyle/>
            <a:p>
              <a:r>
                <a:rPr lang="en-US" sz="3200" b="1" dirty="0">
                  <a:blipFill dpi="0" rotWithShape="1">
                    <a:blip r:embed="rId4">
                      <a:extLst>
                        <a:ext uri="{28A0092B-C50C-407E-A947-70E740481C1C}">
                          <a14:useLocalDpi xmlns:a14="http://schemas.microsoft.com/office/drawing/2010/main" val="0"/>
                        </a:ext>
                      </a:extLst>
                    </a:blip>
                    <a:srcRect/>
                    <a:stretch>
                      <a:fillRect/>
                    </a:stretch>
                  </a:blipFill>
                  <a:latin typeface="Century Gothic" panose="020B0502020202020204" pitchFamily="34" charset="0"/>
                </a:rPr>
                <a:t>T</a:t>
              </a:r>
              <a:r>
                <a:rPr lang="en-US" sz="3200" b="1" dirty="0" err="1">
                  <a:blipFill dpi="0" rotWithShape="1">
                    <a:blip r:embed="rId4">
                      <a:extLst>
                        <a:ext uri="{28A0092B-C50C-407E-A947-70E740481C1C}">
                          <a14:useLocalDpi xmlns:a14="http://schemas.microsoft.com/office/drawing/2010/main" val="0"/>
                        </a:ext>
                      </a:extLst>
                    </a:blip>
                    <a:srcRect/>
                    <a:stretch>
                      <a:fillRect/>
                    </a:stretch>
                  </a:blipFill>
                  <a:latin typeface="Century Gothic" panose="020B0502020202020204" pitchFamily="34" charset="0"/>
                </a:rPr>
                <a:t>ekejut</a:t>
              </a:r>
              <a:endParaRPr lang="en-MY" sz="800" dirty="0">
                <a:solidFill>
                  <a:prstClr val="black"/>
                </a:solidFill>
                <a:latin typeface="Calibri" panose="020F0502020204030204"/>
              </a:endParaRPr>
            </a:p>
          </p:txBody>
        </p:sp>
      </p:grpSp>
      <p:sp>
        <p:nvSpPr>
          <p:cNvPr id="42" name="TextBox 41">
            <a:extLst>
              <a:ext uri="{FF2B5EF4-FFF2-40B4-BE49-F238E27FC236}">
                <a16:creationId xmlns:a16="http://schemas.microsoft.com/office/drawing/2014/main" id="{058EB80E-E317-D820-83A0-5A343287B7E4}"/>
              </a:ext>
            </a:extLst>
          </p:cNvPr>
          <p:cNvSpPr txBox="1"/>
          <p:nvPr/>
        </p:nvSpPr>
        <p:spPr>
          <a:xfrm>
            <a:off x="4921828" y="19100482"/>
            <a:ext cx="5629853" cy="1200329"/>
          </a:xfrm>
          <a:prstGeom prst="rect">
            <a:avLst/>
          </a:prstGeom>
          <a:noFill/>
        </p:spPr>
        <p:txBody>
          <a:bodyPr wrap="square" rtlCol="0">
            <a:spAutoFit/>
          </a:bodyPr>
          <a:lstStyle/>
          <a:p>
            <a:r>
              <a:rPr lang="en-US" sz="7200" b="1" dirty="0">
                <a:blipFill dpi="0" rotWithShape="1">
                  <a:blip r:embed="rId4">
                    <a:extLst>
                      <a:ext uri="{28A0092B-C50C-407E-A947-70E740481C1C}">
                        <a14:useLocalDpi xmlns:a14="http://schemas.microsoft.com/office/drawing/2010/main" val="0"/>
                      </a:ext>
                    </a:extLst>
                  </a:blip>
                  <a:srcRect/>
                  <a:stretch>
                    <a:fillRect/>
                  </a:stretch>
                </a:blipFill>
                <a:latin typeface="Century Gothic" panose="020B0502020202020204" pitchFamily="34" charset="0"/>
              </a:rPr>
              <a:t>FLEETING</a:t>
            </a:r>
            <a:endParaRPr lang="en-US" sz="8000" b="1" dirty="0">
              <a:blipFill dpi="0" rotWithShape="1">
                <a:blip r:embed="rId4">
                  <a:extLst>
                    <a:ext uri="{28A0092B-C50C-407E-A947-70E740481C1C}">
                      <a14:useLocalDpi xmlns:a14="http://schemas.microsoft.com/office/drawing/2010/main" val="0"/>
                    </a:ext>
                  </a:extLst>
                </a:blip>
                <a:srcRect/>
                <a:stretch>
                  <a:fillRect/>
                </a:stretch>
              </a:blipFill>
              <a:latin typeface="Century Gothic" panose="020B0502020202020204" pitchFamily="34" charset="0"/>
            </a:endParaRPr>
          </a:p>
        </p:txBody>
      </p:sp>
      <p:sp>
        <p:nvSpPr>
          <p:cNvPr id="43" name="TextBox 42">
            <a:extLst>
              <a:ext uri="{FF2B5EF4-FFF2-40B4-BE49-F238E27FC236}">
                <a16:creationId xmlns:a16="http://schemas.microsoft.com/office/drawing/2014/main" id="{1DFAF502-098B-04FA-28CD-4FF18B2DAA44}"/>
              </a:ext>
            </a:extLst>
          </p:cNvPr>
          <p:cNvSpPr txBox="1"/>
          <p:nvPr/>
        </p:nvSpPr>
        <p:spPr>
          <a:xfrm>
            <a:off x="4988594" y="17814066"/>
            <a:ext cx="3098925" cy="400110"/>
          </a:xfrm>
          <a:prstGeom prst="rect">
            <a:avLst/>
          </a:prstGeom>
          <a:noFill/>
        </p:spPr>
        <p:txBody>
          <a:bodyPr wrap="none" rtlCol="0">
            <a:spAutoFit/>
          </a:bodyPr>
          <a:lstStyle/>
          <a:p>
            <a:r>
              <a:rPr lang="en-US" sz="2000" b="1" dirty="0">
                <a:blipFill dpi="0" rotWithShape="1">
                  <a:blip r:embed="rId7">
                    <a:extLst>
                      <a:ext uri="{28A0092B-C50C-407E-A947-70E740481C1C}">
                        <a14:useLocalDpi xmlns:a14="http://schemas.microsoft.com/office/drawing/2010/main" val="0"/>
                      </a:ext>
                    </a:extLst>
                  </a:blip>
                  <a:srcRect/>
                  <a:stretch>
                    <a:fillRect/>
                  </a:stretch>
                </a:blipFill>
                <a:latin typeface="Century Gothic" panose="020B0502020202020204" pitchFamily="34" charset="0"/>
              </a:rPr>
              <a:t>Inspired by Style </a:t>
            </a:r>
            <a:r>
              <a:rPr lang="en-US" sz="2000" b="1" dirty="0" err="1">
                <a:blipFill dpi="0" rotWithShape="1">
                  <a:blip r:embed="rId7">
                    <a:extLst>
                      <a:ext uri="{28A0092B-C50C-407E-A947-70E740481C1C}">
                        <a14:useLocalDpi xmlns:a14="http://schemas.microsoft.com/office/drawing/2010/main" val="0"/>
                      </a:ext>
                    </a:extLst>
                  </a:blip>
                  <a:srcRect/>
                  <a:stretch>
                    <a:fillRect/>
                  </a:stretch>
                </a:blipFill>
                <a:latin typeface="Century Gothic" panose="020B0502020202020204" pitchFamily="34" charset="0"/>
              </a:rPr>
              <a:t>Teyvat</a:t>
            </a:r>
            <a:endParaRPr lang="en-US" sz="2000" b="1" dirty="0">
              <a:blipFill dpi="0" rotWithShape="1">
                <a:blip r:embed="rId7">
                  <a:extLst>
                    <a:ext uri="{28A0092B-C50C-407E-A947-70E740481C1C}">
                      <a14:useLocalDpi xmlns:a14="http://schemas.microsoft.com/office/drawing/2010/main" val="0"/>
                    </a:ext>
                  </a:extLst>
                </a:blip>
                <a:srcRect/>
                <a:stretch>
                  <a:fillRect/>
                </a:stretch>
              </a:blipFill>
              <a:latin typeface="Century Gothic" panose="020B0502020202020204" pitchFamily="34" charset="0"/>
            </a:endParaRPr>
          </a:p>
        </p:txBody>
      </p:sp>
      <p:sp>
        <p:nvSpPr>
          <p:cNvPr id="44" name="TextBox 43">
            <a:extLst>
              <a:ext uri="{FF2B5EF4-FFF2-40B4-BE49-F238E27FC236}">
                <a16:creationId xmlns:a16="http://schemas.microsoft.com/office/drawing/2014/main" id="{5FB4BE8D-9120-44C4-0B49-953749752BE2}"/>
              </a:ext>
            </a:extLst>
          </p:cNvPr>
          <p:cNvSpPr txBox="1"/>
          <p:nvPr/>
        </p:nvSpPr>
        <p:spPr>
          <a:xfrm>
            <a:off x="4988396" y="31915798"/>
            <a:ext cx="1063112" cy="307777"/>
          </a:xfrm>
          <a:prstGeom prst="rect">
            <a:avLst/>
          </a:prstGeom>
          <a:noFill/>
        </p:spPr>
        <p:txBody>
          <a:bodyPr wrap="none" rtlCol="0">
            <a:spAutoFit/>
          </a:bodyPr>
          <a:lstStyle/>
          <a:p>
            <a:r>
              <a:rPr lang="en-MY" sz="1400" b="1" dirty="0">
                <a:solidFill>
                  <a:prstClr val="white">
                    <a:lumMod val="65000"/>
                  </a:prstClr>
                </a:solidFill>
                <a:latin typeface="Century Gothic" panose="020B0502020202020204" pitchFamily="34" charset="0"/>
              </a:rPr>
              <a:t>WELCOME</a:t>
            </a:r>
            <a:endParaRPr lang="en-MY" b="1" dirty="0">
              <a:solidFill>
                <a:prstClr val="white">
                  <a:lumMod val="65000"/>
                </a:prstClr>
              </a:solidFill>
              <a:latin typeface="Century Gothic" panose="020B0502020202020204" pitchFamily="34" charset="0"/>
            </a:endParaRPr>
          </a:p>
        </p:txBody>
      </p:sp>
      <p:sp>
        <p:nvSpPr>
          <p:cNvPr id="45" name="TextBox 44">
            <a:extLst>
              <a:ext uri="{FF2B5EF4-FFF2-40B4-BE49-F238E27FC236}">
                <a16:creationId xmlns:a16="http://schemas.microsoft.com/office/drawing/2014/main" id="{0754E365-915B-5185-789D-8610294FD265}"/>
              </a:ext>
            </a:extLst>
          </p:cNvPr>
          <p:cNvSpPr txBox="1"/>
          <p:nvPr/>
        </p:nvSpPr>
        <p:spPr>
          <a:xfrm>
            <a:off x="4988396" y="32219251"/>
            <a:ext cx="3440463" cy="646331"/>
          </a:xfrm>
          <a:prstGeom prst="rect">
            <a:avLst/>
          </a:prstGeom>
          <a:noFill/>
        </p:spPr>
        <p:txBody>
          <a:bodyPr wrap="square" rtlCol="0">
            <a:spAutoFit/>
          </a:bodyPr>
          <a:lstStyle/>
          <a:p>
            <a:pPr algn="just"/>
            <a:r>
              <a:rPr lang="en-MY" sz="1200" dirty="0">
                <a:solidFill>
                  <a:prstClr val="white">
                    <a:lumMod val="65000"/>
                  </a:prstClr>
                </a:solidFill>
                <a:latin typeface="Century Gothic" panose="020B0502020202020204" pitchFamily="34" charset="0"/>
              </a:rPr>
              <a:t>Tengok teaser Genshin impact </a:t>
            </a:r>
            <a:r>
              <a:rPr lang="en-MY" sz="1200" dirty="0" err="1">
                <a:solidFill>
                  <a:prstClr val="white">
                    <a:lumMod val="65000"/>
                  </a:prstClr>
                </a:solidFill>
                <a:latin typeface="Century Gothic" panose="020B0502020202020204" pitchFamily="34" charset="0"/>
              </a:rPr>
              <a:t>Teyvat</a:t>
            </a:r>
            <a:r>
              <a:rPr lang="en-MY" sz="1200" dirty="0">
                <a:solidFill>
                  <a:prstClr val="white">
                    <a:lumMod val="65000"/>
                  </a:prstClr>
                </a:solidFill>
                <a:latin typeface="Century Gothic" panose="020B0502020202020204" pitchFamily="34" charset="0"/>
              </a:rPr>
              <a:t> style dengan music </a:t>
            </a:r>
            <a:r>
              <a:rPr lang="en-MY" sz="1200" dirty="0" err="1">
                <a:solidFill>
                  <a:prstClr val="white">
                    <a:lumMod val="65000"/>
                  </a:prstClr>
                </a:solidFill>
                <a:latin typeface="Century Gothic" panose="020B0502020202020204" pitchFamily="34" charset="0"/>
              </a:rPr>
              <a:t>dia</a:t>
            </a:r>
            <a:r>
              <a:rPr lang="en-MY" sz="1200" dirty="0">
                <a:solidFill>
                  <a:prstClr val="white">
                    <a:lumMod val="65000"/>
                  </a:prstClr>
                </a:solidFill>
                <a:latin typeface="Century Gothic" panose="020B0502020202020204" pitchFamily="34" charset="0"/>
              </a:rPr>
              <a:t> </a:t>
            </a:r>
            <a:r>
              <a:rPr lang="en-MY" sz="1200" dirty="0" err="1">
                <a:solidFill>
                  <a:prstClr val="white">
                    <a:lumMod val="65000"/>
                  </a:prstClr>
                </a:solidFill>
                <a:latin typeface="Century Gothic" panose="020B0502020202020204" pitchFamily="34" charset="0"/>
              </a:rPr>
              <a:t>terus</a:t>
            </a:r>
            <a:r>
              <a:rPr lang="en-MY" sz="1200" dirty="0">
                <a:solidFill>
                  <a:prstClr val="white">
                    <a:lumMod val="65000"/>
                  </a:prstClr>
                </a:solidFill>
                <a:latin typeface="Century Gothic" panose="020B0502020202020204" pitchFamily="34" charset="0"/>
              </a:rPr>
              <a:t> inspired untuk buat style macam </a:t>
            </a:r>
            <a:r>
              <a:rPr lang="en-MY" sz="1200" dirty="0" err="1">
                <a:solidFill>
                  <a:prstClr val="white">
                    <a:lumMod val="65000"/>
                  </a:prstClr>
                </a:solidFill>
                <a:latin typeface="Century Gothic" panose="020B0502020202020204" pitchFamily="34" charset="0"/>
              </a:rPr>
              <a:t>ni</a:t>
            </a:r>
            <a:r>
              <a:rPr lang="en-MY" sz="1200" dirty="0">
                <a:solidFill>
                  <a:prstClr val="white">
                    <a:lumMod val="65000"/>
                  </a:prstClr>
                </a:solidFill>
                <a:latin typeface="Century Gothic" panose="020B0502020202020204" pitchFamily="34" charset="0"/>
              </a:rPr>
              <a:t>.</a:t>
            </a:r>
            <a:endParaRPr lang="en-MY" sz="1600" dirty="0">
              <a:solidFill>
                <a:prstClr val="white">
                  <a:lumMod val="65000"/>
                </a:prstClr>
              </a:solidFill>
              <a:latin typeface="Century Gothic" panose="020B0502020202020204" pitchFamily="34" charset="0"/>
            </a:endParaRPr>
          </a:p>
        </p:txBody>
      </p:sp>
      <p:sp>
        <p:nvSpPr>
          <p:cNvPr id="46" name="TextBox 45">
            <a:extLst>
              <a:ext uri="{FF2B5EF4-FFF2-40B4-BE49-F238E27FC236}">
                <a16:creationId xmlns:a16="http://schemas.microsoft.com/office/drawing/2014/main" id="{E358787F-934F-2D71-BDFD-B4229AC065B4}"/>
              </a:ext>
            </a:extLst>
          </p:cNvPr>
          <p:cNvSpPr txBox="1"/>
          <p:nvPr/>
        </p:nvSpPr>
        <p:spPr>
          <a:xfrm>
            <a:off x="4921828" y="23839990"/>
            <a:ext cx="5113972" cy="1200329"/>
          </a:xfrm>
          <a:prstGeom prst="rect">
            <a:avLst/>
          </a:prstGeom>
          <a:noFill/>
        </p:spPr>
        <p:txBody>
          <a:bodyPr wrap="square">
            <a:spAutoFit/>
          </a:bodyPr>
          <a:lstStyle/>
          <a:p>
            <a:r>
              <a:rPr lang="en-US" sz="7200" b="1" dirty="0">
                <a:blipFill dpi="0" rotWithShape="1">
                  <a:blip r:embed="rId4">
                    <a:extLst>
                      <a:ext uri="{28A0092B-C50C-407E-A947-70E740481C1C}">
                        <a14:useLocalDpi xmlns:a14="http://schemas.microsoft.com/office/drawing/2010/main" val="0"/>
                      </a:ext>
                    </a:extLst>
                  </a:blip>
                  <a:srcRect/>
                  <a:stretch>
                    <a:fillRect/>
                  </a:stretch>
                </a:blipFill>
                <a:latin typeface="Century Gothic" panose="020B0502020202020204" pitchFamily="34" charset="0"/>
              </a:rPr>
              <a:t>COLORS IN </a:t>
            </a:r>
            <a:endParaRPr lang="en-MY" dirty="0">
              <a:solidFill>
                <a:prstClr val="black"/>
              </a:solidFill>
              <a:latin typeface="Calibri" panose="020F0502020204030204"/>
            </a:endParaRPr>
          </a:p>
        </p:txBody>
      </p:sp>
      <p:sp>
        <p:nvSpPr>
          <p:cNvPr id="47" name="TextBox 46">
            <a:extLst>
              <a:ext uri="{FF2B5EF4-FFF2-40B4-BE49-F238E27FC236}">
                <a16:creationId xmlns:a16="http://schemas.microsoft.com/office/drawing/2014/main" id="{05E06603-77D3-4117-7A08-71D3BBC52D66}"/>
              </a:ext>
            </a:extLst>
          </p:cNvPr>
          <p:cNvSpPr txBox="1"/>
          <p:nvPr/>
        </p:nvSpPr>
        <p:spPr>
          <a:xfrm>
            <a:off x="4921829" y="28013609"/>
            <a:ext cx="3184310" cy="1200329"/>
          </a:xfrm>
          <a:prstGeom prst="rect">
            <a:avLst/>
          </a:prstGeom>
          <a:noFill/>
        </p:spPr>
        <p:txBody>
          <a:bodyPr wrap="square">
            <a:spAutoFit/>
          </a:bodyPr>
          <a:lstStyle/>
          <a:p>
            <a:r>
              <a:rPr lang="en-US" sz="7200" b="1" dirty="0">
                <a:blipFill dpi="0" rotWithShape="1">
                  <a:blip r:embed="rId4">
                    <a:extLst>
                      <a:ext uri="{28A0092B-C50C-407E-A947-70E740481C1C}">
                        <a14:useLocalDpi xmlns:a14="http://schemas.microsoft.com/office/drawing/2010/main" val="0"/>
                      </a:ext>
                    </a:extLst>
                  </a:blip>
                  <a:srcRect/>
                  <a:stretch>
                    <a:fillRect/>
                  </a:stretch>
                </a:blipFill>
                <a:latin typeface="Century Gothic" panose="020B0502020202020204" pitchFamily="34" charset="0"/>
              </a:rPr>
              <a:t>FLIGHT</a:t>
            </a:r>
            <a:endParaRPr lang="en-MY" dirty="0">
              <a:solidFill>
                <a:prstClr val="black"/>
              </a:solidFill>
              <a:latin typeface="Calibri" panose="020F0502020204030204"/>
            </a:endParaRPr>
          </a:p>
        </p:txBody>
      </p:sp>
      <p:pic>
        <p:nvPicPr>
          <p:cNvPr id="48" name="Picture 47">
            <a:extLst>
              <a:ext uri="{FF2B5EF4-FFF2-40B4-BE49-F238E27FC236}">
                <a16:creationId xmlns:a16="http://schemas.microsoft.com/office/drawing/2014/main" id="{ED1FB60C-93B2-1D2E-DA32-ED5AA82788E9}"/>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10644301" y="17501510"/>
            <a:ext cx="4083920" cy="8004610"/>
          </a:xfrm>
          <a:prstGeom prst="roundRect">
            <a:avLst>
              <a:gd name="adj" fmla="val 50000"/>
            </a:avLst>
          </a:prstGeom>
        </p:spPr>
      </p:pic>
      <p:sp>
        <p:nvSpPr>
          <p:cNvPr id="49" name="Oval 48">
            <a:extLst>
              <a:ext uri="{FF2B5EF4-FFF2-40B4-BE49-F238E27FC236}">
                <a16:creationId xmlns:a16="http://schemas.microsoft.com/office/drawing/2014/main" id="{BF073452-EF18-3EA6-4716-6C52D14047DC}"/>
              </a:ext>
            </a:extLst>
          </p:cNvPr>
          <p:cNvSpPr/>
          <p:nvPr/>
        </p:nvSpPr>
        <p:spPr>
          <a:xfrm>
            <a:off x="7355397" y="8100603"/>
            <a:ext cx="10235095" cy="10781690"/>
          </a:xfrm>
          <a:prstGeom prst="ellipse">
            <a:avLst/>
          </a:prstGeom>
          <a:solidFill>
            <a:sysClr val="windowText" lastClr="000000">
              <a:lumMod val="85000"/>
              <a:lumOff val="1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MY"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0" name="Oval 49">
            <a:extLst>
              <a:ext uri="{FF2B5EF4-FFF2-40B4-BE49-F238E27FC236}">
                <a16:creationId xmlns:a16="http://schemas.microsoft.com/office/drawing/2014/main" id="{22CDA633-0208-C3C6-B74F-7E81ACEC127D}"/>
              </a:ext>
            </a:extLst>
          </p:cNvPr>
          <p:cNvSpPr/>
          <p:nvPr/>
        </p:nvSpPr>
        <p:spPr>
          <a:xfrm>
            <a:off x="59990" y="10231405"/>
            <a:ext cx="10235095" cy="10781690"/>
          </a:xfrm>
          <a:prstGeom prst="ellipse">
            <a:avLst/>
          </a:prstGeom>
          <a:solidFill>
            <a:sysClr val="windowText" lastClr="000000">
              <a:lumMod val="85000"/>
              <a:lumOff val="1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MY"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AE0881E2-DF82-FE4D-0397-A0DAF0FB80C6}"/>
              </a:ext>
            </a:extLst>
          </p:cNvPr>
          <p:cNvSpPr txBox="1"/>
          <p:nvPr/>
        </p:nvSpPr>
        <p:spPr>
          <a:xfrm>
            <a:off x="5248474" y="13956729"/>
            <a:ext cx="6519471" cy="1569660"/>
          </a:xfrm>
          <a:prstGeom prst="rect">
            <a:avLst/>
          </a:prstGeom>
          <a:noFill/>
        </p:spPr>
        <p:txBody>
          <a:bodyPr wrap="square">
            <a:spAutoFit/>
          </a:bodyPr>
          <a:lstStyle/>
          <a:p>
            <a:pPr algn="ctr"/>
            <a:r>
              <a:rPr lang="en-US" sz="2400" b="1" dirty="0">
                <a:blipFill dpi="0" rotWithShape="1">
                  <a:blip r:embed="rId4">
                    <a:extLst>
                      <a:ext uri="{28A0092B-C50C-407E-A947-70E740481C1C}">
                        <a14:useLocalDpi xmlns:a14="http://schemas.microsoft.com/office/drawing/2010/main" val="0"/>
                      </a:ext>
                    </a:extLst>
                  </a:blip>
                  <a:srcRect/>
                  <a:stretch>
                    <a:fillRect/>
                  </a:stretch>
                </a:blipFill>
                <a:latin typeface="Century Gothic" panose="020B0502020202020204" pitchFamily="34" charset="0"/>
              </a:rPr>
              <a:t>Design by </a:t>
            </a:r>
          </a:p>
          <a:p>
            <a:pPr algn="ctr"/>
            <a:r>
              <a:rPr lang="en-US" sz="7200" b="1" dirty="0">
                <a:blipFill dpi="0" rotWithShape="1">
                  <a:blip r:embed="rId4">
                    <a:extLst>
                      <a:ext uri="{28A0092B-C50C-407E-A947-70E740481C1C}">
                        <a14:useLocalDpi xmlns:a14="http://schemas.microsoft.com/office/drawing/2010/main" val="0"/>
                      </a:ext>
                    </a:extLst>
                  </a:blip>
                  <a:srcRect/>
                  <a:stretch>
                    <a:fillRect/>
                  </a:stretch>
                </a:blipFill>
                <a:latin typeface="Century Gothic" panose="020B0502020202020204" pitchFamily="34" charset="0"/>
              </a:rPr>
              <a:t>hmppt</a:t>
            </a:r>
            <a:endParaRPr lang="en-MY" dirty="0">
              <a:blipFill dpi="0" rotWithShape="1">
                <a:blip r:embed="rId4">
                  <a:extLst>
                    <a:ext uri="{28A0092B-C50C-407E-A947-70E740481C1C}">
                      <a14:useLocalDpi xmlns:a14="http://schemas.microsoft.com/office/drawing/2010/main" val="0"/>
                    </a:ext>
                  </a:extLst>
                </a:blip>
                <a:srcRect/>
                <a:stretch>
                  <a:fillRect/>
                </a:stretch>
              </a:blipFill>
              <a:latin typeface="Calibri" panose="020F0502020204030204"/>
            </a:endParaRPr>
          </a:p>
        </p:txBody>
      </p:sp>
      <p:grpSp>
        <p:nvGrpSpPr>
          <p:cNvPr id="52" name="Group 51">
            <a:extLst>
              <a:ext uri="{FF2B5EF4-FFF2-40B4-BE49-F238E27FC236}">
                <a16:creationId xmlns:a16="http://schemas.microsoft.com/office/drawing/2014/main" id="{9947277B-DA5D-AF0A-7DFD-C4AD56D862F8}"/>
              </a:ext>
            </a:extLst>
          </p:cNvPr>
          <p:cNvGrpSpPr/>
          <p:nvPr/>
        </p:nvGrpSpPr>
        <p:grpSpPr>
          <a:xfrm rot="10117570">
            <a:off x="-3378271" y="14299348"/>
            <a:ext cx="8211469" cy="7922438"/>
            <a:chOff x="-7359647" y="3481383"/>
            <a:chExt cx="8211469" cy="7641093"/>
          </a:xfrm>
        </p:grpSpPr>
        <p:sp>
          <p:nvSpPr>
            <p:cNvPr id="53" name="Freeform: Shape 52">
              <a:extLst>
                <a:ext uri="{FF2B5EF4-FFF2-40B4-BE49-F238E27FC236}">
                  <a16:creationId xmlns:a16="http://schemas.microsoft.com/office/drawing/2014/main" id="{915524C6-F8A3-1AD0-95D3-7731771DE1DE}"/>
                </a:ext>
              </a:extLst>
            </p:cNvPr>
            <p:cNvSpPr/>
            <p:nvPr/>
          </p:nvSpPr>
          <p:spPr>
            <a:xfrm rot="5400000">
              <a:off x="-7074459" y="3196195"/>
              <a:ext cx="7641093" cy="8211469"/>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4">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MY"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4" name="Freeform: Shape 53">
              <a:extLst>
                <a:ext uri="{FF2B5EF4-FFF2-40B4-BE49-F238E27FC236}">
                  <a16:creationId xmlns:a16="http://schemas.microsoft.com/office/drawing/2014/main" id="{73F18153-1751-1FFB-43EE-69DFB2AE91B5}"/>
                </a:ext>
              </a:extLst>
            </p:cNvPr>
            <p:cNvSpPr/>
            <p:nvPr/>
          </p:nvSpPr>
          <p:spPr>
            <a:xfrm rot="5400000">
              <a:off x="-6543154" y="3693520"/>
              <a:ext cx="6715530" cy="7216817"/>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4">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MY"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55" name="Group 54">
            <a:extLst>
              <a:ext uri="{FF2B5EF4-FFF2-40B4-BE49-F238E27FC236}">
                <a16:creationId xmlns:a16="http://schemas.microsoft.com/office/drawing/2014/main" id="{FC71A1AA-683E-84E3-3416-1BB7FFD241A2}"/>
              </a:ext>
            </a:extLst>
          </p:cNvPr>
          <p:cNvGrpSpPr/>
          <p:nvPr/>
        </p:nvGrpSpPr>
        <p:grpSpPr>
          <a:xfrm rot="10117570">
            <a:off x="11820799" y="5127595"/>
            <a:ext cx="8211469" cy="7922438"/>
            <a:chOff x="-7359647" y="3481383"/>
            <a:chExt cx="8211469" cy="7641093"/>
          </a:xfrm>
        </p:grpSpPr>
        <p:sp>
          <p:nvSpPr>
            <p:cNvPr id="56" name="Freeform: Shape 55">
              <a:extLst>
                <a:ext uri="{FF2B5EF4-FFF2-40B4-BE49-F238E27FC236}">
                  <a16:creationId xmlns:a16="http://schemas.microsoft.com/office/drawing/2014/main" id="{34968D2D-3B9C-5D72-8A80-146F93C60AFE}"/>
                </a:ext>
              </a:extLst>
            </p:cNvPr>
            <p:cNvSpPr/>
            <p:nvPr/>
          </p:nvSpPr>
          <p:spPr>
            <a:xfrm rot="5400000">
              <a:off x="-7074459" y="3196195"/>
              <a:ext cx="7641093" cy="8211469"/>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4">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MY"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7" name="Freeform: Shape 56">
              <a:extLst>
                <a:ext uri="{FF2B5EF4-FFF2-40B4-BE49-F238E27FC236}">
                  <a16:creationId xmlns:a16="http://schemas.microsoft.com/office/drawing/2014/main" id="{DF8C5051-050E-2F71-4AF5-4FE82833FA50}"/>
                </a:ext>
              </a:extLst>
            </p:cNvPr>
            <p:cNvSpPr/>
            <p:nvPr/>
          </p:nvSpPr>
          <p:spPr>
            <a:xfrm rot="5400000">
              <a:off x="-6543154" y="3693520"/>
              <a:ext cx="6715530" cy="7216817"/>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4">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MY"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32221518"/>
      </p:ext>
    </p:extLst>
  </p:cSld>
  <p:clrMapOvr>
    <a:masterClrMapping/>
  </p:clrMapOvr>
  <p:transition spd="slow">
    <p:push dir="u"/>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18540C46-5299-4A26-AE09-CBBCE263544F}"/>
              </a:ext>
            </a:extLst>
          </p:cNvPr>
          <p:cNvGrpSpPr/>
          <p:nvPr/>
        </p:nvGrpSpPr>
        <p:grpSpPr>
          <a:xfrm>
            <a:off x="16597284" y="2547262"/>
            <a:ext cx="1714343" cy="2209664"/>
            <a:chOff x="5728041" y="4010797"/>
            <a:chExt cx="1714343" cy="2209664"/>
          </a:xfrm>
        </p:grpSpPr>
        <p:sp>
          <p:nvSpPr>
            <p:cNvPr id="43" name="TextBox 42">
              <a:extLst>
                <a:ext uri="{FF2B5EF4-FFF2-40B4-BE49-F238E27FC236}">
                  <a16:creationId xmlns:a16="http://schemas.microsoft.com/office/drawing/2014/main" id="{84C36659-DF0C-491A-BAE8-C2877D347DBF}"/>
                </a:ext>
              </a:extLst>
            </p:cNvPr>
            <p:cNvSpPr txBox="1"/>
            <p:nvPr/>
          </p:nvSpPr>
          <p:spPr>
            <a:xfrm>
              <a:off x="5728041" y="4650801"/>
              <a:ext cx="1509342" cy="15696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Tengok teaser Genshin impact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Teyvat</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style dengan music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dia</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terus</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inspired untuk buat style macam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ni</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a:t>
              </a:r>
              <a:endParaRPr kumimoji="0" lang="en-MY" sz="16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endParaRPr>
            </a:p>
          </p:txBody>
        </p:sp>
        <p:sp>
          <p:nvSpPr>
            <p:cNvPr id="44" name="TextBox 43">
              <a:extLst>
                <a:ext uri="{FF2B5EF4-FFF2-40B4-BE49-F238E27FC236}">
                  <a16:creationId xmlns:a16="http://schemas.microsoft.com/office/drawing/2014/main" id="{E6D59036-8A4F-4531-AFEF-B14625EDC8A4}"/>
                </a:ext>
              </a:extLst>
            </p:cNvPr>
            <p:cNvSpPr txBox="1"/>
            <p:nvPr/>
          </p:nvSpPr>
          <p:spPr>
            <a:xfrm>
              <a:off x="5851767" y="4010797"/>
              <a:ext cx="1590617"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PENSEL</a:t>
              </a:r>
              <a:endParaRPr kumimoji="0" lang="en-MY"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7" name="Group 36">
            <a:extLst>
              <a:ext uri="{FF2B5EF4-FFF2-40B4-BE49-F238E27FC236}">
                <a16:creationId xmlns:a16="http://schemas.microsoft.com/office/drawing/2014/main" id="{22D9CAFB-F0CC-4493-8C68-1E1A0E93281D}"/>
              </a:ext>
            </a:extLst>
          </p:cNvPr>
          <p:cNvGrpSpPr/>
          <p:nvPr/>
        </p:nvGrpSpPr>
        <p:grpSpPr>
          <a:xfrm>
            <a:off x="23319649" y="2547860"/>
            <a:ext cx="1714343" cy="2209664"/>
            <a:chOff x="5728041" y="4010797"/>
            <a:chExt cx="1714343" cy="2209664"/>
          </a:xfrm>
        </p:grpSpPr>
        <p:sp>
          <p:nvSpPr>
            <p:cNvPr id="39" name="TextBox 38">
              <a:extLst>
                <a:ext uri="{FF2B5EF4-FFF2-40B4-BE49-F238E27FC236}">
                  <a16:creationId xmlns:a16="http://schemas.microsoft.com/office/drawing/2014/main" id="{108D287F-6CF9-46AA-8434-1A6BD2D3CD8D}"/>
                </a:ext>
              </a:extLst>
            </p:cNvPr>
            <p:cNvSpPr txBox="1"/>
            <p:nvPr/>
          </p:nvSpPr>
          <p:spPr>
            <a:xfrm>
              <a:off x="5728041" y="4650801"/>
              <a:ext cx="1509342" cy="15696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Tengok teaser Genshin impact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Teyvat</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style dengan music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dia</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terus</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inspired untuk buat style macam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ni</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a:t>
              </a:r>
              <a:endParaRPr kumimoji="0" lang="en-MY" sz="16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endParaRPr>
            </a:p>
          </p:txBody>
        </p:sp>
        <p:sp>
          <p:nvSpPr>
            <p:cNvPr id="41" name="TextBox 40">
              <a:extLst>
                <a:ext uri="{FF2B5EF4-FFF2-40B4-BE49-F238E27FC236}">
                  <a16:creationId xmlns:a16="http://schemas.microsoft.com/office/drawing/2014/main" id="{D14FBB4C-78DB-432F-8FA4-6FEC927927E7}"/>
                </a:ext>
              </a:extLst>
            </p:cNvPr>
            <p:cNvSpPr txBox="1"/>
            <p:nvPr/>
          </p:nvSpPr>
          <p:spPr>
            <a:xfrm>
              <a:off x="5851767" y="4010797"/>
              <a:ext cx="1590617"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LOKEY</a:t>
              </a:r>
              <a:endParaRPr kumimoji="0" lang="en-MY"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0" name="Group 29">
            <a:extLst>
              <a:ext uri="{FF2B5EF4-FFF2-40B4-BE49-F238E27FC236}">
                <a16:creationId xmlns:a16="http://schemas.microsoft.com/office/drawing/2014/main" id="{43BCB02A-B465-49C6-891E-624EAED5DA6A}"/>
              </a:ext>
            </a:extLst>
          </p:cNvPr>
          <p:cNvGrpSpPr/>
          <p:nvPr/>
        </p:nvGrpSpPr>
        <p:grpSpPr>
          <a:xfrm>
            <a:off x="7907957" y="2570604"/>
            <a:ext cx="1644086" cy="2287395"/>
            <a:chOff x="5728041" y="4010797"/>
            <a:chExt cx="1644086" cy="2287395"/>
          </a:xfrm>
        </p:grpSpPr>
        <p:sp>
          <p:nvSpPr>
            <p:cNvPr id="34" name="TextBox 33">
              <a:extLst>
                <a:ext uri="{FF2B5EF4-FFF2-40B4-BE49-F238E27FC236}">
                  <a16:creationId xmlns:a16="http://schemas.microsoft.com/office/drawing/2014/main" id="{10702B5F-9404-4424-A114-E24F34DD54D4}"/>
                </a:ext>
              </a:extLst>
            </p:cNvPr>
            <p:cNvSpPr txBox="1"/>
            <p:nvPr/>
          </p:nvSpPr>
          <p:spPr>
            <a:xfrm>
              <a:off x="5728041" y="4728532"/>
              <a:ext cx="1509342" cy="15696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Tengok teaser Genshin impact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Teyvat</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style dengan music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dia</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terus</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inspired untuk buat style macam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ni</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a:t>
              </a:r>
              <a:endParaRPr kumimoji="0" lang="en-MY" sz="16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endParaRPr>
            </a:p>
          </p:txBody>
        </p:sp>
        <p:sp>
          <p:nvSpPr>
            <p:cNvPr id="36" name="TextBox 35">
              <a:extLst>
                <a:ext uri="{FF2B5EF4-FFF2-40B4-BE49-F238E27FC236}">
                  <a16:creationId xmlns:a16="http://schemas.microsoft.com/office/drawing/2014/main" id="{BF365FB3-4D6D-43C3-873F-5B1EC7969EBD}"/>
                </a:ext>
              </a:extLst>
            </p:cNvPr>
            <p:cNvSpPr txBox="1"/>
            <p:nvPr/>
          </p:nvSpPr>
          <p:spPr>
            <a:xfrm>
              <a:off x="5781510" y="4010797"/>
              <a:ext cx="1590617"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T</a:t>
              </a:r>
              <a:r>
                <a:rPr kumimoji="0" lang="en-US" sz="3200" b="1" i="0" u="none" strike="noStrike" kern="1200" cap="none" spc="0" normalizeH="0" baseline="0" noProof="0" dirty="0" err="1">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ekejut</a:t>
              </a:r>
              <a:endParaRPr kumimoji="0" lang="en-MY"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 name="Oval 16">
            <a:extLst>
              <a:ext uri="{FF2B5EF4-FFF2-40B4-BE49-F238E27FC236}">
                <a16:creationId xmlns:a16="http://schemas.microsoft.com/office/drawing/2014/main" id="{5B5C5A97-CCE5-4225-98E5-1C08DCF9B18E}"/>
              </a:ext>
            </a:extLst>
          </p:cNvPr>
          <p:cNvSpPr/>
          <p:nvPr/>
        </p:nvSpPr>
        <p:spPr>
          <a:xfrm>
            <a:off x="11358764" y="2254828"/>
            <a:ext cx="2604129" cy="2743200"/>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3" name="Picture 22">
            <a:extLst>
              <a:ext uri="{FF2B5EF4-FFF2-40B4-BE49-F238E27FC236}">
                <a16:creationId xmlns:a16="http://schemas.microsoft.com/office/drawing/2014/main" id="{B6240CE9-380B-4196-929D-3F3AAE66CCE9}"/>
              </a:ext>
            </a:extLst>
          </p:cNvPr>
          <p:cNvPicPr>
            <a:picLocks noChangeAspect="1"/>
          </p:cNvPicPr>
          <p:nvPr/>
        </p:nvPicPr>
        <p:blipFill>
          <a:blip r:embed="rId3">
            <a:duotone>
              <a:prstClr val="black"/>
              <a:srgbClr val="7030A0">
                <a:tint val="45000"/>
                <a:satMod val="400000"/>
              </a:srgbClr>
            </a:duotone>
          </a:blip>
          <a:stretch>
            <a:fillRect/>
          </a:stretch>
        </p:blipFill>
        <p:spPr>
          <a:xfrm>
            <a:off x="11571692" y="3251353"/>
            <a:ext cx="452118" cy="801484"/>
          </a:xfrm>
          <a:prstGeom prst="rect">
            <a:avLst/>
          </a:prstGeom>
          <a:noFill/>
        </p:spPr>
      </p:pic>
      <p:sp>
        <p:nvSpPr>
          <p:cNvPr id="28" name="Oval 27">
            <a:extLst>
              <a:ext uri="{FF2B5EF4-FFF2-40B4-BE49-F238E27FC236}">
                <a16:creationId xmlns:a16="http://schemas.microsoft.com/office/drawing/2014/main" id="{43CD6500-3FB0-46B1-9CEA-A4A02E57AED6}"/>
              </a:ext>
            </a:extLst>
          </p:cNvPr>
          <p:cNvSpPr/>
          <p:nvPr/>
        </p:nvSpPr>
        <p:spPr>
          <a:xfrm>
            <a:off x="-3813860" y="5703505"/>
            <a:ext cx="3999050" cy="4212615"/>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Oval 25">
            <a:extLst>
              <a:ext uri="{FF2B5EF4-FFF2-40B4-BE49-F238E27FC236}">
                <a16:creationId xmlns:a16="http://schemas.microsoft.com/office/drawing/2014/main" id="{46F581F2-0444-4F66-9338-87E6201D7CB9}"/>
              </a:ext>
            </a:extLst>
          </p:cNvPr>
          <p:cNvSpPr/>
          <p:nvPr/>
        </p:nvSpPr>
        <p:spPr>
          <a:xfrm>
            <a:off x="11532016" y="-3055518"/>
            <a:ext cx="3187958" cy="3358208"/>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62BBA93B-51D5-4B20-96C3-DD3FA51D646D}"/>
              </a:ext>
            </a:extLst>
          </p:cNvPr>
          <p:cNvSpPr txBox="1"/>
          <p:nvPr/>
        </p:nvSpPr>
        <p:spPr>
          <a:xfrm>
            <a:off x="1485303" y="2051024"/>
            <a:ext cx="5196945" cy="24006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Gaegu" pitchFamily="2" charset="0"/>
                <a:ea typeface="Gaegu" pitchFamily="2" charset="0"/>
              </a:rPr>
              <a:t>“Sometimes it is the people no one can imagine anything of who do the things no one can imagin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3000" b="1" dirty="0">
                <a:blipFill dpi="0" rotWithShape="1">
                  <a:blip r:embed="rId2">
                    <a:extLst>
                      <a:ext uri="{28A0092B-C50C-407E-A947-70E740481C1C}">
                        <a14:useLocalDpi xmlns:a14="http://schemas.microsoft.com/office/drawing/2010/main" val="0"/>
                      </a:ext>
                    </a:extLst>
                  </a:blip>
                  <a:srcRect/>
                  <a:stretch>
                    <a:fillRect/>
                  </a:stretch>
                </a:blipFill>
                <a:latin typeface="Gaegu" pitchFamily="2" charset="0"/>
                <a:ea typeface="Gaegu" pitchFamily="2" charset="0"/>
              </a:rPr>
              <a:t>	</a:t>
            </a:r>
            <a:endParaRPr kumimoji="0" lang="en-US" sz="30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Gaegu" pitchFamily="2" charset="0"/>
              <a:ea typeface="Gaegu" pitchFamily="2" charset="0"/>
            </a:endParaRPr>
          </a:p>
        </p:txBody>
      </p:sp>
      <p:pic>
        <p:nvPicPr>
          <p:cNvPr id="24" name="Picture 23">
            <a:extLst>
              <a:ext uri="{FF2B5EF4-FFF2-40B4-BE49-F238E27FC236}">
                <a16:creationId xmlns:a16="http://schemas.microsoft.com/office/drawing/2014/main" id="{4ED87419-D8DC-4BC0-93B0-DB9A8F2A5F3D}"/>
              </a:ext>
            </a:extLst>
          </p:cNvPr>
          <p:cNvPicPr>
            <a:picLocks noChangeAspect="1"/>
          </p:cNvPicPr>
          <p:nvPr/>
        </p:nvPicPr>
        <p:blipFill rotWithShape="1">
          <a:blip r:embed="rId4">
            <a:extLst>
              <a:ext uri="{28A0092B-C50C-407E-A947-70E740481C1C}">
                <a14:useLocalDpi xmlns:a14="http://schemas.microsoft.com/office/drawing/2010/main" val="0"/>
              </a:ext>
            </a:extLst>
          </a:blip>
          <a:srcRect l="40574" r="21162"/>
          <a:stretch/>
        </p:blipFill>
        <p:spPr>
          <a:xfrm>
            <a:off x="15790559" y="2010214"/>
            <a:ext cx="1576715" cy="3090411"/>
          </a:xfrm>
          <a:prstGeom prst="roundRect">
            <a:avLst>
              <a:gd name="adj" fmla="val 50000"/>
            </a:avLst>
          </a:prstGeom>
        </p:spPr>
      </p:pic>
      <p:pic>
        <p:nvPicPr>
          <p:cNvPr id="25" name="Picture 24">
            <a:extLst>
              <a:ext uri="{FF2B5EF4-FFF2-40B4-BE49-F238E27FC236}">
                <a16:creationId xmlns:a16="http://schemas.microsoft.com/office/drawing/2014/main" id="{F2B4684F-521A-4CF2-916E-401BDA967FFA}"/>
              </a:ext>
            </a:extLst>
          </p:cNvPr>
          <p:cNvPicPr>
            <a:picLocks noChangeAspect="1"/>
          </p:cNvPicPr>
          <p:nvPr/>
        </p:nvPicPr>
        <p:blipFill rotWithShape="1">
          <a:blip r:embed="rId5">
            <a:extLst>
              <a:ext uri="{28A0092B-C50C-407E-A947-70E740481C1C}">
                <a14:useLocalDpi xmlns:a14="http://schemas.microsoft.com/office/drawing/2010/main" val="0"/>
              </a:ext>
            </a:extLst>
          </a:blip>
          <a:srcRect l="26019" r="35717"/>
          <a:stretch/>
        </p:blipFill>
        <p:spPr>
          <a:xfrm>
            <a:off x="23442224" y="1971674"/>
            <a:ext cx="1576715" cy="3090411"/>
          </a:xfrm>
          <a:prstGeom prst="roundRect">
            <a:avLst>
              <a:gd name="adj" fmla="val 50000"/>
            </a:avLst>
          </a:prstGeom>
        </p:spPr>
      </p:pic>
      <p:grpSp>
        <p:nvGrpSpPr>
          <p:cNvPr id="45" name="Group 44">
            <a:extLst>
              <a:ext uri="{FF2B5EF4-FFF2-40B4-BE49-F238E27FC236}">
                <a16:creationId xmlns:a16="http://schemas.microsoft.com/office/drawing/2014/main" id="{C5A9D42E-59E8-4EFA-9CD1-967139DAE194}"/>
              </a:ext>
            </a:extLst>
          </p:cNvPr>
          <p:cNvGrpSpPr/>
          <p:nvPr/>
        </p:nvGrpSpPr>
        <p:grpSpPr>
          <a:xfrm rot="18064430">
            <a:off x="-6927789" y="3037454"/>
            <a:ext cx="8211469" cy="7641093"/>
            <a:chOff x="-7359647" y="3481383"/>
            <a:chExt cx="8211469" cy="7641093"/>
          </a:xfrm>
        </p:grpSpPr>
        <p:sp>
          <p:nvSpPr>
            <p:cNvPr id="46" name="Freeform: Shape 45">
              <a:extLst>
                <a:ext uri="{FF2B5EF4-FFF2-40B4-BE49-F238E27FC236}">
                  <a16:creationId xmlns:a16="http://schemas.microsoft.com/office/drawing/2014/main" id="{04FEF17E-256E-425F-9198-7764E1C6B5E9}"/>
                </a:ext>
              </a:extLst>
            </p:cNvPr>
            <p:cNvSpPr/>
            <p:nvPr/>
          </p:nvSpPr>
          <p:spPr>
            <a:xfrm rot="5400000">
              <a:off x="-7074459" y="3196195"/>
              <a:ext cx="7641093" cy="8211469"/>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2">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Freeform: Shape 46">
              <a:extLst>
                <a:ext uri="{FF2B5EF4-FFF2-40B4-BE49-F238E27FC236}">
                  <a16:creationId xmlns:a16="http://schemas.microsoft.com/office/drawing/2014/main" id="{A7711C98-C44D-4DAA-B79F-6D9927C302C4}"/>
                </a:ext>
              </a:extLst>
            </p:cNvPr>
            <p:cNvSpPr/>
            <p:nvPr/>
          </p:nvSpPr>
          <p:spPr>
            <a:xfrm rot="5400000">
              <a:off x="-6543154" y="3693520"/>
              <a:ext cx="6715530" cy="7216817"/>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2">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5" name="Group 34">
            <a:extLst>
              <a:ext uri="{FF2B5EF4-FFF2-40B4-BE49-F238E27FC236}">
                <a16:creationId xmlns:a16="http://schemas.microsoft.com/office/drawing/2014/main" id="{653F0391-513B-46EF-BABB-081DA64600AA}"/>
              </a:ext>
            </a:extLst>
          </p:cNvPr>
          <p:cNvGrpSpPr/>
          <p:nvPr/>
        </p:nvGrpSpPr>
        <p:grpSpPr>
          <a:xfrm rot="18064430">
            <a:off x="10781906" y="-5137313"/>
            <a:ext cx="8211469" cy="7641093"/>
            <a:chOff x="-7359647" y="3481383"/>
            <a:chExt cx="8211469" cy="7641093"/>
          </a:xfrm>
        </p:grpSpPr>
        <p:sp>
          <p:nvSpPr>
            <p:cNvPr id="38" name="Freeform: Shape 37">
              <a:extLst>
                <a:ext uri="{FF2B5EF4-FFF2-40B4-BE49-F238E27FC236}">
                  <a16:creationId xmlns:a16="http://schemas.microsoft.com/office/drawing/2014/main" id="{43CFA188-A9F2-4A74-B5E9-81086152CEF1}"/>
                </a:ext>
              </a:extLst>
            </p:cNvPr>
            <p:cNvSpPr/>
            <p:nvPr/>
          </p:nvSpPr>
          <p:spPr>
            <a:xfrm rot="5400000">
              <a:off x="-7074459" y="3196195"/>
              <a:ext cx="7641093" cy="8211469"/>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2">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Freeform: Shape 39">
              <a:extLst>
                <a:ext uri="{FF2B5EF4-FFF2-40B4-BE49-F238E27FC236}">
                  <a16:creationId xmlns:a16="http://schemas.microsoft.com/office/drawing/2014/main" id="{6B7375A3-F6A8-48F1-A0B9-EC3060298212}"/>
                </a:ext>
              </a:extLst>
            </p:cNvPr>
            <p:cNvSpPr/>
            <p:nvPr/>
          </p:nvSpPr>
          <p:spPr>
            <a:xfrm rot="5400000">
              <a:off x="-6543154" y="3693520"/>
              <a:ext cx="6715530" cy="7216817"/>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2">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52" name="TextBox 51">
            <a:extLst>
              <a:ext uri="{FF2B5EF4-FFF2-40B4-BE49-F238E27FC236}">
                <a16:creationId xmlns:a16="http://schemas.microsoft.com/office/drawing/2014/main" id="{D504044E-439E-45F8-BCC1-7C0223F16B21}"/>
              </a:ext>
            </a:extLst>
          </p:cNvPr>
          <p:cNvSpPr txBox="1"/>
          <p:nvPr/>
        </p:nvSpPr>
        <p:spPr>
          <a:xfrm>
            <a:off x="2377956" y="-1899363"/>
            <a:ext cx="6519471"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Design b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hmppt</a:t>
            </a:r>
            <a:endParaRPr kumimoji="0" lang="en-MY" sz="1050" b="0"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21FA7F7C-22FA-3419-CEB1-E1300CF6237C}"/>
              </a:ext>
            </a:extLst>
          </p:cNvPr>
          <p:cNvSpPr txBox="1"/>
          <p:nvPr/>
        </p:nvSpPr>
        <p:spPr>
          <a:xfrm>
            <a:off x="135983" y="22013"/>
            <a:ext cx="1153039"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RELAX</a:t>
            </a:r>
            <a:endParaRPr kumimoji="0" lang="en-MY" sz="600" b="0"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3770D26D-4FC5-4466-9282-3CBBFA4E759A}"/>
              </a:ext>
            </a:extLst>
          </p:cNvPr>
          <p:cNvSpPr txBox="1"/>
          <p:nvPr/>
        </p:nvSpPr>
        <p:spPr>
          <a:xfrm>
            <a:off x="1355277" y="116385"/>
            <a:ext cx="152520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Challenges</a:t>
            </a:r>
            <a:endParaRPr kumimoji="0" lang="en-MY" sz="2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88C75FA5-E3FE-E57F-6B80-76081D4AFD47}"/>
              </a:ext>
            </a:extLst>
          </p:cNvPr>
          <p:cNvSpPr txBox="1"/>
          <p:nvPr/>
        </p:nvSpPr>
        <p:spPr>
          <a:xfrm>
            <a:off x="2585943" y="122894"/>
            <a:ext cx="159259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Enhancements </a:t>
            </a:r>
            <a:endParaRPr kumimoji="0" lang="en-MY" sz="2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0333FEE0-CB03-124A-372B-BC1B40F4C8A9}"/>
              </a:ext>
            </a:extLst>
          </p:cNvPr>
          <p:cNvSpPr txBox="1"/>
          <p:nvPr/>
        </p:nvSpPr>
        <p:spPr>
          <a:xfrm>
            <a:off x="4198997" y="105772"/>
            <a:ext cx="206162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Project Timeline </a:t>
            </a:r>
            <a:endParaRPr kumimoji="0" lang="en-MY" sz="2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Calibri" panose="020F0502020204030204"/>
              <a:ea typeface="+mn-ea"/>
              <a:cs typeface="+mn-cs"/>
            </a:endParaRPr>
          </a:p>
        </p:txBody>
      </p:sp>
      <p:sp>
        <p:nvSpPr>
          <p:cNvPr id="7" name="Google Shape;881;p43">
            <a:extLst>
              <a:ext uri="{FF2B5EF4-FFF2-40B4-BE49-F238E27FC236}">
                <a16:creationId xmlns:a16="http://schemas.microsoft.com/office/drawing/2014/main" id="{A4229DFA-F557-57C8-2BBB-FA62ADDE913B}"/>
              </a:ext>
            </a:extLst>
          </p:cNvPr>
          <p:cNvSpPr/>
          <p:nvPr/>
        </p:nvSpPr>
        <p:spPr>
          <a:xfrm rot="-260877" flipH="1">
            <a:off x="258316" y="1199983"/>
            <a:ext cx="7707660" cy="3854662"/>
          </a:xfrm>
          <a:custGeom>
            <a:avLst/>
            <a:gdLst/>
            <a:ahLst/>
            <a:cxnLst/>
            <a:rect l="l" t="t" r="r" b="b"/>
            <a:pathLst>
              <a:path w="93726" h="45607" extrusionOk="0">
                <a:moveTo>
                  <a:pt x="61426" y="1232"/>
                </a:moveTo>
                <a:cubicBezTo>
                  <a:pt x="73102" y="1232"/>
                  <a:pt x="90461" y="3706"/>
                  <a:pt x="89626" y="15515"/>
                </a:cubicBezTo>
                <a:lnTo>
                  <a:pt x="89626" y="15515"/>
                </a:lnTo>
                <a:cubicBezTo>
                  <a:pt x="89128" y="15001"/>
                  <a:pt x="88611" y="14521"/>
                  <a:pt x="88097" y="14079"/>
                </a:cubicBezTo>
                <a:cubicBezTo>
                  <a:pt x="84924" y="11259"/>
                  <a:pt x="81145" y="9146"/>
                  <a:pt x="77223" y="7510"/>
                </a:cubicBezTo>
                <a:lnTo>
                  <a:pt x="77223" y="7510"/>
                </a:lnTo>
                <a:cubicBezTo>
                  <a:pt x="71422" y="4153"/>
                  <a:pt x="64333" y="3084"/>
                  <a:pt x="57753" y="2771"/>
                </a:cubicBezTo>
                <a:lnTo>
                  <a:pt x="57753" y="2771"/>
                </a:lnTo>
                <a:cubicBezTo>
                  <a:pt x="55996" y="2625"/>
                  <a:pt x="54235" y="2551"/>
                  <a:pt x="52483" y="2551"/>
                </a:cubicBezTo>
                <a:cubicBezTo>
                  <a:pt x="49921" y="2551"/>
                  <a:pt x="47380" y="2710"/>
                  <a:pt x="44907" y="3035"/>
                </a:cubicBezTo>
                <a:lnTo>
                  <a:pt x="44907" y="3035"/>
                </a:lnTo>
                <a:cubicBezTo>
                  <a:pt x="44665" y="3052"/>
                  <a:pt x="44423" y="3070"/>
                  <a:pt x="44181" y="3088"/>
                </a:cubicBezTo>
                <a:lnTo>
                  <a:pt x="44181" y="3088"/>
                </a:lnTo>
                <a:cubicBezTo>
                  <a:pt x="47695" y="2372"/>
                  <a:pt x="51248" y="1857"/>
                  <a:pt x="54795" y="1519"/>
                </a:cubicBezTo>
                <a:cubicBezTo>
                  <a:pt x="56560" y="1352"/>
                  <a:pt x="58855" y="1232"/>
                  <a:pt x="61426" y="1232"/>
                </a:cubicBezTo>
                <a:close/>
                <a:moveTo>
                  <a:pt x="81860" y="11048"/>
                </a:moveTo>
                <a:cubicBezTo>
                  <a:pt x="82945" y="11668"/>
                  <a:pt x="84007" y="12332"/>
                  <a:pt x="85044" y="13042"/>
                </a:cubicBezTo>
                <a:cubicBezTo>
                  <a:pt x="86564" y="14062"/>
                  <a:pt x="88161" y="15340"/>
                  <a:pt x="89468" y="16805"/>
                </a:cubicBezTo>
                <a:lnTo>
                  <a:pt x="89468" y="16805"/>
                </a:lnTo>
                <a:cubicBezTo>
                  <a:pt x="89385" y="17284"/>
                  <a:pt x="89275" y="17777"/>
                  <a:pt x="89134" y="18285"/>
                </a:cubicBezTo>
                <a:cubicBezTo>
                  <a:pt x="88766" y="19679"/>
                  <a:pt x="88179" y="20974"/>
                  <a:pt x="87423" y="22179"/>
                </a:cubicBezTo>
                <a:lnTo>
                  <a:pt x="87423" y="22179"/>
                </a:lnTo>
                <a:cubicBezTo>
                  <a:pt x="87329" y="18104"/>
                  <a:pt x="84808" y="13997"/>
                  <a:pt x="81860" y="11048"/>
                </a:cubicBezTo>
                <a:close/>
                <a:moveTo>
                  <a:pt x="85882" y="25341"/>
                </a:moveTo>
                <a:cubicBezTo>
                  <a:pt x="83973" y="30471"/>
                  <a:pt x="77174" y="33359"/>
                  <a:pt x="72138" y="34994"/>
                </a:cubicBezTo>
                <a:cubicBezTo>
                  <a:pt x="71486" y="35214"/>
                  <a:pt x="70829" y="35426"/>
                  <a:pt x="70170" y="35631"/>
                </a:cubicBezTo>
                <a:lnTo>
                  <a:pt x="70170" y="35631"/>
                </a:lnTo>
                <a:cubicBezTo>
                  <a:pt x="75908" y="32996"/>
                  <a:pt x="81545" y="29884"/>
                  <a:pt x="85882" y="25341"/>
                </a:cubicBezTo>
                <a:close/>
                <a:moveTo>
                  <a:pt x="5271" y="24853"/>
                </a:moveTo>
                <a:lnTo>
                  <a:pt x="5271" y="24853"/>
                </a:lnTo>
                <a:cubicBezTo>
                  <a:pt x="3329" y="28413"/>
                  <a:pt x="3124" y="32283"/>
                  <a:pt x="6340" y="36146"/>
                </a:cubicBezTo>
                <a:cubicBezTo>
                  <a:pt x="6830" y="36744"/>
                  <a:pt x="7374" y="37297"/>
                  <a:pt x="7960" y="37811"/>
                </a:cubicBezTo>
                <a:lnTo>
                  <a:pt x="7960" y="37811"/>
                </a:lnTo>
                <a:cubicBezTo>
                  <a:pt x="3462" y="35852"/>
                  <a:pt x="1318" y="32730"/>
                  <a:pt x="3517" y="27907"/>
                </a:cubicBezTo>
                <a:cubicBezTo>
                  <a:pt x="3991" y="26825"/>
                  <a:pt x="4591" y="25811"/>
                  <a:pt x="5271" y="24853"/>
                </a:cubicBezTo>
                <a:close/>
                <a:moveTo>
                  <a:pt x="19484" y="13729"/>
                </a:moveTo>
                <a:cubicBezTo>
                  <a:pt x="16127" y="16051"/>
                  <a:pt x="13147" y="18982"/>
                  <a:pt x="11583" y="22722"/>
                </a:cubicBezTo>
                <a:cubicBezTo>
                  <a:pt x="9221" y="28310"/>
                  <a:pt x="11352" y="34879"/>
                  <a:pt x="16019" y="38624"/>
                </a:cubicBezTo>
                <a:cubicBezTo>
                  <a:pt x="16774" y="39218"/>
                  <a:pt x="17571" y="39748"/>
                  <a:pt x="18403" y="40222"/>
                </a:cubicBezTo>
                <a:lnTo>
                  <a:pt x="18403" y="40222"/>
                </a:lnTo>
                <a:cubicBezTo>
                  <a:pt x="15804" y="39934"/>
                  <a:pt x="13380" y="39517"/>
                  <a:pt x="11249" y="38940"/>
                </a:cubicBezTo>
                <a:lnTo>
                  <a:pt x="11249" y="38940"/>
                </a:lnTo>
                <a:cubicBezTo>
                  <a:pt x="10095" y="38161"/>
                  <a:pt x="9010" y="37290"/>
                  <a:pt x="8011" y="36319"/>
                </a:cubicBezTo>
                <a:cubicBezTo>
                  <a:pt x="3171" y="31652"/>
                  <a:pt x="5476" y="25890"/>
                  <a:pt x="9451" y="21569"/>
                </a:cubicBezTo>
                <a:cubicBezTo>
                  <a:pt x="12320" y="18467"/>
                  <a:pt x="15787" y="15906"/>
                  <a:pt x="19484" y="13729"/>
                </a:cubicBezTo>
                <a:close/>
                <a:moveTo>
                  <a:pt x="54697" y="4374"/>
                </a:moveTo>
                <a:cubicBezTo>
                  <a:pt x="57004" y="4374"/>
                  <a:pt x="59294" y="4622"/>
                  <a:pt x="61421" y="5321"/>
                </a:cubicBezTo>
                <a:cubicBezTo>
                  <a:pt x="61456" y="5335"/>
                  <a:pt x="61490" y="5341"/>
                  <a:pt x="61523" y="5341"/>
                </a:cubicBezTo>
                <a:cubicBezTo>
                  <a:pt x="61820" y="5341"/>
                  <a:pt x="62005" y="4839"/>
                  <a:pt x="61812" y="4519"/>
                </a:cubicBezTo>
                <a:lnTo>
                  <a:pt x="61812" y="4519"/>
                </a:lnTo>
                <a:cubicBezTo>
                  <a:pt x="66844" y="5191"/>
                  <a:pt x="71789" y="6447"/>
                  <a:pt x="76445" y="8390"/>
                </a:cubicBezTo>
                <a:lnTo>
                  <a:pt x="76445" y="8390"/>
                </a:lnTo>
                <a:cubicBezTo>
                  <a:pt x="80994" y="10909"/>
                  <a:pt x="84687" y="14681"/>
                  <a:pt x="86081" y="20014"/>
                </a:cubicBezTo>
                <a:cubicBezTo>
                  <a:pt x="86426" y="21368"/>
                  <a:pt x="86479" y="22614"/>
                  <a:pt x="86297" y="23762"/>
                </a:cubicBezTo>
                <a:lnTo>
                  <a:pt x="86297" y="23762"/>
                </a:lnTo>
                <a:cubicBezTo>
                  <a:pt x="82255" y="28830"/>
                  <a:pt x="75262" y="32180"/>
                  <a:pt x="69948" y="34706"/>
                </a:cubicBezTo>
                <a:cubicBezTo>
                  <a:pt x="68121" y="35570"/>
                  <a:pt x="66284" y="36411"/>
                  <a:pt x="64433" y="37215"/>
                </a:cubicBezTo>
                <a:lnTo>
                  <a:pt x="64433" y="37215"/>
                </a:lnTo>
                <a:cubicBezTo>
                  <a:pt x="62092" y="37786"/>
                  <a:pt x="59733" y="38272"/>
                  <a:pt x="57388" y="38681"/>
                </a:cubicBezTo>
                <a:cubicBezTo>
                  <a:pt x="53947" y="39259"/>
                  <a:pt x="41681" y="40767"/>
                  <a:pt x="29630" y="40767"/>
                </a:cubicBezTo>
                <a:cubicBezTo>
                  <a:pt x="27018" y="40767"/>
                  <a:pt x="24415" y="40696"/>
                  <a:pt x="21915" y="40530"/>
                </a:cubicBezTo>
                <a:lnTo>
                  <a:pt x="21915" y="40530"/>
                </a:lnTo>
                <a:cubicBezTo>
                  <a:pt x="21026" y="40173"/>
                  <a:pt x="20154" y="39770"/>
                  <a:pt x="19304" y="39315"/>
                </a:cubicBezTo>
                <a:cubicBezTo>
                  <a:pt x="12908" y="35973"/>
                  <a:pt x="9912" y="28310"/>
                  <a:pt x="13484" y="21857"/>
                </a:cubicBezTo>
                <a:cubicBezTo>
                  <a:pt x="16653" y="15923"/>
                  <a:pt x="23394" y="12351"/>
                  <a:pt x="29329" y="9873"/>
                </a:cubicBezTo>
                <a:cubicBezTo>
                  <a:pt x="34917" y="7511"/>
                  <a:pt x="40910" y="6013"/>
                  <a:pt x="46959" y="5033"/>
                </a:cubicBezTo>
                <a:cubicBezTo>
                  <a:pt x="49415" y="4696"/>
                  <a:pt x="52067" y="4374"/>
                  <a:pt x="54697" y="4374"/>
                </a:cubicBezTo>
                <a:close/>
                <a:moveTo>
                  <a:pt x="90154" y="17627"/>
                </a:moveTo>
                <a:cubicBezTo>
                  <a:pt x="92170" y="20224"/>
                  <a:pt x="93157" y="23323"/>
                  <a:pt x="91324" y="26582"/>
                </a:cubicBezTo>
                <a:cubicBezTo>
                  <a:pt x="89826" y="29232"/>
                  <a:pt x="87003" y="31076"/>
                  <a:pt x="84467" y="32574"/>
                </a:cubicBezTo>
                <a:cubicBezTo>
                  <a:pt x="82048" y="34072"/>
                  <a:pt x="79455" y="35397"/>
                  <a:pt x="76862" y="36549"/>
                </a:cubicBezTo>
                <a:cubicBezTo>
                  <a:pt x="68716" y="40099"/>
                  <a:pt x="59960" y="42247"/>
                  <a:pt x="51103" y="42993"/>
                </a:cubicBezTo>
                <a:lnTo>
                  <a:pt x="51103" y="42993"/>
                </a:lnTo>
                <a:cubicBezTo>
                  <a:pt x="55639" y="41696"/>
                  <a:pt x="60083" y="40009"/>
                  <a:pt x="64430" y="38149"/>
                </a:cubicBezTo>
                <a:lnTo>
                  <a:pt x="64430" y="38149"/>
                </a:lnTo>
                <a:cubicBezTo>
                  <a:pt x="65786" y="37823"/>
                  <a:pt x="67144" y="37480"/>
                  <a:pt x="68508" y="37126"/>
                </a:cubicBezTo>
                <a:cubicBezTo>
                  <a:pt x="74730" y="35455"/>
                  <a:pt x="82624" y="33150"/>
                  <a:pt x="86138" y="27158"/>
                </a:cubicBezTo>
                <a:cubicBezTo>
                  <a:pt x="86818" y="26007"/>
                  <a:pt x="87206" y="24809"/>
                  <a:pt x="87354" y="23596"/>
                </a:cubicBezTo>
                <a:lnTo>
                  <a:pt x="87354" y="23596"/>
                </a:lnTo>
                <a:cubicBezTo>
                  <a:pt x="88703" y="21777"/>
                  <a:pt x="89686" y="19732"/>
                  <a:pt x="90154" y="17627"/>
                </a:cubicBezTo>
                <a:close/>
                <a:moveTo>
                  <a:pt x="59509" y="39242"/>
                </a:moveTo>
                <a:lnTo>
                  <a:pt x="59509" y="39242"/>
                </a:lnTo>
                <a:cubicBezTo>
                  <a:pt x="55225" y="40901"/>
                  <a:pt x="50857" y="42297"/>
                  <a:pt x="46366" y="43258"/>
                </a:cubicBezTo>
                <a:lnTo>
                  <a:pt x="46366" y="43258"/>
                </a:lnTo>
                <a:cubicBezTo>
                  <a:pt x="45585" y="43280"/>
                  <a:pt x="44803" y="43291"/>
                  <a:pt x="44021" y="43291"/>
                </a:cubicBezTo>
                <a:cubicBezTo>
                  <a:pt x="38237" y="43291"/>
                  <a:pt x="32056" y="43291"/>
                  <a:pt x="26314" y="41915"/>
                </a:cubicBezTo>
                <a:lnTo>
                  <a:pt x="26314" y="41915"/>
                </a:lnTo>
                <a:cubicBezTo>
                  <a:pt x="27793" y="41971"/>
                  <a:pt x="29275" y="41997"/>
                  <a:pt x="30758" y="41997"/>
                </a:cubicBezTo>
                <a:cubicBezTo>
                  <a:pt x="38953" y="41997"/>
                  <a:pt x="47199" y="41191"/>
                  <a:pt x="55256" y="40006"/>
                </a:cubicBezTo>
                <a:cubicBezTo>
                  <a:pt x="56678" y="39785"/>
                  <a:pt x="58095" y="39528"/>
                  <a:pt x="59509" y="39242"/>
                </a:cubicBezTo>
                <a:close/>
                <a:moveTo>
                  <a:pt x="14276" y="40705"/>
                </a:moveTo>
                <a:cubicBezTo>
                  <a:pt x="16245" y="41067"/>
                  <a:pt x="18096" y="41289"/>
                  <a:pt x="19534" y="41447"/>
                </a:cubicBezTo>
                <a:cubicBezTo>
                  <a:pt x="20131" y="41508"/>
                  <a:pt x="20728" y="41564"/>
                  <a:pt x="21327" y="41614"/>
                </a:cubicBezTo>
                <a:lnTo>
                  <a:pt x="21327" y="41614"/>
                </a:lnTo>
                <a:cubicBezTo>
                  <a:pt x="26833" y="43787"/>
                  <a:pt x="33304" y="44127"/>
                  <a:pt x="38951" y="44212"/>
                </a:cubicBezTo>
                <a:cubicBezTo>
                  <a:pt x="39457" y="44227"/>
                  <a:pt x="39962" y="44239"/>
                  <a:pt x="40467" y="44247"/>
                </a:cubicBezTo>
                <a:lnTo>
                  <a:pt x="40467" y="44247"/>
                </a:lnTo>
                <a:cubicBezTo>
                  <a:pt x="40231" y="44275"/>
                  <a:pt x="39994" y="44302"/>
                  <a:pt x="39757" y="44328"/>
                </a:cubicBezTo>
                <a:cubicBezTo>
                  <a:pt x="37722" y="44553"/>
                  <a:pt x="35575" y="44679"/>
                  <a:pt x="33378" y="44679"/>
                </a:cubicBezTo>
                <a:cubicBezTo>
                  <a:pt x="26915" y="44679"/>
                  <a:pt x="20021" y="43587"/>
                  <a:pt x="14276" y="40705"/>
                </a:cubicBezTo>
                <a:close/>
                <a:moveTo>
                  <a:pt x="61579" y="1"/>
                </a:moveTo>
                <a:cubicBezTo>
                  <a:pt x="55890" y="1"/>
                  <a:pt x="50214" y="686"/>
                  <a:pt x="44655" y="1749"/>
                </a:cubicBezTo>
                <a:cubicBezTo>
                  <a:pt x="34341" y="3766"/>
                  <a:pt x="24201" y="7511"/>
                  <a:pt x="15501" y="13503"/>
                </a:cubicBezTo>
                <a:cubicBezTo>
                  <a:pt x="11583" y="16153"/>
                  <a:pt x="8068" y="19322"/>
                  <a:pt x="5188" y="23010"/>
                </a:cubicBezTo>
                <a:cubicBezTo>
                  <a:pt x="3690" y="24853"/>
                  <a:pt x="2307" y="26928"/>
                  <a:pt x="1673" y="29347"/>
                </a:cubicBezTo>
                <a:cubicBezTo>
                  <a:pt x="0" y="35480"/>
                  <a:pt x="5305" y="38448"/>
                  <a:pt x="10967" y="39967"/>
                </a:cubicBezTo>
                <a:lnTo>
                  <a:pt x="10967" y="39967"/>
                </a:lnTo>
                <a:cubicBezTo>
                  <a:pt x="12493" y="40879"/>
                  <a:pt x="14115" y="41639"/>
                  <a:pt x="15674" y="42311"/>
                </a:cubicBezTo>
                <a:cubicBezTo>
                  <a:pt x="21090" y="44616"/>
                  <a:pt x="27024" y="45538"/>
                  <a:pt x="32786" y="45595"/>
                </a:cubicBezTo>
                <a:cubicBezTo>
                  <a:pt x="33141" y="45603"/>
                  <a:pt x="33496" y="45606"/>
                  <a:pt x="33851" y="45606"/>
                </a:cubicBezTo>
                <a:cubicBezTo>
                  <a:pt x="38111" y="45606"/>
                  <a:pt x="42302" y="45078"/>
                  <a:pt x="46421" y="44177"/>
                </a:cubicBezTo>
                <a:lnTo>
                  <a:pt x="46421" y="44177"/>
                </a:lnTo>
                <a:cubicBezTo>
                  <a:pt x="53707" y="43884"/>
                  <a:pt x="60896" y="42804"/>
                  <a:pt x="67989" y="40698"/>
                </a:cubicBezTo>
                <a:cubicBezTo>
                  <a:pt x="73232" y="39200"/>
                  <a:pt x="78360" y="37010"/>
                  <a:pt x="83085" y="34360"/>
                </a:cubicBezTo>
                <a:cubicBezTo>
                  <a:pt x="87118" y="32113"/>
                  <a:pt x="91900" y="29175"/>
                  <a:pt x="93052" y="24335"/>
                </a:cubicBezTo>
                <a:cubicBezTo>
                  <a:pt x="93725" y="21347"/>
                  <a:pt x="92309" y="18575"/>
                  <a:pt x="90374" y="16332"/>
                </a:cubicBezTo>
                <a:lnTo>
                  <a:pt x="90374" y="16332"/>
                </a:lnTo>
                <a:cubicBezTo>
                  <a:pt x="90724" y="13366"/>
                  <a:pt x="90007" y="10351"/>
                  <a:pt x="87809" y="7741"/>
                </a:cubicBezTo>
                <a:cubicBezTo>
                  <a:pt x="83315" y="2441"/>
                  <a:pt x="75018" y="1116"/>
                  <a:pt x="68565" y="366"/>
                </a:cubicBezTo>
                <a:cubicBezTo>
                  <a:pt x="66239" y="115"/>
                  <a:pt x="63908" y="1"/>
                  <a:pt x="61579" y="1"/>
                </a:cubicBezTo>
                <a:close/>
              </a:path>
            </a:pathLst>
          </a:custGeom>
          <a:solidFill>
            <a:srgbClr val="A48EFC"/>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a:p>
        </p:txBody>
      </p:sp>
      <p:cxnSp>
        <p:nvCxnSpPr>
          <p:cNvPr id="9" name="Straight Connector 8">
            <a:extLst>
              <a:ext uri="{FF2B5EF4-FFF2-40B4-BE49-F238E27FC236}">
                <a16:creationId xmlns:a16="http://schemas.microsoft.com/office/drawing/2014/main" id="{AD48CD59-EC1C-9097-1B9F-78D54B1B933F}"/>
              </a:ext>
            </a:extLst>
          </p:cNvPr>
          <p:cNvCxnSpPr>
            <a:cxnSpLocks/>
          </p:cNvCxnSpPr>
          <p:nvPr/>
        </p:nvCxnSpPr>
        <p:spPr>
          <a:xfrm>
            <a:off x="3553005" y="4188184"/>
            <a:ext cx="561921" cy="0"/>
          </a:xfrm>
          <a:prstGeom prst="line">
            <a:avLst/>
          </a:prstGeom>
          <a:ln w="28575">
            <a:solidFill>
              <a:srgbClr val="C131F7"/>
            </a:solidFill>
          </a:ln>
        </p:spPr>
        <p:style>
          <a:lnRef idx="1">
            <a:schemeClr val="dk1"/>
          </a:lnRef>
          <a:fillRef idx="0">
            <a:schemeClr val="dk1"/>
          </a:fillRef>
          <a:effectRef idx="0">
            <a:schemeClr val="dk1"/>
          </a:effectRef>
          <a:fontRef idx="minor">
            <a:schemeClr val="tx1"/>
          </a:fontRef>
        </p:style>
      </p:cxnSp>
      <p:sp>
        <p:nvSpPr>
          <p:cNvPr id="11" name="TextBox 10">
            <a:extLst>
              <a:ext uri="{FF2B5EF4-FFF2-40B4-BE49-F238E27FC236}">
                <a16:creationId xmlns:a16="http://schemas.microsoft.com/office/drawing/2014/main" id="{84E3F643-A750-702F-F267-EB5BECA1D100}"/>
              </a:ext>
            </a:extLst>
          </p:cNvPr>
          <p:cNvSpPr txBox="1"/>
          <p:nvPr/>
        </p:nvSpPr>
        <p:spPr>
          <a:xfrm>
            <a:off x="4179967" y="3805350"/>
            <a:ext cx="278985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blipFill dpi="0" rotWithShape="1">
                  <a:blip r:embed="rId2">
                    <a:extLst>
                      <a:ext uri="{28A0092B-C50C-407E-A947-70E740481C1C}">
                        <a14:useLocalDpi xmlns:a14="http://schemas.microsoft.com/office/drawing/2010/main" val="0"/>
                      </a:ext>
                    </a:extLst>
                  </a:blip>
                  <a:srcRect/>
                  <a:stretch>
                    <a:fillRect/>
                  </a:stretch>
                </a:blipFill>
                <a:effectLst/>
                <a:uLnTx/>
                <a:uFillTx/>
                <a:latin typeface="Gaegu" pitchFamily="2" charset="0"/>
                <a:ea typeface="Gaegu" pitchFamily="2" charset="0"/>
              </a:rPr>
              <a:t>Alan Turing</a:t>
            </a:r>
          </a:p>
        </p:txBody>
      </p:sp>
      <p:pic>
        <p:nvPicPr>
          <p:cNvPr id="16" name="Picture 15">
            <a:extLst>
              <a:ext uri="{FF2B5EF4-FFF2-40B4-BE49-F238E27FC236}">
                <a16:creationId xmlns:a16="http://schemas.microsoft.com/office/drawing/2014/main" id="{E6294465-716C-447E-ACB6-90F69B31274A}"/>
              </a:ext>
            </a:extLst>
          </p:cNvPr>
          <p:cNvPicPr>
            <a:picLocks noChangeAspect="1"/>
          </p:cNvPicPr>
          <p:nvPr/>
        </p:nvPicPr>
        <p:blipFill>
          <a:blip r:embed="rId6">
            <a:extLst>
              <a:ext uri="{28A0092B-C50C-407E-A947-70E740481C1C}">
                <a14:useLocalDpi xmlns:a14="http://schemas.microsoft.com/office/drawing/2010/main" val="0"/>
              </a:ext>
            </a:extLst>
          </a:blip>
          <a:srcRect l="30868" r="30868"/>
          <a:stretch/>
        </p:blipFill>
        <p:spPr>
          <a:xfrm>
            <a:off x="7773783" y="1411439"/>
            <a:ext cx="2189795" cy="4292066"/>
          </a:xfrm>
          <a:prstGeom prst="roundRect">
            <a:avLst>
              <a:gd name="adj" fmla="val 50000"/>
            </a:avLst>
          </a:prstGeom>
        </p:spPr>
      </p:pic>
    </p:spTree>
    <p:extLst>
      <p:ext uri="{BB962C8B-B14F-4D97-AF65-F5344CB8AC3E}">
        <p14:creationId xmlns:p14="http://schemas.microsoft.com/office/powerpoint/2010/main" val="17506546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750" advTm="500">
        <p159:morph option="byObject"/>
      </p:transition>
    </mc:Choice>
    <mc:Fallback xmlns="">
      <p:transition spd="slow" advTm="500">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3868C293-B6B4-4A65-AAC0-9527ADCFA8D8}"/>
              </a:ext>
            </a:extLst>
          </p:cNvPr>
          <p:cNvPicPr>
            <a:picLocks noChangeAspect="1"/>
          </p:cNvPicPr>
          <p:nvPr/>
        </p:nvPicPr>
        <p:blipFill>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p:blipFill>
        <p:spPr>
          <a:xfrm>
            <a:off x="-6811623" y="-958782"/>
            <a:ext cx="14963735" cy="8420270"/>
          </a:xfrm>
          <a:prstGeom prst="roundRect">
            <a:avLst>
              <a:gd name="adj" fmla="val 50000"/>
            </a:avLst>
          </a:prstGeom>
        </p:spPr>
      </p:pic>
      <p:sp>
        <p:nvSpPr>
          <p:cNvPr id="24" name="Oval 23">
            <a:extLst>
              <a:ext uri="{FF2B5EF4-FFF2-40B4-BE49-F238E27FC236}">
                <a16:creationId xmlns:a16="http://schemas.microsoft.com/office/drawing/2014/main" id="{DB6F3B1A-9E08-44A2-95F2-9F2E21010EAF}"/>
              </a:ext>
            </a:extLst>
          </p:cNvPr>
          <p:cNvSpPr/>
          <p:nvPr/>
        </p:nvSpPr>
        <p:spPr>
          <a:xfrm>
            <a:off x="-1030890" y="-3909043"/>
            <a:ext cx="14687411" cy="15471777"/>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5" name="Picture 24">
            <a:extLst>
              <a:ext uri="{FF2B5EF4-FFF2-40B4-BE49-F238E27FC236}">
                <a16:creationId xmlns:a16="http://schemas.microsoft.com/office/drawing/2014/main" id="{885ED121-AF43-4016-82BF-BD7E88583A42}"/>
              </a:ext>
            </a:extLst>
          </p:cNvPr>
          <p:cNvPicPr>
            <a:picLocks noChangeAspect="1"/>
          </p:cNvPicPr>
          <p:nvPr/>
        </p:nvPicPr>
        <p:blipFill>
          <a:blip r:embed="rId4">
            <a:duotone>
              <a:prstClr val="black"/>
              <a:srgbClr val="7030A0">
                <a:tint val="45000"/>
                <a:satMod val="400000"/>
              </a:srgbClr>
            </a:duotone>
          </a:blip>
          <a:stretch>
            <a:fillRect/>
          </a:stretch>
        </p:blipFill>
        <p:spPr>
          <a:xfrm>
            <a:off x="5082857" y="3251353"/>
            <a:ext cx="452118" cy="801484"/>
          </a:xfrm>
          <a:prstGeom prst="rect">
            <a:avLst/>
          </a:prstGeom>
          <a:noFill/>
        </p:spPr>
      </p:pic>
      <p:sp>
        <p:nvSpPr>
          <p:cNvPr id="19" name="Rectangle: Rounded Corners 18">
            <a:extLst>
              <a:ext uri="{FF2B5EF4-FFF2-40B4-BE49-F238E27FC236}">
                <a16:creationId xmlns:a16="http://schemas.microsoft.com/office/drawing/2014/main" id="{C8B4D6BD-CA0E-4B65-89FA-CD74AD273D4F}"/>
              </a:ext>
            </a:extLst>
          </p:cNvPr>
          <p:cNvSpPr/>
          <p:nvPr/>
        </p:nvSpPr>
        <p:spPr>
          <a:xfrm rot="18000000">
            <a:off x="17041043" y="3080267"/>
            <a:ext cx="7167346" cy="7555465"/>
          </a:xfrm>
          <a:prstGeom prst="roundRect">
            <a:avLst>
              <a:gd name="adj" fmla="val 23523"/>
            </a:avLst>
          </a:prstGeom>
          <a:gradFill flip="none" rotWithShape="1">
            <a:gsLst>
              <a:gs pos="0">
                <a:srgbClr val="4595F3"/>
              </a:gs>
              <a:gs pos="50000">
                <a:srgbClr val="578EEC"/>
              </a:gs>
              <a:gs pos="100000">
                <a:srgbClr val="6D84E3"/>
              </a:gs>
            </a:gsLst>
            <a:lin ang="189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3" name="Group 42">
            <a:extLst>
              <a:ext uri="{FF2B5EF4-FFF2-40B4-BE49-F238E27FC236}">
                <a16:creationId xmlns:a16="http://schemas.microsoft.com/office/drawing/2014/main" id="{859E1149-CAD5-4625-A50C-126F16B96F07}"/>
              </a:ext>
            </a:extLst>
          </p:cNvPr>
          <p:cNvGrpSpPr/>
          <p:nvPr/>
        </p:nvGrpSpPr>
        <p:grpSpPr>
          <a:xfrm>
            <a:off x="8086265" y="-6654299"/>
            <a:ext cx="8211469" cy="7641093"/>
            <a:chOff x="-7359647" y="3481383"/>
            <a:chExt cx="8211469" cy="7641093"/>
          </a:xfrm>
        </p:grpSpPr>
        <p:sp>
          <p:nvSpPr>
            <p:cNvPr id="44" name="Freeform: Shape 43">
              <a:extLst>
                <a:ext uri="{FF2B5EF4-FFF2-40B4-BE49-F238E27FC236}">
                  <a16:creationId xmlns:a16="http://schemas.microsoft.com/office/drawing/2014/main" id="{E46F3F07-2EFE-41AA-A819-A761743030A6}"/>
                </a:ext>
              </a:extLst>
            </p:cNvPr>
            <p:cNvSpPr/>
            <p:nvPr/>
          </p:nvSpPr>
          <p:spPr>
            <a:xfrm rot="5400000">
              <a:off x="-7074459" y="3196195"/>
              <a:ext cx="7641093" cy="8211469"/>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5">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Freeform: Shape 44">
              <a:extLst>
                <a:ext uri="{FF2B5EF4-FFF2-40B4-BE49-F238E27FC236}">
                  <a16:creationId xmlns:a16="http://schemas.microsoft.com/office/drawing/2014/main" id="{5D8375F5-F96B-4277-9728-73021AF5DCF0}"/>
                </a:ext>
              </a:extLst>
            </p:cNvPr>
            <p:cNvSpPr/>
            <p:nvPr/>
          </p:nvSpPr>
          <p:spPr>
            <a:xfrm rot="5400000">
              <a:off x="-6543154" y="3693520"/>
              <a:ext cx="6715530" cy="7216817"/>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5">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5" name="Group 34">
            <a:extLst>
              <a:ext uri="{FF2B5EF4-FFF2-40B4-BE49-F238E27FC236}">
                <a16:creationId xmlns:a16="http://schemas.microsoft.com/office/drawing/2014/main" id="{4073FE01-11A7-4D56-B7E7-B5112049CE59}"/>
              </a:ext>
            </a:extLst>
          </p:cNvPr>
          <p:cNvGrpSpPr/>
          <p:nvPr/>
        </p:nvGrpSpPr>
        <p:grpSpPr>
          <a:xfrm>
            <a:off x="-7207247" y="3633783"/>
            <a:ext cx="8211469" cy="7641093"/>
            <a:chOff x="-7359647" y="3481383"/>
            <a:chExt cx="8211469" cy="7641093"/>
          </a:xfrm>
        </p:grpSpPr>
        <p:sp>
          <p:nvSpPr>
            <p:cNvPr id="40" name="Freeform: Shape 39">
              <a:extLst>
                <a:ext uri="{FF2B5EF4-FFF2-40B4-BE49-F238E27FC236}">
                  <a16:creationId xmlns:a16="http://schemas.microsoft.com/office/drawing/2014/main" id="{887983B8-5857-4B81-A809-B068BDC36A44}"/>
                </a:ext>
              </a:extLst>
            </p:cNvPr>
            <p:cNvSpPr/>
            <p:nvPr/>
          </p:nvSpPr>
          <p:spPr>
            <a:xfrm rot="5400000">
              <a:off x="-7074459" y="3196195"/>
              <a:ext cx="7641093" cy="8211469"/>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5">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Freeform: Shape 45">
              <a:extLst>
                <a:ext uri="{FF2B5EF4-FFF2-40B4-BE49-F238E27FC236}">
                  <a16:creationId xmlns:a16="http://schemas.microsoft.com/office/drawing/2014/main" id="{60C7C30C-F093-4528-9C12-0C343EE435F3}"/>
                </a:ext>
              </a:extLst>
            </p:cNvPr>
            <p:cNvSpPr/>
            <p:nvPr/>
          </p:nvSpPr>
          <p:spPr>
            <a:xfrm rot="5400000">
              <a:off x="-6543154" y="3693520"/>
              <a:ext cx="6715530" cy="7216817"/>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5">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4D8C8423-C3D4-BE69-409F-EA8256164876}"/>
              </a:ext>
            </a:extLst>
          </p:cNvPr>
          <p:cNvSpPr txBox="1"/>
          <p:nvPr/>
        </p:nvSpPr>
        <p:spPr>
          <a:xfrm>
            <a:off x="983166" y="2686961"/>
            <a:ext cx="5629853"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Challenges,</a:t>
            </a:r>
            <a:endParaRPr kumimoji="0" lang="en-US" sz="36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endParaRPr>
          </a:p>
        </p:txBody>
      </p:sp>
      <p:sp>
        <p:nvSpPr>
          <p:cNvPr id="3" name="TextBox 2">
            <a:extLst>
              <a:ext uri="{FF2B5EF4-FFF2-40B4-BE49-F238E27FC236}">
                <a16:creationId xmlns:a16="http://schemas.microsoft.com/office/drawing/2014/main" id="{D721C005-1D71-CEA0-F20F-B69FA911F7D5}"/>
              </a:ext>
            </a:extLst>
          </p:cNvPr>
          <p:cNvSpPr txBox="1"/>
          <p:nvPr/>
        </p:nvSpPr>
        <p:spPr>
          <a:xfrm>
            <a:off x="983166" y="3164013"/>
            <a:ext cx="5113972"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Opportunities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Project Timeline </a:t>
            </a:r>
            <a:endParaRPr kumimoji="0" lang="en-MY"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B5957828-5CDD-B968-4818-78129A68F427}"/>
              </a:ext>
            </a:extLst>
          </p:cNvPr>
          <p:cNvGrpSpPr/>
          <p:nvPr/>
        </p:nvGrpSpPr>
        <p:grpSpPr>
          <a:xfrm>
            <a:off x="5859153" y="2801133"/>
            <a:ext cx="1590617" cy="1802977"/>
            <a:chOff x="5781510" y="4010797"/>
            <a:chExt cx="1590617" cy="1802977"/>
          </a:xfrm>
        </p:grpSpPr>
        <p:sp>
          <p:nvSpPr>
            <p:cNvPr id="5" name="TextBox 4">
              <a:extLst>
                <a:ext uri="{FF2B5EF4-FFF2-40B4-BE49-F238E27FC236}">
                  <a16:creationId xmlns:a16="http://schemas.microsoft.com/office/drawing/2014/main" id="{DD6565A6-0FB1-FD6E-E60E-BDBBBA2D13C2}"/>
                </a:ext>
              </a:extLst>
            </p:cNvPr>
            <p:cNvSpPr txBox="1"/>
            <p:nvPr/>
          </p:nvSpPr>
          <p:spPr>
            <a:xfrm>
              <a:off x="5781510" y="5167443"/>
              <a:ext cx="150934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Some challenges may be encountered.</a:t>
              </a:r>
              <a:endParaRPr kumimoji="0" lang="en-MY" sz="16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endParaRPr>
            </a:p>
          </p:txBody>
        </p:sp>
        <p:sp>
          <p:nvSpPr>
            <p:cNvPr id="6" name="TextBox 5">
              <a:extLst>
                <a:ext uri="{FF2B5EF4-FFF2-40B4-BE49-F238E27FC236}">
                  <a16:creationId xmlns:a16="http://schemas.microsoft.com/office/drawing/2014/main" id="{04AD4ACC-AF08-6AAA-7224-ECDE78AB6AAF}"/>
                </a:ext>
              </a:extLst>
            </p:cNvPr>
            <p:cNvSpPr txBox="1"/>
            <p:nvPr/>
          </p:nvSpPr>
          <p:spPr>
            <a:xfrm>
              <a:off x="5781510" y="4010797"/>
              <a:ext cx="1590617"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CHALLENGES</a:t>
              </a:r>
              <a:endParaRPr kumimoji="0" lang="en-MY"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 name="Group 6">
            <a:extLst>
              <a:ext uri="{FF2B5EF4-FFF2-40B4-BE49-F238E27FC236}">
                <a16:creationId xmlns:a16="http://schemas.microsoft.com/office/drawing/2014/main" id="{519DC2A9-5A5F-E3BE-F878-C849478B058C}"/>
              </a:ext>
            </a:extLst>
          </p:cNvPr>
          <p:cNvGrpSpPr/>
          <p:nvPr/>
        </p:nvGrpSpPr>
        <p:grpSpPr>
          <a:xfrm>
            <a:off x="7733480" y="2331350"/>
            <a:ext cx="1787190" cy="2555178"/>
            <a:chOff x="5851767" y="4010797"/>
            <a:chExt cx="1787190" cy="2555178"/>
          </a:xfrm>
        </p:grpSpPr>
        <p:sp>
          <p:nvSpPr>
            <p:cNvPr id="8" name="TextBox 7">
              <a:extLst>
                <a:ext uri="{FF2B5EF4-FFF2-40B4-BE49-F238E27FC236}">
                  <a16:creationId xmlns:a16="http://schemas.microsoft.com/office/drawing/2014/main" id="{D1149678-B1E4-4378-E0A1-9FFD7CCFDB30}"/>
                </a:ext>
              </a:extLst>
            </p:cNvPr>
            <p:cNvSpPr txBox="1"/>
            <p:nvPr/>
          </p:nvSpPr>
          <p:spPr>
            <a:xfrm>
              <a:off x="5851767" y="4996315"/>
              <a:ext cx="1509342"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6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This project provided us to learn and find new technology practices.</a:t>
              </a:r>
            </a:p>
          </p:txBody>
        </p:sp>
        <p:sp>
          <p:nvSpPr>
            <p:cNvPr id="9" name="TextBox 8">
              <a:extLst>
                <a:ext uri="{FF2B5EF4-FFF2-40B4-BE49-F238E27FC236}">
                  <a16:creationId xmlns:a16="http://schemas.microsoft.com/office/drawing/2014/main" id="{6423469D-10B5-270D-FAF9-DE8EE6CC6697}"/>
                </a:ext>
              </a:extLst>
            </p:cNvPr>
            <p:cNvSpPr txBox="1"/>
            <p:nvPr/>
          </p:nvSpPr>
          <p:spPr>
            <a:xfrm>
              <a:off x="5851767" y="4010797"/>
              <a:ext cx="1787190"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Opportunities</a:t>
              </a:r>
              <a:endParaRPr kumimoji="0" lang="en-MY"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 name="Group 9">
            <a:extLst>
              <a:ext uri="{FF2B5EF4-FFF2-40B4-BE49-F238E27FC236}">
                <a16:creationId xmlns:a16="http://schemas.microsoft.com/office/drawing/2014/main" id="{849086A8-3264-413E-6CCC-C4D35DC0F04D}"/>
              </a:ext>
            </a:extLst>
          </p:cNvPr>
          <p:cNvGrpSpPr/>
          <p:nvPr/>
        </p:nvGrpSpPr>
        <p:grpSpPr>
          <a:xfrm>
            <a:off x="9607807" y="2788802"/>
            <a:ext cx="2070856" cy="2013636"/>
            <a:chOff x="5851767" y="4010796"/>
            <a:chExt cx="1795619" cy="1158081"/>
          </a:xfrm>
        </p:grpSpPr>
        <p:sp>
          <p:nvSpPr>
            <p:cNvPr id="11" name="TextBox 10">
              <a:extLst>
                <a:ext uri="{FF2B5EF4-FFF2-40B4-BE49-F238E27FC236}">
                  <a16:creationId xmlns:a16="http://schemas.microsoft.com/office/drawing/2014/main" id="{E2FD4FE1-7F1B-4DD0-EF19-D4DA518C3B45}"/>
                </a:ext>
              </a:extLst>
            </p:cNvPr>
            <p:cNvSpPr txBox="1"/>
            <p:nvPr/>
          </p:nvSpPr>
          <p:spPr>
            <a:xfrm>
              <a:off x="5857822" y="4657157"/>
              <a:ext cx="1509342" cy="5117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It describes the various stages which the project went through in the process.</a:t>
              </a:r>
              <a:endParaRPr kumimoji="0" lang="en-MY" sz="16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endParaRPr>
            </a:p>
          </p:txBody>
        </p:sp>
        <p:sp>
          <p:nvSpPr>
            <p:cNvPr id="12" name="TextBox 11">
              <a:extLst>
                <a:ext uri="{FF2B5EF4-FFF2-40B4-BE49-F238E27FC236}">
                  <a16:creationId xmlns:a16="http://schemas.microsoft.com/office/drawing/2014/main" id="{7B7B2517-C986-23DF-DB3A-CBF5B8255EA0}"/>
                </a:ext>
              </a:extLst>
            </p:cNvPr>
            <p:cNvSpPr txBox="1"/>
            <p:nvPr/>
          </p:nvSpPr>
          <p:spPr>
            <a:xfrm>
              <a:off x="5851767" y="4010796"/>
              <a:ext cx="1795619" cy="4629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Project Timeline</a:t>
              </a:r>
              <a:endParaRPr kumimoji="0" lang="en-MY"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38" name="Picture 37">
            <a:extLst>
              <a:ext uri="{FF2B5EF4-FFF2-40B4-BE49-F238E27FC236}">
                <a16:creationId xmlns:a16="http://schemas.microsoft.com/office/drawing/2014/main" id="{6E1A42A3-E3CA-4557-8FAF-9EBA48619630}"/>
              </a:ext>
            </a:extLst>
          </p:cNvPr>
          <p:cNvPicPr>
            <a:picLocks noChangeAspect="1"/>
          </p:cNvPicPr>
          <p:nvPr/>
        </p:nvPicPr>
        <p:blipFill>
          <a:blip r:embed="rId6">
            <a:extLst>
              <a:ext uri="{28A0092B-C50C-407E-A947-70E740481C1C}">
                <a14:useLocalDpi xmlns:a14="http://schemas.microsoft.com/office/drawing/2010/main" val="0"/>
              </a:ext>
            </a:extLst>
          </a:blip>
          <a:srcRect l="30868" r="30868"/>
          <a:stretch/>
        </p:blipFill>
        <p:spPr>
          <a:xfrm>
            <a:off x="5718561" y="2015109"/>
            <a:ext cx="1653566" cy="3241041"/>
          </a:xfrm>
          <a:prstGeom prst="roundRect">
            <a:avLst>
              <a:gd name="adj" fmla="val 50000"/>
            </a:avLst>
          </a:prstGeom>
        </p:spPr>
      </p:pic>
      <p:pic>
        <p:nvPicPr>
          <p:cNvPr id="18" name="Picture 17">
            <a:extLst>
              <a:ext uri="{FF2B5EF4-FFF2-40B4-BE49-F238E27FC236}">
                <a16:creationId xmlns:a16="http://schemas.microsoft.com/office/drawing/2014/main" id="{0272CDB8-FF82-4C46-A52F-04D290D864AE}"/>
              </a:ext>
            </a:extLst>
          </p:cNvPr>
          <p:cNvPicPr>
            <a:picLocks noChangeAspect="1"/>
          </p:cNvPicPr>
          <p:nvPr/>
        </p:nvPicPr>
        <p:blipFill rotWithShape="1">
          <a:blip r:embed="rId7">
            <a:extLst>
              <a:ext uri="{28A0092B-C50C-407E-A947-70E740481C1C}">
                <a14:useLocalDpi xmlns:a14="http://schemas.microsoft.com/office/drawing/2010/main" val="0"/>
              </a:ext>
            </a:extLst>
          </a:blip>
          <a:srcRect l="40574" r="21162"/>
          <a:stretch/>
        </p:blipFill>
        <p:spPr>
          <a:xfrm>
            <a:off x="7727003" y="2189516"/>
            <a:ext cx="1576715" cy="3090411"/>
          </a:xfrm>
          <a:prstGeom prst="roundRect">
            <a:avLst>
              <a:gd name="adj" fmla="val 50000"/>
            </a:avLst>
          </a:prstGeom>
        </p:spPr>
      </p:pic>
      <p:pic>
        <p:nvPicPr>
          <p:cNvPr id="23" name="Picture 22">
            <a:extLst>
              <a:ext uri="{FF2B5EF4-FFF2-40B4-BE49-F238E27FC236}">
                <a16:creationId xmlns:a16="http://schemas.microsoft.com/office/drawing/2014/main" id="{D131EC4A-C30A-4127-B9D2-B781D849E55C}"/>
              </a:ext>
            </a:extLst>
          </p:cNvPr>
          <p:cNvPicPr>
            <a:picLocks noChangeAspect="1"/>
          </p:cNvPicPr>
          <p:nvPr/>
        </p:nvPicPr>
        <p:blipFill rotWithShape="1">
          <a:blip r:embed="rId8">
            <a:extLst>
              <a:ext uri="{28A0092B-C50C-407E-A947-70E740481C1C}">
                <a14:useLocalDpi xmlns:a14="http://schemas.microsoft.com/office/drawing/2010/main" val="0"/>
              </a:ext>
            </a:extLst>
          </a:blip>
          <a:srcRect l="26019" r="35717"/>
          <a:stretch/>
        </p:blipFill>
        <p:spPr>
          <a:xfrm>
            <a:off x="9658594" y="2168905"/>
            <a:ext cx="1576715" cy="3090411"/>
          </a:xfrm>
          <a:prstGeom prst="roundRect">
            <a:avLst>
              <a:gd name="adj" fmla="val 50000"/>
            </a:avLst>
          </a:prstGeom>
        </p:spPr>
      </p:pic>
      <p:sp>
        <p:nvSpPr>
          <p:cNvPr id="13" name="TextBox 12">
            <a:extLst>
              <a:ext uri="{FF2B5EF4-FFF2-40B4-BE49-F238E27FC236}">
                <a16:creationId xmlns:a16="http://schemas.microsoft.com/office/drawing/2014/main" id="{A31856D7-C2B8-1E49-0CC8-DE01BA21DD3E}"/>
              </a:ext>
            </a:extLst>
          </p:cNvPr>
          <p:cNvSpPr txBox="1"/>
          <p:nvPr/>
        </p:nvSpPr>
        <p:spPr>
          <a:xfrm>
            <a:off x="590531" y="38012"/>
            <a:ext cx="1153039"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RELAX</a:t>
            </a:r>
            <a:endParaRPr kumimoji="0" lang="en-MY" sz="600" b="0"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60C0A0B6-BEEA-F40D-FEF7-C0C8DF5AF02D}"/>
              </a:ext>
            </a:extLst>
          </p:cNvPr>
          <p:cNvSpPr txBox="1"/>
          <p:nvPr/>
        </p:nvSpPr>
        <p:spPr>
          <a:xfrm>
            <a:off x="1809825" y="132384"/>
            <a:ext cx="152520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Challenges</a:t>
            </a:r>
            <a:endParaRPr kumimoji="0" lang="en-MY" sz="2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BF167D3E-81A4-AF4B-25C5-A0EEAEEE51D7}"/>
              </a:ext>
            </a:extLst>
          </p:cNvPr>
          <p:cNvSpPr txBox="1"/>
          <p:nvPr/>
        </p:nvSpPr>
        <p:spPr>
          <a:xfrm>
            <a:off x="3040491" y="138893"/>
            <a:ext cx="159259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Enhancements </a:t>
            </a:r>
            <a:endParaRPr kumimoji="0" lang="en-MY" sz="2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CD4E70C2-4F31-B58A-54AF-A2B4177160E4}"/>
              </a:ext>
            </a:extLst>
          </p:cNvPr>
          <p:cNvSpPr txBox="1"/>
          <p:nvPr/>
        </p:nvSpPr>
        <p:spPr>
          <a:xfrm>
            <a:off x="4653545" y="121771"/>
            <a:ext cx="206162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Project Timeline </a:t>
            </a:r>
            <a:endParaRPr kumimoji="0" lang="en-MY" sz="2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alibri" panose="020F0502020204030204"/>
              <a:ea typeface="+mn-ea"/>
              <a:cs typeface="+mn-cs"/>
            </a:endParaRPr>
          </a:p>
        </p:txBody>
      </p:sp>
    </p:spTree>
    <p:extLst>
      <p:ext uri="{BB962C8B-B14F-4D97-AF65-F5344CB8AC3E}">
        <p14:creationId xmlns:p14="http://schemas.microsoft.com/office/powerpoint/2010/main" val="1437283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750" advTm="500">
        <p159:morph option="byObject"/>
      </p:transition>
    </mc:Choice>
    <mc:Fallback xmlns="">
      <p:transition spd="slow" advTm="500">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A1E5AA0-6676-4BE1-B165-7644F654528E}"/>
              </a:ext>
            </a:extLst>
          </p:cNvPr>
          <p:cNvPicPr>
            <a:picLocks noChangeAspect="1"/>
          </p:cNvPicPr>
          <p:nvPr/>
        </p:nvPicPr>
        <p:blipFill>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p:blipFill>
        <p:spPr>
          <a:xfrm>
            <a:off x="-2109726" y="-958782"/>
            <a:ext cx="14963735" cy="8420270"/>
          </a:xfrm>
          <a:prstGeom prst="roundRect">
            <a:avLst>
              <a:gd name="adj" fmla="val 50000"/>
            </a:avLst>
          </a:prstGeom>
        </p:spPr>
      </p:pic>
      <p:sp>
        <p:nvSpPr>
          <p:cNvPr id="51" name="TextBox 50">
            <a:extLst>
              <a:ext uri="{FF2B5EF4-FFF2-40B4-BE49-F238E27FC236}">
                <a16:creationId xmlns:a16="http://schemas.microsoft.com/office/drawing/2014/main" id="{E000D8DC-62ED-4394-8EF2-1F30DB19D7CE}"/>
              </a:ext>
            </a:extLst>
          </p:cNvPr>
          <p:cNvSpPr txBox="1"/>
          <p:nvPr/>
        </p:nvSpPr>
        <p:spPr>
          <a:xfrm>
            <a:off x="6279019" y="1752302"/>
            <a:ext cx="3178871"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STYLE</a:t>
            </a:r>
            <a:endParaRPr kumimoji="0" lang="en-US" sz="8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52" name="TextBox 51">
            <a:extLst>
              <a:ext uri="{FF2B5EF4-FFF2-40B4-BE49-F238E27FC236}">
                <a16:creationId xmlns:a16="http://schemas.microsoft.com/office/drawing/2014/main" id="{A6AF5FAE-263F-4CB4-AE9F-EC4339FDC82F}"/>
              </a:ext>
            </a:extLst>
          </p:cNvPr>
          <p:cNvSpPr txBox="1"/>
          <p:nvPr/>
        </p:nvSpPr>
        <p:spPr>
          <a:xfrm>
            <a:off x="8939159" y="2692553"/>
            <a:ext cx="3655960"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dirty="0">
                <a:ln>
                  <a:solidFill>
                    <a:prstClr val="white"/>
                  </a:solidFill>
                </a:ln>
                <a:noFill/>
                <a:effectLst/>
                <a:uLnTx/>
                <a:uFillTx/>
                <a:latin typeface="Century Gothic" panose="020B0502020202020204" pitchFamily="34" charset="0"/>
                <a:ea typeface="+mn-ea"/>
                <a:cs typeface="+mn-cs"/>
              </a:rPr>
              <a:t>OF</a:t>
            </a:r>
            <a:endParaRPr kumimoji="0" lang="en-MY" sz="2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3" name="TextBox 52">
            <a:extLst>
              <a:ext uri="{FF2B5EF4-FFF2-40B4-BE49-F238E27FC236}">
                <a16:creationId xmlns:a16="http://schemas.microsoft.com/office/drawing/2014/main" id="{298D5483-1AF2-4347-A820-E8ADE022D77B}"/>
              </a:ext>
            </a:extLst>
          </p:cNvPr>
          <p:cNvSpPr txBox="1"/>
          <p:nvPr/>
        </p:nvSpPr>
        <p:spPr>
          <a:xfrm>
            <a:off x="10826788" y="3227856"/>
            <a:ext cx="4267680" cy="2215991"/>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800" b="1" i="0" u="none" strike="noStrike" kern="1200" cap="none" spc="0" normalizeH="0" baseline="0" noProof="0" dirty="0">
                <a:ln>
                  <a:noFill/>
                </a:ln>
                <a:solidFill>
                  <a:prstClr val="white"/>
                </a:solidFill>
                <a:effectLst/>
                <a:uLnTx/>
                <a:uFillTx/>
                <a:latin typeface="Delighty" panose="02000600000000000000" pitchFamily="2" charset="0"/>
                <a:ea typeface="+mn-ea"/>
                <a:cs typeface="+mn-cs"/>
              </a:rPr>
              <a:t>Tey</a:t>
            </a:r>
            <a:r>
              <a:rPr kumimoji="0" lang="en-US" sz="13800" b="1" i="0" u="none" strike="noStrike" kern="1200" cap="none" spc="0" normalizeH="0" baseline="0" noProof="0" dirty="0">
                <a:ln>
                  <a:solidFill>
                    <a:prstClr val="white"/>
                  </a:solidFill>
                </a:ln>
                <a:noFill/>
                <a:effectLst/>
                <a:uLnTx/>
                <a:uFillTx/>
                <a:latin typeface="Delighty" panose="02000600000000000000" pitchFamily="2" charset="0"/>
                <a:ea typeface="+mn-ea"/>
                <a:cs typeface="+mn-cs"/>
              </a:rPr>
              <a:t>V</a:t>
            </a:r>
            <a:r>
              <a:rPr kumimoji="0" lang="en-US" sz="13800" b="1" i="0" u="none" strike="noStrike" kern="1200" cap="none" spc="0" normalizeH="0" baseline="0" noProof="0" dirty="0">
                <a:ln>
                  <a:noFill/>
                </a:ln>
                <a:solidFill>
                  <a:prstClr val="white"/>
                </a:solidFill>
                <a:effectLst/>
                <a:uLnTx/>
                <a:uFillTx/>
                <a:latin typeface="Delighty" panose="02000600000000000000" pitchFamily="2" charset="0"/>
                <a:ea typeface="+mn-ea"/>
                <a:cs typeface="+mn-cs"/>
              </a:rPr>
              <a:t>AT</a:t>
            </a:r>
            <a:endParaRPr kumimoji="0" lang="en-MY" sz="3600" b="0" i="0" u="none" strike="noStrike" kern="1200" cap="none" spc="0" normalizeH="0" baseline="0" noProof="0" dirty="0">
              <a:ln>
                <a:noFill/>
              </a:ln>
              <a:solidFill>
                <a:prstClr val="white"/>
              </a:solidFill>
              <a:effectLst/>
              <a:uLnTx/>
              <a:uFillTx/>
              <a:latin typeface="Delighty" panose="02000600000000000000" pitchFamily="2" charset="0"/>
              <a:ea typeface="+mn-ea"/>
              <a:cs typeface="+mn-cs"/>
            </a:endParaRPr>
          </a:p>
        </p:txBody>
      </p:sp>
      <p:sp>
        <p:nvSpPr>
          <p:cNvPr id="24" name="Oval 23">
            <a:extLst>
              <a:ext uri="{FF2B5EF4-FFF2-40B4-BE49-F238E27FC236}">
                <a16:creationId xmlns:a16="http://schemas.microsoft.com/office/drawing/2014/main" id="{DB6F3B1A-9E08-44A2-95F2-9F2E21010EAF}"/>
              </a:ext>
            </a:extLst>
          </p:cNvPr>
          <p:cNvSpPr/>
          <p:nvPr/>
        </p:nvSpPr>
        <p:spPr>
          <a:xfrm>
            <a:off x="4737640" y="-4083794"/>
            <a:ext cx="14687411" cy="15471777"/>
          </a:xfrm>
          <a:prstGeom prst="ellipse">
            <a:avLst/>
          </a:prstGeom>
          <a:solidFill>
            <a:schemeClr val="tx1">
              <a:lumMod val="85000"/>
              <a:lumOff val="15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5" name="Picture 24">
            <a:extLst>
              <a:ext uri="{FF2B5EF4-FFF2-40B4-BE49-F238E27FC236}">
                <a16:creationId xmlns:a16="http://schemas.microsoft.com/office/drawing/2014/main" id="{885ED121-AF43-4016-82BF-BD7E88583A42}"/>
              </a:ext>
            </a:extLst>
          </p:cNvPr>
          <p:cNvPicPr>
            <a:picLocks noChangeAspect="1"/>
          </p:cNvPicPr>
          <p:nvPr/>
        </p:nvPicPr>
        <p:blipFill>
          <a:blip r:embed="rId4">
            <a:duotone>
              <a:prstClr val="black"/>
              <a:srgbClr val="7030A0">
                <a:tint val="45000"/>
                <a:satMod val="400000"/>
              </a:srgbClr>
            </a:duotone>
          </a:blip>
          <a:stretch>
            <a:fillRect/>
          </a:stretch>
        </p:blipFill>
        <p:spPr>
          <a:xfrm>
            <a:off x="4887533" y="3251353"/>
            <a:ext cx="452118" cy="801484"/>
          </a:xfrm>
          <a:prstGeom prst="rect">
            <a:avLst/>
          </a:prstGeom>
          <a:noFill/>
        </p:spPr>
      </p:pic>
      <p:pic>
        <p:nvPicPr>
          <p:cNvPr id="38" name="Picture 37">
            <a:extLst>
              <a:ext uri="{FF2B5EF4-FFF2-40B4-BE49-F238E27FC236}">
                <a16:creationId xmlns:a16="http://schemas.microsoft.com/office/drawing/2014/main" id="{6E1A42A3-E3CA-4557-8FAF-9EBA48619630}"/>
              </a:ext>
            </a:extLst>
          </p:cNvPr>
          <p:cNvPicPr>
            <a:picLocks noChangeAspect="1"/>
          </p:cNvPicPr>
          <p:nvPr/>
        </p:nvPicPr>
        <p:blipFill rotWithShape="1">
          <a:blip r:embed="rId5">
            <a:extLst>
              <a:ext uri="{28A0092B-C50C-407E-A947-70E740481C1C}">
                <a14:useLocalDpi xmlns:a14="http://schemas.microsoft.com/office/drawing/2010/main" val="0"/>
              </a:ext>
            </a:extLst>
          </a:blip>
          <a:srcRect l="35495" r="35732" b="24805"/>
          <a:stretch/>
        </p:blipFill>
        <p:spPr>
          <a:xfrm>
            <a:off x="5728040" y="785972"/>
            <a:ext cx="1576715" cy="3090411"/>
          </a:xfrm>
          <a:prstGeom prst="roundRect">
            <a:avLst>
              <a:gd name="adj" fmla="val 50000"/>
            </a:avLst>
          </a:prstGeom>
        </p:spPr>
      </p:pic>
      <p:grpSp>
        <p:nvGrpSpPr>
          <p:cNvPr id="39" name="Group 38">
            <a:extLst>
              <a:ext uri="{FF2B5EF4-FFF2-40B4-BE49-F238E27FC236}">
                <a16:creationId xmlns:a16="http://schemas.microsoft.com/office/drawing/2014/main" id="{A35B98E6-AAE7-4119-B0B4-D9B54A590EE0}"/>
              </a:ext>
            </a:extLst>
          </p:cNvPr>
          <p:cNvGrpSpPr/>
          <p:nvPr/>
        </p:nvGrpSpPr>
        <p:grpSpPr>
          <a:xfrm rot="14757566">
            <a:off x="-6629162" y="3425843"/>
            <a:ext cx="8211469" cy="7641093"/>
            <a:chOff x="-7359647" y="3481383"/>
            <a:chExt cx="8211469" cy="7641093"/>
          </a:xfrm>
        </p:grpSpPr>
        <p:sp>
          <p:nvSpPr>
            <p:cNvPr id="41" name="Freeform: Shape 40">
              <a:extLst>
                <a:ext uri="{FF2B5EF4-FFF2-40B4-BE49-F238E27FC236}">
                  <a16:creationId xmlns:a16="http://schemas.microsoft.com/office/drawing/2014/main" id="{18582D4E-C601-475F-BD22-603D7BEBD33E}"/>
                </a:ext>
              </a:extLst>
            </p:cNvPr>
            <p:cNvSpPr/>
            <p:nvPr/>
          </p:nvSpPr>
          <p:spPr>
            <a:xfrm rot="5400000">
              <a:off x="-7074459" y="3196195"/>
              <a:ext cx="7641093" cy="8211469"/>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6">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419547D5-BAE5-4EB5-8BCA-89F65EACAF6E}"/>
                </a:ext>
              </a:extLst>
            </p:cNvPr>
            <p:cNvSpPr/>
            <p:nvPr/>
          </p:nvSpPr>
          <p:spPr>
            <a:xfrm rot="5400000">
              <a:off x="-6543154" y="3693520"/>
              <a:ext cx="6715530" cy="7216817"/>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6">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40" name="Group 39">
            <a:extLst>
              <a:ext uri="{FF2B5EF4-FFF2-40B4-BE49-F238E27FC236}">
                <a16:creationId xmlns:a16="http://schemas.microsoft.com/office/drawing/2014/main" id="{BF678BD9-FFB5-4EB3-B165-3ED55E67136D}"/>
              </a:ext>
            </a:extLst>
          </p:cNvPr>
          <p:cNvGrpSpPr/>
          <p:nvPr/>
        </p:nvGrpSpPr>
        <p:grpSpPr>
          <a:xfrm rot="14757566">
            <a:off x="8230662" y="-7130197"/>
            <a:ext cx="8211469" cy="7641093"/>
            <a:chOff x="-7359647" y="3481383"/>
            <a:chExt cx="8211469" cy="7641093"/>
          </a:xfrm>
        </p:grpSpPr>
        <p:sp>
          <p:nvSpPr>
            <p:cNvPr id="43" name="Freeform: Shape 42">
              <a:extLst>
                <a:ext uri="{FF2B5EF4-FFF2-40B4-BE49-F238E27FC236}">
                  <a16:creationId xmlns:a16="http://schemas.microsoft.com/office/drawing/2014/main" id="{37689ACE-1133-4F15-AC23-27FDC89E68CF}"/>
                </a:ext>
              </a:extLst>
            </p:cNvPr>
            <p:cNvSpPr/>
            <p:nvPr/>
          </p:nvSpPr>
          <p:spPr>
            <a:xfrm rot="5400000">
              <a:off x="-7074459" y="3196195"/>
              <a:ext cx="7641093" cy="8211469"/>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6">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Freeform: Shape 43">
              <a:extLst>
                <a:ext uri="{FF2B5EF4-FFF2-40B4-BE49-F238E27FC236}">
                  <a16:creationId xmlns:a16="http://schemas.microsoft.com/office/drawing/2014/main" id="{6575DA55-C2D9-4889-A2EF-D11388D571F3}"/>
                </a:ext>
              </a:extLst>
            </p:cNvPr>
            <p:cNvSpPr/>
            <p:nvPr/>
          </p:nvSpPr>
          <p:spPr>
            <a:xfrm rot="5400000">
              <a:off x="-6543154" y="3693520"/>
              <a:ext cx="6715530" cy="7216817"/>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6">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 name="TextBox 2">
            <a:extLst>
              <a:ext uri="{FF2B5EF4-FFF2-40B4-BE49-F238E27FC236}">
                <a16:creationId xmlns:a16="http://schemas.microsoft.com/office/drawing/2014/main" id="{C33D613B-0074-720B-125E-2C043BA526FE}"/>
              </a:ext>
            </a:extLst>
          </p:cNvPr>
          <p:cNvSpPr txBox="1"/>
          <p:nvPr/>
        </p:nvSpPr>
        <p:spPr>
          <a:xfrm>
            <a:off x="894668" y="2204760"/>
            <a:ext cx="402454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HALLENGES</a:t>
            </a:r>
            <a:endParaRPr kumimoji="0" lang="en-US" sz="5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4" name="TextBox 3">
            <a:extLst>
              <a:ext uri="{FF2B5EF4-FFF2-40B4-BE49-F238E27FC236}">
                <a16:creationId xmlns:a16="http://schemas.microsoft.com/office/drawing/2014/main" id="{9B1ED9EF-612A-DBD2-363F-30720BB9FB08}"/>
              </a:ext>
            </a:extLst>
          </p:cNvPr>
          <p:cNvSpPr txBox="1"/>
          <p:nvPr/>
        </p:nvSpPr>
        <p:spPr>
          <a:xfrm>
            <a:off x="944194" y="4496507"/>
            <a:ext cx="3793446" cy="1569660"/>
          </a:xfrm>
          <a:prstGeom prst="rect">
            <a:avLst/>
          </a:prstGeom>
          <a:noFill/>
        </p:spPr>
        <p:txBody>
          <a:bodyPr wrap="square" rtlCol="0">
            <a:spAutoFit/>
          </a:bodyPr>
          <a:lstStyle/>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prstClr val="white">
                    <a:lumMod val="95000"/>
                  </a:prstClr>
                </a:solidFill>
                <a:effectLst/>
                <a:uLnTx/>
                <a:uFillTx/>
                <a:latin typeface="Lucida Handwriting" panose="03010101010101010101" pitchFamily="66" charset="0"/>
                <a:ea typeface="+mn-ea"/>
                <a:cs typeface="+mn-cs"/>
              </a:rPr>
              <a:t>Scalability</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prstClr val="white">
                    <a:lumMod val="95000"/>
                  </a:prstClr>
                </a:solidFill>
                <a:effectLst/>
                <a:uLnTx/>
                <a:uFillTx/>
                <a:latin typeface="Lucida Handwriting" panose="03010101010101010101" pitchFamily="66" charset="0"/>
                <a:ea typeface="+mn-ea"/>
                <a:cs typeface="+mn-cs"/>
              </a:rPr>
              <a:t> Security</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prstClr val="white">
                    <a:lumMod val="95000"/>
                  </a:prstClr>
                </a:solidFill>
                <a:effectLst/>
                <a:uLnTx/>
                <a:uFillTx/>
                <a:latin typeface="Lucida Handwriting" panose="03010101010101010101" pitchFamily="66" charset="0"/>
                <a:ea typeface="+mn-ea"/>
                <a:cs typeface="+mn-cs"/>
              </a:rPr>
              <a:t> Performance</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prstClr val="white">
                    <a:lumMod val="95000"/>
                  </a:prstClr>
                </a:solidFill>
                <a:effectLst/>
                <a:uLnTx/>
                <a:uFillTx/>
                <a:latin typeface="Lucida Handwriting" panose="03010101010101010101" pitchFamily="66" charset="0"/>
                <a:ea typeface="+mn-ea"/>
                <a:cs typeface="+mn-cs"/>
              </a:rPr>
              <a:t> User experience </a:t>
            </a:r>
          </a:p>
        </p:txBody>
      </p:sp>
      <p:sp>
        <p:nvSpPr>
          <p:cNvPr id="6" name="TextBox 5">
            <a:extLst>
              <a:ext uri="{FF2B5EF4-FFF2-40B4-BE49-F238E27FC236}">
                <a16:creationId xmlns:a16="http://schemas.microsoft.com/office/drawing/2014/main" id="{CEA4CC3C-CA5D-C13E-165E-1F05C07BB28F}"/>
              </a:ext>
            </a:extLst>
          </p:cNvPr>
          <p:cNvSpPr txBox="1"/>
          <p:nvPr/>
        </p:nvSpPr>
        <p:spPr>
          <a:xfrm>
            <a:off x="894668" y="2785188"/>
            <a:ext cx="365596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solidFill>
                    <a:prstClr val="white"/>
                  </a:solidFill>
                </a:ln>
                <a:noFill/>
                <a:effectLst/>
                <a:uLnTx/>
                <a:uFillTx/>
                <a:latin typeface="Century Gothic" panose="020B0502020202020204" pitchFamily="34" charset="0"/>
                <a:ea typeface="+mn-ea"/>
                <a:cs typeface="+mn-cs"/>
              </a:rPr>
              <a:t>IN THE</a:t>
            </a:r>
            <a:endParaRPr kumimoji="0" lang="en-MY"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AE061C20-A63B-7705-D4FC-706694A68201}"/>
              </a:ext>
            </a:extLst>
          </p:cNvPr>
          <p:cNvSpPr txBox="1"/>
          <p:nvPr/>
        </p:nvSpPr>
        <p:spPr>
          <a:xfrm>
            <a:off x="894669" y="3408237"/>
            <a:ext cx="318431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PROJECT</a:t>
            </a:r>
            <a:endParaRPr kumimoji="0" lang="en-MY"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C6DF77AB-006D-CE74-6AA1-2606B844BDF2}"/>
              </a:ext>
            </a:extLst>
          </p:cNvPr>
          <p:cNvGrpSpPr/>
          <p:nvPr/>
        </p:nvGrpSpPr>
        <p:grpSpPr>
          <a:xfrm>
            <a:off x="5718774" y="4024321"/>
            <a:ext cx="1590617" cy="1802977"/>
            <a:chOff x="5781510" y="4010797"/>
            <a:chExt cx="1590617" cy="1802977"/>
          </a:xfrm>
        </p:grpSpPr>
        <p:sp>
          <p:nvSpPr>
            <p:cNvPr id="9" name="TextBox 8">
              <a:extLst>
                <a:ext uri="{FF2B5EF4-FFF2-40B4-BE49-F238E27FC236}">
                  <a16:creationId xmlns:a16="http://schemas.microsoft.com/office/drawing/2014/main" id="{27EBDE3A-E880-3126-56D7-45816B95924C}"/>
                </a:ext>
              </a:extLst>
            </p:cNvPr>
            <p:cNvSpPr txBox="1"/>
            <p:nvPr/>
          </p:nvSpPr>
          <p:spPr>
            <a:xfrm>
              <a:off x="5781510" y="5167443"/>
              <a:ext cx="150934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Some challenges may be encountered.</a:t>
              </a:r>
              <a:endParaRPr kumimoji="0" lang="en-MY" sz="16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endParaRPr>
            </a:p>
          </p:txBody>
        </p:sp>
        <p:sp>
          <p:nvSpPr>
            <p:cNvPr id="10" name="TextBox 9">
              <a:extLst>
                <a:ext uri="{FF2B5EF4-FFF2-40B4-BE49-F238E27FC236}">
                  <a16:creationId xmlns:a16="http://schemas.microsoft.com/office/drawing/2014/main" id="{9D0DBF06-6C47-8919-BAFD-602F6A358F8E}"/>
                </a:ext>
              </a:extLst>
            </p:cNvPr>
            <p:cNvSpPr txBox="1"/>
            <p:nvPr/>
          </p:nvSpPr>
          <p:spPr>
            <a:xfrm>
              <a:off x="5781510" y="4010797"/>
              <a:ext cx="1590617"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blipFill dpi="0" rotWithShape="1">
                    <a:blip r:embed="rId6">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CHALLENGES</a:t>
              </a:r>
              <a:endParaRPr kumimoji="0" lang="en-MY"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1" name="Group 10">
            <a:extLst>
              <a:ext uri="{FF2B5EF4-FFF2-40B4-BE49-F238E27FC236}">
                <a16:creationId xmlns:a16="http://schemas.microsoft.com/office/drawing/2014/main" id="{25471F07-35A9-06D5-1E14-3C2D225FF158}"/>
              </a:ext>
            </a:extLst>
          </p:cNvPr>
          <p:cNvGrpSpPr/>
          <p:nvPr/>
        </p:nvGrpSpPr>
        <p:grpSpPr>
          <a:xfrm>
            <a:off x="7798508" y="2435834"/>
            <a:ext cx="1787190" cy="2555178"/>
            <a:chOff x="5851767" y="4010797"/>
            <a:chExt cx="1787190" cy="2555178"/>
          </a:xfrm>
        </p:grpSpPr>
        <p:sp>
          <p:nvSpPr>
            <p:cNvPr id="12" name="TextBox 11">
              <a:extLst>
                <a:ext uri="{FF2B5EF4-FFF2-40B4-BE49-F238E27FC236}">
                  <a16:creationId xmlns:a16="http://schemas.microsoft.com/office/drawing/2014/main" id="{2C5F585A-D1B8-A2CA-2B24-827917F52F62}"/>
                </a:ext>
              </a:extLst>
            </p:cNvPr>
            <p:cNvSpPr txBox="1"/>
            <p:nvPr/>
          </p:nvSpPr>
          <p:spPr>
            <a:xfrm>
              <a:off x="5851767" y="4996315"/>
              <a:ext cx="1509342"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6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This project provided us to learn and find new technology practices.</a:t>
              </a:r>
            </a:p>
          </p:txBody>
        </p:sp>
        <p:sp>
          <p:nvSpPr>
            <p:cNvPr id="13" name="TextBox 12">
              <a:extLst>
                <a:ext uri="{FF2B5EF4-FFF2-40B4-BE49-F238E27FC236}">
                  <a16:creationId xmlns:a16="http://schemas.microsoft.com/office/drawing/2014/main" id="{B3DDBE24-0B8D-261A-A2EB-15672742596D}"/>
                </a:ext>
              </a:extLst>
            </p:cNvPr>
            <p:cNvSpPr txBox="1"/>
            <p:nvPr/>
          </p:nvSpPr>
          <p:spPr>
            <a:xfrm>
              <a:off x="5851767" y="4010797"/>
              <a:ext cx="1787190"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blipFill dpi="0" rotWithShape="1">
                    <a:blip r:embed="rId6">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Opportunities</a:t>
              </a:r>
              <a:endParaRPr kumimoji="0" lang="en-MY"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6" name="Group 15">
            <a:extLst>
              <a:ext uri="{FF2B5EF4-FFF2-40B4-BE49-F238E27FC236}">
                <a16:creationId xmlns:a16="http://schemas.microsoft.com/office/drawing/2014/main" id="{FE7B1979-6E1C-750F-A116-ACBF5B7AE537}"/>
              </a:ext>
            </a:extLst>
          </p:cNvPr>
          <p:cNvGrpSpPr/>
          <p:nvPr/>
        </p:nvGrpSpPr>
        <p:grpSpPr>
          <a:xfrm>
            <a:off x="9585698" y="2645276"/>
            <a:ext cx="2070856" cy="2013636"/>
            <a:chOff x="5851767" y="4010796"/>
            <a:chExt cx="1795619" cy="1158081"/>
          </a:xfrm>
        </p:grpSpPr>
        <p:sp>
          <p:nvSpPr>
            <p:cNvPr id="17" name="TextBox 16">
              <a:extLst>
                <a:ext uri="{FF2B5EF4-FFF2-40B4-BE49-F238E27FC236}">
                  <a16:creationId xmlns:a16="http://schemas.microsoft.com/office/drawing/2014/main" id="{152B3E79-CC30-188E-EB9A-6C2DF65670FB}"/>
                </a:ext>
              </a:extLst>
            </p:cNvPr>
            <p:cNvSpPr txBox="1"/>
            <p:nvPr/>
          </p:nvSpPr>
          <p:spPr>
            <a:xfrm>
              <a:off x="5857822" y="4657157"/>
              <a:ext cx="1509342" cy="5117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It describes the various stages which the project went through in the process.</a:t>
              </a:r>
              <a:endParaRPr kumimoji="0" lang="en-MY" sz="16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endParaRPr>
            </a:p>
          </p:txBody>
        </p:sp>
        <p:sp>
          <p:nvSpPr>
            <p:cNvPr id="19" name="TextBox 18">
              <a:extLst>
                <a:ext uri="{FF2B5EF4-FFF2-40B4-BE49-F238E27FC236}">
                  <a16:creationId xmlns:a16="http://schemas.microsoft.com/office/drawing/2014/main" id="{1DD51728-FB1C-C776-516E-D7F7C5F6A934}"/>
                </a:ext>
              </a:extLst>
            </p:cNvPr>
            <p:cNvSpPr txBox="1"/>
            <p:nvPr/>
          </p:nvSpPr>
          <p:spPr>
            <a:xfrm>
              <a:off x="5851767" y="4010796"/>
              <a:ext cx="1795619" cy="4629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blipFill dpi="0" rotWithShape="1">
                    <a:blip r:embed="rId6">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Project Timeline</a:t>
              </a:r>
              <a:endParaRPr kumimoji="0" lang="en-MY"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23" name="Picture 22">
            <a:extLst>
              <a:ext uri="{FF2B5EF4-FFF2-40B4-BE49-F238E27FC236}">
                <a16:creationId xmlns:a16="http://schemas.microsoft.com/office/drawing/2014/main" id="{D131EC4A-C30A-4127-B9D2-B781D849E55C}"/>
              </a:ext>
            </a:extLst>
          </p:cNvPr>
          <p:cNvPicPr>
            <a:picLocks noChangeAspect="1"/>
          </p:cNvPicPr>
          <p:nvPr/>
        </p:nvPicPr>
        <p:blipFill rotWithShape="1">
          <a:blip r:embed="rId7">
            <a:extLst>
              <a:ext uri="{28A0092B-C50C-407E-A947-70E740481C1C}">
                <a14:useLocalDpi xmlns:a14="http://schemas.microsoft.com/office/drawing/2010/main" val="0"/>
              </a:ext>
            </a:extLst>
          </a:blip>
          <a:srcRect l="26019" r="35717"/>
          <a:stretch/>
        </p:blipFill>
        <p:spPr>
          <a:xfrm>
            <a:off x="9658594" y="2258548"/>
            <a:ext cx="1576715" cy="3090411"/>
          </a:xfrm>
          <a:prstGeom prst="roundRect">
            <a:avLst>
              <a:gd name="adj" fmla="val 50000"/>
            </a:avLst>
          </a:prstGeom>
        </p:spPr>
      </p:pic>
      <p:pic>
        <p:nvPicPr>
          <p:cNvPr id="18" name="Picture 17">
            <a:extLst>
              <a:ext uri="{FF2B5EF4-FFF2-40B4-BE49-F238E27FC236}">
                <a16:creationId xmlns:a16="http://schemas.microsoft.com/office/drawing/2014/main" id="{0272CDB8-FF82-4C46-A52F-04D290D864AE}"/>
              </a:ext>
            </a:extLst>
          </p:cNvPr>
          <p:cNvPicPr>
            <a:picLocks noChangeAspect="1"/>
          </p:cNvPicPr>
          <p:nvPr/>
        </p:nvPicPr>
        <p:blipFill rotWithShape="1">
          <a:blip r:embed="rId8">
            <a:extLst>
              <a:ext uri="{28A0092B-C50C-407E-A947-70E740481C1C}">
                <a14:useLocalDpi xmlns:a14="http://schemas.microsoft.com/office/drawing/2010/main" val="0"/>
              </a:ext>
            </a:extLst>
          </a:blip>
          <a:srcRect l="40574" r="21162"/>
          <a:stretch/>
        </p:blipFill>
        <p:spPr>
          <a:xfrm>
            <a:off x="7727003" y="2297088"/>
            <a:ext cx="1576715" cy="3090411"/>
          </a:xfrm>
          <a:prstGeom prst="roundRect">
            <a:avLst>
              <a:gd name="adj" fmla="val 50000"/>
            </a:avLst>
          </a:prstGeom>
        </p:spPr>
      </p:pic>
      <p:grpSp>
        <p:nvGrpSpPr>
          <p:cNvPr id="21" name="Group 20">
            <a:extLst>
              <a:ext uri="{FF2B5EF4-FFF2-40B4-BE49-F238E27FC236}">
                <a16:creationId xmlns:a16="http://schemas.microsoft.com/office/drawing/2014/main" id="{405F3BC3-4A21-CB79-A3A7-659793582AFD}"/>
              </a:ext>
            </a:extLst>
          </p:cNvPr>
          <p:cNvGrpSpPr/>
          <p:nvPr/>
        </p:nvGrpSpPr>
        <p:grpSpPr>
          <a:xfrm>
            <a:off x="0" y="6674"/>
            <a:ext cx="5974995" cy="369332"/>
            <a:chOff x="0" y="6674"/>
            <a:chExt cx="5974995" cy="369332"/>
          </a:xfrm>
        </p:grpSpPr>
        <p:sp>
          <p:nvSpPr>
            <p:cNvPr id="22" name="TextBox 21">
              <a:extLst>
                <a:ext uri="{FF2B5EF4-FFF2-40B4-BE49-F238E27FC236}">
                  <a16:creationId xmlns:a16="http://schemas.microsoft.com/office/drawing/2014/main" id="{A8E6E405-D898-8367-F71E-62C017F4317E}"/>
                </a:ext>
              </a:extLst>
            </p:cNvPr>
            <p:cNvSpPr txBox="1"/>
            <p:nvPr/>
          </p:nvSpPr>
          <p:spPr>
            <a:xfrm>
              <a:off x="0" y="6674"/>
              <a:ext cx="115303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lumMod val="95000"/>
                    </a:schemeClr>
                  </a:solidFill>
                  <a:effectLst/>
                  <a:uLnTx/>
                  <a:uFillTx/>
                  <a:latin typeface="Century Gothic" panose="020B0502020202020204" pitchFamily="34" charset="0"/>
                  <a:ea typeface="+mn-ea"/>
                  <a:cs typeface="+mn-cs"/>
                </a:rPr>
                <a:t>RELAX</a:t>
              </a:r>
              <a:endParaRPr kumimoji="0" lang="en-MY"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E2C8D814-D1CD-7A61-BDE0-58C0DEDC4517}"/>
                </a:ext>
              </a:extLst>
            </p:cNvPr>
            <p:cNvSpPr txBox="1"/>
            <p:nvPr/>
          </p:nvSpPr>
          <p:spPr>
            <a:xfrm>
              <a:off x="1069648" y="28514"/>
              <a:ext cx="152520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95000"/>
                    </a:schemeClr>
                  </a:solidFill>
                  <a:effectLst/>
                  <a:uLnTx/>
                  <a:uFillTx/>
                  <a:latin typeface="Century Gothic" panose="020B0502020202020204" pitchFamily="34" charset="0"/>
                  <a:ea typeface="+mn-ea"/>
                  <a:cs typeface="+mn-cs"/>
                </a:rPr>
                <a:t>Challenges</a:t>
              </a:r>
              <a:endParaRPr kumimoji="0" lang="en-MY" sz="14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ACBF6D5E-6E7E-60EA-F120-447A90D8F087}"/>
                </a:ext>
              </a:extLst>
            </p:cNvPr>
            <p:cNvSpPr txBox="1"/>
            <p:nvPr/>
          </p:nvSpPr>
          <p:spPr>
            <a:xfrm>
              <a:off x="2300314" y="35023"/>
              <a:ext cx="159259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95000"/>
                    </a:schemeClr>
                  </a:solidFill>
                  <a:effectLst/>
                  <a:uLnTx/>
                  <a:uFillTx/>
                  <a:latin typeface="Century Gothic" panose="020B0502020202020204" pitchFamily="34" charset="0"/>
                  <a:ea typeface="+mn-ea"/>
                  <a:cs typeface="+mn-cs"/>
                </a:rPr>
                <a:t>Enhancements </a:t>
              </a:r>
              <a:endParaRPr kumimoji="0" lang="en-MY" sz="14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60F184E5-5D6F-86B2-A9AA-8EDCDE7647D3}"/>
                </a:ext>
              </a:extLst>
            </p:cNvPr>
            <p:cNvSpPr txBox="1"/>
            <p:nvPr/>
          </p:nvSpPr>
          <p:spPr>
            <a:xfrm>
              <a:off x="3913368" y="17901"/>
              <a:ext cx="206162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95000"/>
                    </a:schemeClr>
                  </a:solidFill>
                  <a:effectLst/>
                  <a:uLnTx/>
                  <a:uFillTx/>
                  <a:latin typeface="Century Gothic" panose="020B0502020202020204" pitchFamily="34" charset="0"/>
                  <a:ea typeface="+mn-ea"/>
                  <a:cs typeface="+mn-cs"/>
                </a:rPr>
                <a:t>Project Timeline </a:t>
              </a:r>
              <a:endParaRPr kumimoji="0" lang="en-MY" sz="14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131938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advTm="1000">
        <p159:morph option="byObject"/>
      </p:transition>
    </mc:Choice>
    <mc:Fallback xmlns="">
      <p:transition spd="slow" advTm="1000">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5137C686-454A-4433-B85A-55BA9C4F0379}"/>
              </a:ext>
            </a:extLst>
          </p:cNvPr>
          <p:cNvPicPr>
            <a:picLocks noChangeAspect="1"/>
          </p:cNvPicPr>
          <p:nvPr/>
        </p:nvPicPr>
        <p:blipFill>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p:blipFill>
        <p:spPr>
          <a:xfrm>
            <a:off x="-3235378" y="-958782"/>
            <a:ext cx="14963735" cy="8420270"/>
          </a:xfrm>
          <a:prstGeom prst="roundRect">
            <a:avLst>
              <a:gd name="adj" fmla="val 50000"/>
            </a:avLst>
          </a:prstGeom>
        </p:spPr>
      </p:pic>
      <p:sp>
        <p:nvSpPr>
          <p:cNvPr id="67" name="TextBox 66">
            <a:extLst>
              <a:ext uri="{FF2B5EF4-FFF2-40B4-BE49-F238E27FC236}">
                <a16:creationId xmlns:a16="http://schemas.microsoft.com/office/drawing/2014/main" id="{F8C89493-F8BD-47E8-AB11-E0E8D17CAB31}"/>
              </a:ext>
            </a:extLst>
          </p:cNvPr>
          <p:cNvSpPr txBox="1"/>
          <p:nvPr/>
        </p:nvSpPr>
        <p:spPr>
          <a:xfrm>
            <a:off x="6867292" y="2384776"/>
            <a:ext cx="401139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dirty="0">
                <a:ln>
                  <a:solidFill>
                    <a:prstClr val="white"/>
                  </a:solidFill>
                </a:ln>
                <a:solidFill>
                  <a:prstClr val="white"/>
                </a:solidFill>
                <a:effectLst/>
                <a:uLnTx/>
                <a:uFillTx/>
                <a:latin typeface="Century Gothic" panose="020B0502020202020204" pitchFamily="34" charset="0"/>
                <a:ea typeface="+mn-ea"/>
                <a:cs typeface="+mn-cs"/>
              </a:rPr>
              <a:t>GRADIENT </a:t>
            </a:r>
          </a:p>
        </p:txBody>
      </p:sp>
      <p:sp>
        <p:nvSpPr>
          <p:cNvPr id="68" name="TextBox 67">
            <a:extLst>
              <a:ext uri="{FF2B5EF4-FFF2-40B4-BE49-F238E27FC236}">
                <a16:creationId xmlns:a16="http://schemas.microsoft.com/office/drawing/2014/main" id="{72EBECFB-947F-469A-9920-5A2A9419E44B}"/>
              </a:ext>
            </a:extLst>
          </p:cNvPr>
          <p:cNvSpPr txBox="1"/>
          <p:nvPr/>
        </p:nvSpPr>
        <p:spPr>
          <a:xfrm>
            <a:off x="10403821" y="3216388"/>
            <a:ext cx="4146121"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dirty="0">
                <a:ln>
                  <a:solidFill>
                    <a:prstClr val="white"/>
                  </a:solidFill>
                </a:ln>
                <a:noFill/>
                <a:effectLst/>
                <a:uLnTx/>
                <a:uFillTx/>
                <a:latin typeface="Century Gothic" panose="020B0502020202020204" pitchFamily="34" charset="0"/>
                <a:ea typeface="+mn-ea"/>
                <a:cs typeface="+mn-cs"/>
              </a:rPr>
              <a:t>IN TEXT </a:t>
            </a:r>
            <a:endParaRPr kumimoji="0" lang="en-MY"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Oval 23">
            <a:extLst>
              <a:ext uri="{FF2B5EF4-FFF2-40B4-BE49-F238E27FC236}">
                <a16:creationId xmlns:a16="http://schemas.microsoft.com/office/drawing/2014/main" id="{DB6F3B1A-9E08-44A2-95F2-9F2E21010EAF}"/>
              </a:ext>
            </a:extLst>
          </p:cNvPr>
          <p:cNvSpPr/>
          <p:nvPr/>
        </p:nvSpPr>
        <p:spPr>
          <a:xfrm>
            <a:off x="4670464" y="-4083794"/>
            <a:ext cx="14687411" cy="15471777"/>
          </a:xfrm>
          <a:prstGeom prst="ellipse">
            <a:avLst/>
          </a:prstGeom>
          <a:solidFill>
            <a:schemeClr val="tx1">
              <a:lumMod val="85000"/>
              <a:lumOff val="15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5" name="Picture 24">
            <a:extLst>
              <a:ext uri="{FF2B5EF4-FFF2-40B4-BE49-F238E27FC236}">
                <a16:creationId xmlns:a16="http://schemas.microsoft.com/office/drawing/2014/main" id="{885ED121-AF43-4016-82BF-BD7E88583A42}"/>
              </a:ext>
            </a:extLst>
          </p:cNvPr>
          <p:cNvPicPr>
            <a:picLocks noChangeAspect="1"/>
          </p:cNvPicPr>
          <p:nvPr/>
        </p:nvPicPr>
        <p:blipFill>
          <a:blip r:embed="rId4">
            <a:duotone>
              <a:prstClr val="black"/>
              <a:srgbClr val="7030A0">
                <a:tint val="45000"/>
                <a:satMod val="400000"/>
              </a:srgbClr>
            </a:duotone>
          </a:blip>
          <a:stretch>
            <a:fillRect/>
          </a:stretch>
        </p:blipFill>
        <p:spPr>
          <a:xfrm>
            <a:off x="4948936" y="3251353"/>
            <a:ext cx="452118" cy="801484"/>
          </a:xfrm>
          <a:prstGeom prst="rect">
            <a:avLst/>
          </a:prstGeom>
          <a:noFill/>
        </p:spPr>
      </p:pic>
      <p:grpSp>
        <p:nvGrpSpPr>
          <p:cNvPr id="50" name="Group 49">
            <a:extLst>
              <a:ext uri="{FF2B5EF4-FFF2-40B4-BE49-F238E27FC236}">
                <a16:creationId xmlns:a16="http://schemas.microsoft.com/office/drawing/2014/main" id="{71BF65C6-5737-45A0-8A53-93A29641CEC4}"/>
              </a:ext>
            </a:extLst>
          </p:cNvPr>
          <p:cNvGrpSpPr/>
          <p:nvPr/>
        </p:nvGrpSpPr>
        <p:grpSpPr>
          <a:xfrm rot="18544867">
            <a:off x="10289573" y="-5341958"/>
            <a:ext cx="8211469" cy="7641093"/>
            <a:chOff x="-7359647" y="3481383"/>
            <a:chExt cx="8211469" cy="7641093"/>
          </a:xfrm>
        </p:grpSpPr>
        <p:sp>
          <p:nvSpPr>
            <p:cNvPr id="51" name="Freeform: Shape 50">
              <a:extLst>
                <a:ext uri="{FF2B5EF4-FFF2-40B4-BE49-F238E27FC236}">
                  <a16:creationId xmlns:a16="http://schemas.microsoft.com/office/drawing/2014/main" id="{256E6AA9-1338-45EF-ABFA-33E3839DD164}"/>
                </a:ext>
              </a:extLst>
            </p:cNvPr>
            <p:cNvSpPr/>
            <p:nvPr/>
          </p:nvSpPr>
          <p:spPr>
            <a:xfrm rot="5400000">
              <a:off x="-7074459" y="3196195"/>
              <a:ext cx="7641093" cy="8211469"/>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5">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Freeform: Shape 51">
              <a:extLst>
                <a:ext uri="{FF2B5EF4-FFF2-40B4-BE49-F238E27FC236}">
                  <a16:creationId xmlns:a16="http://schemas.microsoft.com/office/drawing/2014/main" id="{8BB38904-6437-4101-AEA2-1B0DB5E77AB8}"/>
                </a:ext>
              </a:extLst>
            </p:cNvPr>
            <p:cNvSpPr/>
            <p:nvPr/>
          </p:nvSpPr>
          <p:spPr>
            <a:xfrm rot="5400000">
              <a:off x="-6543154" y="3693520"/>
              <a:ext cx="6715530" cy="7216817"/>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5">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83B4C473-F172-47FE-98F0-3788E9BC7AF3}"/>
              </a:ext>
            </a:extLst>
          </p:cNvPr>
          <p:cNvGrpSpPr/>
          <p:nvPr/>
        </p:nvGrpSpPr>
        <p:grpSpPr>
          <a:xfrm rot="18544867">
            <a:off x="-7207247" y="3633783"/>
            <a:ext cx="8211469" cy="7641093"/>
            <a:chOff x="-7359647" y="3481383"/>
            <a:chExt cx="8211469" cy="7641093"/>
          </a:xfrm>
        </p:grpSpPr>
        <p:sp>
          <p:nvSpPr>
            <p:cNvPr id="32" name="Freeform: Shape 31">
              <a:extLst>
                <a:ext uri="{FF2B5EF4-FFF2-40B4-BE49-F238E27FC236}">
                  <a16:creationId xmlns:a16="http://schemas.microsoft.com/office/drawing/2014/main" id="{69C37CB8-9352-4B58-AB2A-E3CDE12BC481}"/>
                </a:ext>
              </a:extLst>
            </p:cNvPr>
            <p:cNvSpPr/>
            <p:nvPr/>
          </p:nvSpPr>
          <p:spPr>
            <a:xfrm rot="5400000">
              <a:off x="-7074459" y="3196195"/>
              <a:ext cx="7641093" cy="8211469"/>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5">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Freeform: Shape 32">
              <a:extLst>
                <a:ext uri="{FF2B5EF4-FFF2-40B4-BE49-F238E27FC236}">
                  <a16:creationId xmlns:a16="http://schemas.microsoft.com/office/drawing/2014/main" id="{AD863925-5855-40DB-B3F4-E4AF39F89C13}"/>
                </a:ext>
              </a:extLst>
            </p:cNvPr>
            <p:cNvSpPr/>
            <p:nvPr/>
          </p:nvSpPr>
          <p:spPr>
            <a:xfrm rot="5400000">
              <a:off x="-6543154" y="3693520"/>
              <a:ext cx="6715530" cy="7216817"/>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5">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60" name="TextBox 59">
            <a:extLst>
              <a:ext uri="{FF2B5EF4-FFF2-40B4-BE49-F238E27FC236}">
                <a16:creationId xmlns:a16="http://schemas.microsoft.com/office/drawing/2014/main" id="{B4026C2C-91C9-4BF5-BC6F-F6B300B5FC82}"/>
              </a:ext>
            </a:extLst>
          </p:cNvPr>
          <p:cNvSpPr txBox="1"/>
          <p:nvPr/>
        </p:nvSpPr>
        <p:spPr>
          <a:xfrm>
            <a:off x="-7362214" y="2204760"/>
            <a:ext cx="317887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FLEETING</a:t>
            </a:r>
            <a:endParaRPr kumimoji="0" lang="en-US" sz="5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61" name="TextBox 60">
            <a:extLst>
              <a:ext uri="{FF2B5EF4-FFF2-40B4-BE49-F238E27FC236}">
                <a16:creationId xmlns:a16="http://schemas.microsoft.com/office/drawing/2014/main" id="{96AE650D-B0CA-41F7-B1D7-00FB618CE236}"/>
              </a:ext>
            </a:extLst>
          </p:cNvPr>
          <p:cNvSpPr txBox="1"/>
          <p:nvPr/>
        </p:nvSpPr>
        <p:spPr>
          <a:xfrm>
            <a:off x="-5338637" y="2054178"/>
            <a:ext cx="19319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Inspired by Style </a:t>
            </a:r>
            <a:r>
              <a:rPr kumimoji="0" lang="en-US" sz="1200" b="1" i="0" u="none" strike="noStrike" kern="1200" cap="none" spc="0" normalizeH="0" baseline="0" noProof="0" dirty="0" err="1">
                <a:ln>
                  <a:noFill/>
                </a:ln>
                <a:solidFill>
                  <a:prstClr val="white"/>
                </a:solidFill>
                <a:effectLst/>
                <a:uLnTx/>
                <a:uFillTx/>
                <a:latin typeface="Century Gothic" panose="020B0502020202020204" pitchFamily="34" charset="0"/>
                <a:ea typeface="+mn-ea"/>
                <a:cs typeface="+mn-cs"/>
              </a:rPr>
              <a:t>Teyvat</a:t>
            </a:r>
            <a:endPar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62" name="TextBox 61">
            <a:extLst>
              <a:ext uri="{FF2B5EF4-FFF2-40B4-BE49-F238E27FC236}">
                <a16:creationId xmlns:a16="http://schemas.microsoft.com/office/drawing/2014/main" id="{9938C6D8-0FA5-48BA-AC41-A77D134BAB2F}"/>
              </a:ext>
            </a:extLst>
          </p:cNvPr>
          <p:cNvSpPr txBox="1"/>
          <p:nvPr/>
        </p:nvSpPr>
        <p:spPr>
          <a:xfrm>
            <a:off x="-12706693" y="4239234"/>
            <a:ext cx="10631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400" b="1" i="0" u="none" strike="noStrike" kern="1200" cap="none" spc="0" normalizeH="0" baseline="0" noProof="0" dirty="0">
                <a:ln>
                  <a:noFill/>
                </a:ln>
                <a:solidFill>
                  <a:srgbClr val="060F16"/>
                </a:solidFill>
                <a:effectLst/>
                <a:uLnTx/>
                <a:uFillTx/>
                <a:latin typeface="Century Gothic" panose="020B0502020202020204" pitchFamily="34" charset="0"/>
                <a:ea typeface="+mn-ea"/>
                <a:cs typeface="+mn-cs"/>
              </a:rPr>
              <a:t>WELCOME</a:t>
            </a:r>
            <a:endParaRPr kumimoji="0" lang="en-MY" sz="1800" b="1" i="0" u="none" strike="noStrike" kern="1200" cap="none" spc="0" normalizeH="0" baseline="0" noProof="0" dirty="0">
              <a:ln>
                <a:noFill/>
              </a:ln>
              <a:solidFill>
                <a:srgbClr val="060F16"/>
              </a:solidFill>
              <a:effectLst/>
              <a:uLnTx/>
              <a:uFillTx/>
              <a:latin typeface="Century Gothic" panose="020B0502020202020204" pitchFamily="34" charset="0"/>
              <a:ea typeface="+mn-ea"/>
              <a:cs typeface="+mn-cs"/>
            </a:endParaRPr>
          </a:p>
        </p:txBody>
      </p:sp>
      <p:sp>
        <p:nvSpPr>
          <p:cNvPr id="63" name="TextBox 62">
            <a:extLst>
              <a:ext uri="{FF2B5EF4-FFF2-40B4-BE49-F238E27FC236}">
                <a16:creationId xmlns:a16="http://schemas.microsoft.com/office/drawing/2014/main" id="{B74FADCF-9F69-484E-8482-39A8C9023DF7}"/>
              </a:ext>
            </a:extLst>
          </p:cNvPr>
          <p:cNvSpPr txBox="1"/>
          <p:nvPr/>
        </p:nvSpPr>
        <p:spPr>
          <a:xfrm>
            <a:off x="-12706693" y="4496507"/>
            <a:ext cx="3440463" cy="64633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MY" sz="1200" b="0" i="0" u="none" strike="noStrike" kern="1200" cap="none" spc="0" normalizeH="0" baseline="0" noProof="0" dirty="0">
                <a:ln>
                  <a:noFill/>
                </a:ln>
                <a:solidFill>
                  <a:srgbClr val="060F16"/>
                </a:solidFill>
                <a:effectLst/>
                <a:uLnTx/>
                <a:uFillTx/>
                <a:latin typeface="Century Gothic" panose="020B0502020202020204" pitchFamily="34" charset="0"/>
                <a:ea typeface="+mn-ea"/>
                <a:cs typeface="+mn-cs"/>
              </a:rPr>
              <a:t>Tengok teaser Genshin impact </a:t>
            </a:r>
            <a:r>
              <a:rPr kumimoji="0" lang="en-MY" sz="1200" b="0" i="0" u="none" strike="noStrike" kern="1200" cap="none" spc="0" normalizeH="0" baseline="0" noProof="0" dirty="0" err="1">
                <a:ln>
                  <a:noFill/>
                </a:ln>
                <a:solidFill>
                  <a:srgbClr val="060F16"/>
                </a:solidFill>
                <a:effectLst/>
                <a:uLnTx/>
                <a:uFillTx/>
                <a:latin typeface="Century Gothic" panose="020B0502020202020204" pitchFamily="34" charset="0"/>
                <a:ea typeface="+mn-ea"/>
                <a:cs typeface="+mn-cs"/>
              </a:rPr>
              <a:t>Teyvat</a:t>
            </a:r>
            <a:r>
              <a:rPr kumimoji="0" lang="en-MY" sz="1200" b="0" i="0" u="none" strike="noStrike" kern="1200" cap="none" spc="0" normalizeH="0" baseline="0" noProof="0" dirty="0">
                <a:ln>
                  <a:noFill/>
                </a:ln>
                <a:solidFill>
                  <a:srgbClr val="060F16"/>
                </a:solidFill>
                <a:effectLst/>
                <a:uLnTx/>
                <a:uFillTx/>
                <a:latin typeface="Century Gothic" panose="020B0502020202020204" pitchFamily="34" charset="0"/>
                <a:ea typeface="+mn-ea"/>
                <a:cs typeface="+mn-cs"/>
              </a:rPr>
              <a:t> style dengan music </a:t>
            </a:r>
            <a:r>
              <a:rPr kumimoji="0" lang="en-MY" sz="1200" b="0" i="0" u="none" strike="noStrike" kern="1200" cap="none" spc="0" normalizeH="0" baseline="0" noProof="0" dirty="0" err="1">
                <a:ln>
                  <a:noFill/>
                </a:ln>
                <a:solidFill>
                  <a:srgbClr val="060F16"/>
                </a:solidFill>
                <a:effectLst/>
                <a:uLnTx/>
                <a:uFillTx/>
                <a:latin typeface="Century Gothic" panose="020B0502020202020204" pitchFamily="34" charset="0"/>
                <a:ea typeface="+mn-ea"/>
                <a:cs typeface="+mn-cs"/>
              </a:rPr>
              <a:t>dia</a:t>
            </a:r>
            <a:r>
              <a:rPr kumimoji="0" lang="en-MY" sz="1200" b="0" i="0" u="none" strike="noStrike" kern="1200" cap="none" spc="0" normalizeH="0" baseline="0" noProof="0" dirty="0">
                <a:ln>
                  <a:noFill/>
                </a:ln>
                <a:solidFill>
                  <a:srgbClr val="060F16"/>
                </a:solidFill>
                <a:effectLst/>
                <a:uLnTx/>
                <a:uFillTx/>
                <a:latin typeface="Century Gothic" panose="020B0502020202020204" pitchFamily="34" charset="0"/>
                <a:ea typeface="+mn-ea"/>
                <a:cs typeface="+mn-cs"/>
              </a:rPr>
              <a:t> </a:t>
            </a:r>
            <a:r>
              <a:rPr kumimoji="0" lang="en-MY" sz="1200" b="0" i="0" u="none" strike="noStrike" kern="1200" cap="none" spc="0" normalizeH="0" baseline="0" noProof="0" dirty="0" err="1">
                <a:ln>
                  <a:noFill/>
                </a:ln>
                <a:solidFill>
                  <a:srgbClr val="060F16"/>
                </a:solidFill>
                <a:effectLst/>
                <a:uLnTx/>
                <a:uFillTx/>
                <a:latin typeface="Century Gothic" panose="020B0502020202020204" pitchFamily="34" charset="0"/>
                <a:ea typeface="+mn-ea"/>
                <a:cs typeface="+mn-cs"/>
              </a:rPr>
              <a:t>terus</a:t>
            </a:r>
            <a:r>
              <a:rPr kumimoji="0" lang="en-MY" sz="1200" b="0" i="0" u="none" strike="noStrike" kern="1200" cap="none" spc="0" normalizeH="0" baseline="0" noProof="0" dirty="0">
                <a:ln>
                  <a:noFill/>
                </a:ln>
                <a:solidFill>
                  <a:srgbClr val="060F16"/>
                </a:solidFill>
                <a:effectLst/>
                <a:uLnTx/>
                <a:uFillTx/>
                <a:latin typeface="Century Gothic" panose="020B0502020202020204" pitchFamily="34" charset="0"/>
                <a:ea typeface="+mn-ea"/>
                <a:cs typeface="+mn-cs"/>
              </a:rPr>
              <a:t> inspired untuk buat style macam </a:t>
            </a:r>
            <a:r>
              <a:rPr kumimoji="0" lang="en-MY" sz="1200" b="0" i="0" u="none" strike="noStrike" kern="1200" cap="none" spc="0" normalizeH="0" baseline="0" noProof="0" dirty="0" err="1">
                <a:ln>
                  <a:noFill/>
                </a:ln>
                <a:solidFill>
                  <a:srgbClr val="060F16"/>
                </a:solidFill>
                <a:effectLst/>
                <a:uLnTx/>
                <a:uFillTx/>
                <a:latin typeface="Century Gothic" panose="020B0502020202020204" pitchFamily="34" charset="0"/>
                <a:ea typeface="+mn-ea"/>
                <a:cs typeface="+mn-cs"/>
              </a:rPr>
              <a:t>ni</a:t>
            </a:r>
            <a:r>
              <a:rPr kumimoji="0" lang="en-MY" sz="1200" b="0" i="0" u="none" strike="noStrike" kern="1200" cap="none" spc="0" normalizeH="0" baseline="0" noProof="0" dirty="0">
                <a:ln>
                  <a:noFill/>
                </a:ln>
                <a:solidFill>
                  <a:srgbClr val="060F16"/>
                </a:solidFill>
                <a:effectLst/>
                <a:uLnTx/>
                <a:uFillTx/>
                <a:latin typeface="Century Gothic" panose="020B0502020202020204" pitchFamily="34" charset="0"/>
                <a:ea typeface="+mn-ea"/>
                <a:cs typeface="+mn-cs"/>
              </a:rPr>
              <a:t>.</a:t>
            </a:r>
            <a:endParaRPr kumimoji="0" lang="en-MY" sz="1600" b="0" i="0" u="none" strike="noStrike" kern="1200" cap="none" spc="0" normalizeH="0" baseline="0" noProof="0" dirty="0">
              <a:ln>
                <a:noFill/>
              </a:ln>
              <a:solidFill>
                <a:srgbClr val="060F16"/>
              </a:solidFill>
              <a:effectLst/>
              <a:uLnTx/>
              <a:uFillTx/>
              <a:latin typeface="Century Gothic" panose="020B0502020202020204" pitchFamily="34" charset="0"/>
              <a:ea typeface="+mn-ea"/>
              <a:cs typeface="+mn-cs"/>
            </a:endParaRPr>
          </a:p>
        </p:txBody>
      </p:sp>
      <p:sp>
        <p:nvSpPr>
          <p:cNvPr id="64" name="TextBox 63">
            <a:extLst>
              <a:ext uri="{FF2B5EF4-FFF2-40B4-BE49-F238E27FC236}">
                <a16:creationId xmlns:a16="http://schemas.microsoft.com/office/drawing/2014/main" id="{6C1BD7E1-F387-4F25-B760-4171477B2153}"/>
              </a:ext>
            </a:extLst>
          </p:cNvPr>
          <p:cNvSpPr txBox="1"/>
          <p:nvPr/>
        </p:nvSpPr>
        <p:spPr>
          <a:xfrm>
            <a:off x="-9655461" y="2785188"/>
            <a:ext cx="365596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solidFill>
                    <a:prstClr val="white"/>
                  </a:solidFill>
                </a:ln>
                <a:noFill/>
                <a:effectLst/>
                <a:uLnTx/>
                <a:uFillTx/>
                <a:latin typeface="Century Gothic" panose="020B0502020202020204" pitchFamily="34" charset="0"/>
                <a:ea typeface="+mn-ea"/>
                <a:cs typeface="+mn-cs"/>
              </a:rPr>
              <a:t>COLORS</a:t>
            </a:r>
            <a:r>
              <a:rPr kumimoji="0" lang="en-US" sz="4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IN </a:t>
            </a:r>
            <a:endParaRPr kumimoji="0" lang="en-MY"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a:extLst>
              <a:ext uri="{FF2B5EF4-FFF2-40B4-BE49-F238E27FC236}">
                <a16:creationId xmlns:a16="http://schemas.microsoft.com/office/drawing/2014/main" id="{FE605AEC-C040-4001-8FB6-992C63CEDBBB}"/>
              </a:ext>
            </a:extLst>
          </p:cNvPr>
          <p:cNvSpPr txBox="1"/>
          <p:nvPr/>
        </p:nvSpPr>
        <p:spPr>
          <a:xfrm>
            <a:off x="-11008319" y="3408237"/>
            <a:ext cx="318431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FLIGHT</a:t>
            </a:r>
            <a:endParaRPr kumimoji="0" lang="en-MY"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01358E92-4CAE-4889-54D2-630C3553CFB8}"/>
              </a:ext>
            </a:extLst>
          </p:cNvPr>
          <p:cNvSpPr txBox="1"/>
          <p:nvPr/>
        </p:nvSpPr>
        <p:spPr>
          <a:xfrm>
            <a:off x="265445" y="1166271"/>
            <a:ext cx="413797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PPORT</a:t>
            </a:r>
          </a:p>
        </p:txBody>
      </p:sp>
      <p:sp>
        <p:nvSpPr>
          <p:cNvPr id="4" name="TextBox 3">
            <a:extLst>
              <a:ext uri="{FF2B5EF4-FFF2-40B4-BE49-F238E27FC236}">
                <a16:creationId xmlns:a16="http://schemas.microsoft.com/office/drawing/2014/main" id="{3BD19792-FFF6-C0D2-32A1-32DA58E9BD53}"/>
              </a:ext>
            </a:extLst>
          </p:cNvPr>
          <p:cNvSpPr txBox="1"/>
          <p:nvPr/>
        </p:nvSpPr>
        <p:spPr>
          <a:xfrm>
            <a:off x="278315" y="1790877"/>
            <a:ext cx="365596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solidFill>
                    <a:prstClr val="white"/>
                  </a:solidFill>
                </a:ln>
                <a:noFill/>
                <a:effectLst/>
                <a:uLnTx/>
                <a:uFillTx/>
                <a:latin typeface="Century Gothic" panose="020B0502020202020204" pitchFamily="34" charset="0"/>
                <a:ea typeface="+mn-ea"/>
                <a:cs typeface="+mn-cs"/>
              </a:rPr>
              <a:t>UNITIES</a:t>
            </a:r>
            <a:endParaRPr kumimoji="0" lang="en-MY" sz="4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31682B7A-7019-90A7-D400-BEED395D216C}"/>
              </a:ext>
            </a:extLst>
          </p:cNvPr>
          <p:cNvSpPr txBox="1"/>
          <p:nvPr/>
        </p:nvSpPr>
        <p:spPr>
          <a:xfrm>
            <a:off x="104257" y="2826584"/>
            <a:ext cx="4592229" cy="3416320"/>
          </a:xfrm>
          <a:prstGeom prst="rect">
            <a:avLst/>
          </a:prstGeom>
          <a:noFill/>
          <a:ln>
            <a:noFill/>
          </a:ln>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400" b="1" i="0" u="none" strike="noStrike" kern="1200" cap="none" spc="0" normalizeH="0" baseline="0" noProof="0" dirty="0">
                <a:ln>
                  <a:noFill/>
                </a:ln>
                <a:solidFill>
                  <a:prstClr val="white"/>
                </a:solidFill>
                <a:effectLst/>
                <a:uLnTx/>
                <a:uFillTx/>
                <a:latin typeface="Lucida Handwriting" panose="03010101010101010101" pitchFamily="66" charset="0"/>
                <a:ea typeface="+mn-ea"/>
                <a:cs typeface="+mn-cs"/>
              </a:rPr>
              <a:t>Learning new technologies and best practices</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400" b="1" i="0" u="none" strike="noStrike" kern="1200" cap="none" spc="0" normalizeH="0" baseline="0" noProof="0" dirty="0">
                <a:ln>
                  <a:noFill/>
                </a:ln>
                <a:solidFill>
                  <a:prstClr val="white"/>
                </a:solidFill>
                <a:effectLst/>
                <a:uLnTx/>
                <a:uFillTx/>
                <a:latin typeface="Lucida Handwriting" panose="03010101010101010101" pitchFamily="66" charset="0"/>
                <a:ea typeface="+mn-ea"/>
                <a:cs typeface="+mn-cs"/>
              </a:rPr>
              <a:t>Hands-on experience</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400" b="1" i="0" u="none" strike="noStrike" kern="1200" cap="none" spc="0" normalizeH="0" baseline="0" noProof="0" dirty="0">
                <a:ln>
                  <a:noFill/>
                </a:ln>
                <a:solidFill>
                  <a:prstClr val="white"/>
                </a:solidFill>
                <a:effectLst/>
                <a:uLnTx/>
                <a:uFillTx/>
                <a:latin typeface="Lucida Handwriting" panose="03010101010101010101" pitchFamily="66" charset="0"/>
                <a:ea typeface="+mn-ea"/>
                <a:cs typeface="+mn-cs"/>
              </a:rPr>
              <a:t>Efficiency of Teamwork</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400" b="1" i="0" u="none" strike="noStrike" kern="1200" cap="none" spc="0" normalizeH="0" baseline="0" noProof="0" dirty="0">
                <a:ln>
                  <a:noFill/>
                </a:ln>
                <a:solidFill>
                  <a:prstClr val="white"/>
                </a:solidFill>
                <a:effectLst/>
                <a:uLnTx/>
                <a:uFillTx/>
                <a:latin typeface="Lucida Handwriting" panose="03010101010101010101" pitchFamily="66" charset="0"/>
                <a:ea typeface="+mn-ea"/>
                <a:cs typeface="+mn-cs"/>
              </a:rPr>
              <a:t>Minimizing the complexity of a proble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Lucida Handwriting" panose="03010101010101010101" pitchFamily="66" charset="0"/>
              <a:ea typeface="+mn-ea"/>
              <a:cs typeface="+mn-cs"/>
            </a:endParaRPr>
          </a:p>
        </p:txBody>
      </p:sp>
      <p:grpSp>
        <p:nvGrpSpPr>
          <p:cNvPr id="6" name="Group 5">
            <a:extLst>
              <a:ext uri="{FF2B5EF4-FFF2-40B4-BE49-F238E27FC236}">
                <a16:creationId xmlns:a16="http://schemas.microsoft.com/office/drawing/2014/main" id="{287DB87B-8885-481F-73A3-90F67CFAFFDC}"/>
              </a:ext>
            </a:extLst>
          </p:cNvPr>
          <p:cNvGrpSpPr/>
          <p:nvPr/>
        </p:nvGrpSpPr>
        <p:grpSpPr>
          <a:xfrm>
            <a:off x="5828022" y="2812415"/>
            <a:ext cx="1590617" cy="1802977"/>
            <a:chOff x="5781510" y="4010797"/>
            <a:chExt cx="1590617" cy="1802977"/>
          </a:xfrm>
        </p:grpSpPr>
        <p:sp>
          <p:nvSpPr>
            <p:cNvPr id="7" name="TextBox 6">
              <a:extLst>
                <a:ext uri="{FF2B5EF4-FFF2-40B4-BE49-F238E27FC236}">
                  <a16:creationId xmlns:a16="http://schemas.microsoft.com/office/drawing/2014/main" id="{C153D8CA-D4D5-5AD5-794E-BF0771C58F0C}"/>
                </a:ext>
              </a:extLst>
            </p:cNvPr>
            <p:cNvSpPr txBox="1"/>
            <p:nvPr/>
          </p:nvSpPr>
          <p:spPr>
            <a:xfrm>
              <a:off x="5781510" y="5167443"/>
              <a:ext cx="150934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Some challenges may be encountered.</a:t>
              </a:r>
              <a:endParaRPr kumimoji="0" lang="en-MY" sz="16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endParaRPr>
            </a:p>
          </p:txBody>
        </p:sp>
        <p:sp>
          <p:nvSpPr>
            <p:cNvPr id="8" name="TextBox 7">
              <a:extLst>
                <a:ext uri="{FF2B5EF4-FFF2-40B4-BE49-F238E27FC236}">
                  <a16:creationId xmlns:a16="http://schemas.microsoft.com/office/drawing/2014/main" id="{31AE1122-E412-402D-2F5E-F27456C2D829}"/>
                </a:ext>
              </a:extLst>
            </p:cNvPr>
            <p:cNvSpPr txBox="1"/>
            <p:nvPr/>
          </p:nvSpPr>
          <p:spPr>
            <a:xfrm>
              <a:off x="5781510" y="4010797"/>
              <a:ext cx="1590617"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CHALLENGES</a:t>
              </a:r>
              <a:endParaRPr kumimoji="0" lang="en-MY"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9" name="Group 8">
            <a:extLst>
              <a:ext uri="{FF2B5EF4-FFF2-40B4-BE49-F238E27FC236}">
                <a16:creationId xmlns:a16="http://schemas.microsoft.com/office/drawing/2014/main" id="{20A5C5BA-D745-77CD-4BA0-F928594C7FC1}"/>
              </a:ext>
            </a:extLst>
          </p:cNvPr>
          <p:cNvGrpSpPr/>
          <p:nvPr/>
        </p:nvGrpSpPr>
        <p:grpSpPr>
          <a:xfrm>
            <a:off x="7669065" y="4067074"/>
            <a:ext cx="1787190" cy="2555178"/>
            <a:chOff x="5851767" y="4010797"/>
            <a:chExt cx="1787190" cy="2555178"/>
          </a:xfrm>
        </p:grpSpPr>
        <p:sp>
          <p:nvSpPr>
            <p:cNvPr id="10" name="TextBox 9">
              <a:extLst>
                <a:ext uri="{FF2B5EF4-FFF2-40B4-BE49-F238E27FC236}">
                  <a16:creationId xmlns:a16="http://schemas.microsoft.com/office/drawing/2014/main" id="{319470AC-741E-FBD3-74AC-F136A780AD1C}"/>
                </a:ext>
              </a:extLst>
            </p:cNvPr>
            <p:cNvSpPr txBox="1"/>
            <p:nvPr/>
          </p:nvSpPr>
          <p:spPr>
            <a:xfrm>
              <a:off x="5851767" y="4996315"/>
              <a:ext cx="1509342"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6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This project provided us to learn and find new technology practices.</a:t>
              </a:r>
            </a:p>
          </p:txBody>
        </p:sp>
        <p:sp>
          <p:nvSpPr>
            <p:cNvPr id="11" name="TextBox 10">
              <a:extLst>
                <a:ext uri="{FF2B5EF4-FFF2-40B4-BE49-F238E27FC236}">
                  <a16:creationId xmlns:a16="http://schemas.microsoft.com/office/drawing/2014/main" id="{C9E83485-93DE-8EAA-AEAD-06A8744B35A2}"/>
                </a:ext>
              </a:extLst>
            </p:cNvPr>
            <p:cNvSpPr txBox="1"/>
            <p:nvPr/>
          </p:nvSpPr>
          <p:spPr>
            <a:xfrm>
              <a:off x="5851767" y="4010797"/>
              <a:ext cx="1787190"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Opportunities</a:t>
              </a:r>
              <a:endParaRPr kumimoji="0" lang="en-MY"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2" name="Group 11">
            <a:extLst>
              <a:ext uri="{FF2B5EF4-FFF2-40B4-BE49-F238E27FC236}">
                <a16:creationId xmlns:a16="http://schemas.microsoft.com/office/drawing/2014/main" id="{133DEEA9-CD65-A370-24D8-50DF5887AC27}"/>
              </a:ext>
            </a:extLst>
          </p:cNvPr>
          <p:cNvGrpSpPr/>
          <p:nvPr/>
        </p:nvGrpSpPr>
        <p:grpSpPr>
          <a:xfrm>
            <a:off x="9627575" y="2816917"/>
            <a:ext cx="2070856" cy="2013636"/>
            <a:chOff x="5851767" y="4010796"/>
            <a:chExt cx="1795619" cy="1158081"/>
          </a:xfrm>
        </p:grpSpPr>
        <p:sp>
          <p:nvSpPr>
            <p:cNvPr id="13" name="TextBox 12">
              <a:extLst>
                <a:ext uri="{FF2B5EF4-FFF2-40B4-BE49-F238E27FC236}">
                  <a16:creationId xmlns:a16="http://schemas.microsoft.com/office/drawing/2014/main" id="{08D5607E-0020-8A15-6D75-AFFB97AA4041}"/>
                </a:ext>
              </a:extLst>
            </p:cNvPr>
            <p:cNvSpPr txBox="1"/>
            <p:nvPr/>
          </p:nvSpPr>
          <p:spPr>
            <a:xfrm>
              <a:off x="5857822" y="4657157"/>
              <a:ext cx="1509342" cy="5117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It describes the various stages which the project went through in the process.</a:t>
              </a:r>
              <a:endParaRPr kumimoji="0" lang="en-MY" sz="16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endParaRPr>
            </a:p>
          </p:txBody>
        </p:sp>
        <p:sp>
          <p:nvSpPr>
            <p:cNvPr id="14" name="TextBox 13">
              <a:extLst>
                <a:ext uri="{FF2B5EF4-FFF2-40B4-BE49-F238E27FC236}">
                  <a16:creationId xmlns:a16="http://schemas.microsoft.com/office/drawing/2014/main" id="{F6415B20-7FC5-AEEA-2C9B-E209EC967FF4}"/>
                </a:ext>
              </a:extLst>
            </p:cNvPr>
            <p:cNvSpPr txBox="1"/>
            <p:nvPr/>
          </p:nvSpPr>
          <p:spPr>
            <a:xfrm>
              <a:off x="5851767" y="4010796"/>
              <a:ext cx="1795619" cy="4629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Project Timeline</a:t>
              </a:r>
              <a:endParaRPr kumimoji="0" lang="en-MY"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38" name="Picture 37">
            <a:extLst>
              <a:ext uri="{FF2B5EF4-FFF2-40B4-BE49-F238E27FC236}">
                <a16:creationId xmlns:a16="http://schemas.microsoft.com/office/drawing/2014/main" id="{6E1A42A3-E3CA-4557-8FAF-9EBA48619630}"/>
              </a:ext>
            </a:extLst>
          </p:cNvPr>
          <p:cNvPicPr>
            <a:picLocks noChangeAspect="1"/>
          </p:cNvPicPr>
          <p:nvPr/>
        </p:nvPicPr>
        <p:blipFill rotWithShape="1">
          <a:blip r:embed="rId6">
            <a:extLst>
              <a:ext uri="{28A0092B-C50C-407E-A947-70E740481C1C}">
                <a14:useLocalDpi xmlns:a14="http://schemas.microsoft.com/office/drawing/2010/main" val="0"/>
              </a:ext>
            </a:extLst>
          </a:blip>
          <a:srcRect l="31231" r="31613" b="2896"/>
          <a:stretch/>
        </p:blipFill>
        <p:spPr>
          <a:xfrm>
            <a:off x="5728040" y="2243280"/>
            <a:ext cx="1576715" cy="3090411"/>
          </a:xfrm>
          <a:prstGeom prst="roundRect">
            <a:avLst>
              <a:gd name="adj" fmla="val 50000"/>
            </a:avLst>
          </a:prstGeom>
        </p:spPr>
      </p:pic>
      <p:pic>
        <p:nvPicPr>
          <p:cNvPr id="18" name="Picture 17">
            <a:extLst>
              <a:ext uri="{FF2B5EF4-FFF2-40B4-BE49-F238E27FC236}">
                <a16:creationId xmlns:a16="http://schemas.microsoft.com/office/drawing/2014/main" id="{0272CDB8-FF82-4C46-A52F-04D290D864AE}"/>
              </a:ext>
            </a:extLst>
          </p:cNvPr>
          <p:cNvPicPr>
            <a:picLocks noChangeAspect="1"/>
          </p:cNvPicPr>
          <p:nvPr/>
        </p:nvPicPr>
        <p:blipFill rotWithShape="1">
          <a:blip r:embed="rId7">
            <a:extLst>
              <a:ext uri="{28A0092B-C50C-407E-A947-70E740481C1C}">
                <a14:useLocalDpi xmlns:a14="http://schemas.microsoft.com/office/drawing/2010/main" val="0"/>
              </a:ext>
            </a:extLst>
          </a:blip>
          <a:srcRect l="30110" t="20068" r="46008" b="17521"/>
          <a:stretch/>
        </p:blipFill>
        <p:spPr>
          <a:xfrm>
            <a:off x="7727003" y="958194"/>
            <a:ext cx="1576715" cy="3090411"/>
          </a:xfrm>
          <a:prstGeom prst="roundRect">
            <a:avLst>
              <a:gd name="adj" fmla="val 50000"/>
            </a:avLst>
          </a:prstGeom>
        </p:spPr>
      </p:pic>
      <p:pic>
        <p:nvPicPr>
          <p:cNvPr id="23" name="Picture 22">
            <a:extLst>
              <a:ext uri="{FF2B5EF4-FFF2-40B4-BE49-F238E27FC236}">
                <a16:creationId xmlns:a16="http://schemas.microsoft.com/office/drawing/2014/main" id="{D131EC4A-C30A-4127-B9D2-B781D849E55C}"/>
              </a:ext>
            </a:extLst>
          </p:cNvPr>
          <p:cNvPicPr>
            <a:picLocks noChangeAspect="1"/>
          </p:cNvPicPr>
          <p:nvPr/>
        </p:nvPicPr>
        <p:blipFill rotWithShape="1">
          <a:blip r:embed="rId8">
            <a:extLst>
              <a:ext uri="{28A0092B-C50C-407E-A947-70E740481C1C}">
                <a14:useLocalDpi xmlns:a14="http://schemas.microsoft.com/office/drawing/2010/main" val="0"/>
              </a:ext>
            </a:extLst>
          </a:blip>
          <a:srcRect l="26019" r="35717"/>
          <a:stretch/>
        </p:blipFill>
        <p:spPr>
          <a:xfrm>
            <a:off x="9658594" y="2204740"/>
            <a:ext cx="1576715" cy="3090411"/>
          </a:xfrm>
          <a:prstGeom prst="roundRect">
            <a:avLst>
              <a:gd name="adj" fmla="val 50000"/>
            </a:avLst>
          </a:prstGeom>
        </p:spPr>
      </p:pic>
      <p:grpSp>
        <p:nvGrpSpPr>
          <p:cNvPr id="19" name="Group 18">
            <a:extLst>
              <a:ext uri="{FF2B5EF4-FFF2-40B4-BE49-F238E27FC236}">
                <a16:creationId xmlns:a16="http://schemas.microsoft.com/office/drawing/2014/main" id="{7BB19C30-BCBE-D084-5AE7-86BAC6CF61C3}"/>
              </a:ext>
            </a:extLst>
          </p:cNvPr>
          <p:cNvGrpSpPr/>
          <p:nvPr/>
        </p:nvGrpSpPr>
        <p:grpSpPr>
          <a:xfrm>
            <a:off x="0" y="6674"/>
            <a:ext cx="5974995" cy="369332"/>
            <a:chOff x="0" y="6674"/>
            <a:chExt cx="5974995" cy="369332"/>
          </a:xfrm>
        </p:grpSpPr>
        <p:sp>
          <p:nvSpPr>
            <p:cNvPr id="20" name="TextBox 19">
              <a:extLst>
                <a:ext uri="{FF2B5EF4-FFF2-40B4-BE49-F238E27FC236}">
                  <a16:creationId xmlns:a16="http://schemas.microsoft.com/office/drawing/2014/main" id="{A17A53B1-A0B2-9BB3-33D7-6D85938EF242}"/>
                </a:ext>
              </a:extLst>
            </p:cNvPr>
            <p:cNvSpPr txBox="1"/>
            <p:nvPr/>
          </p:nvSpPr>
          <p:spPr>
            <a:xfrm>
              <a:off x="0" y="6674"/>
              <a:ext cx="115303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lumMod val="95000"/>
                    </a:schemeClr>
                  </a:solidFill>
                  <a:effectLst/>
                  <a:uLnTx/>
                  <a:uFillTx/>
                  <a:latin typeface="Century Gothic" panose="020B0502020202020204" pitchFamily="34" charset="0"/>
                  <a:ea typeface="+mn-ea"/>
                  <a:cs typeface="+mn-cs"/>
                </a:rPr>
                <a:t>RELAX</a:t>
              </a:r>
              <a:endParaRPr kumimoji="0" lang="en-MY"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FCD9CE9E-B3EB-ECA5-C8FD-B318B410CF2C}"/>
                </a:ext>
              </a:extLst>
            </p:cNvPr>
            <p:cNvSpPr txBox="1"/>
            <p:nvPr/>
          </p:nvSpPr>
          <p:spPr>
            <a:xfrm>
              <a:off x="1069648" y="28514"/>
              <a:ext cx="152520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95000"/>
                    </a:schemeClr>
                  </a:solidFill>
                  <a:effectLst/>
                  <a:uLnTx/>
                  <a:uFillTx/>
                  <a:latin typeface="Century Gothic" panose="020B0502020202020204" pitchFamily="34" charset="0"/>
                  <a:ea typeface="+mn-ea"/>
                  <a:cs typeface="+mn-cs"/>
                </a:rPr>
                <a:t>Challenges</a:t>
              </a:r>
              <a:endParaRPr kumimoji="0" lang="en-MY" sz="14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99B799B1-F596-1E9D-4225-C5E79AA7E5E4}"/>
                </a:ext>
              </a:extLst>
            </p:cNvPr>
            <p:cNvSpPr txBox="1"/>
            <p:nvPr/>
          </p:nvSpPr>
          <p:spPr>
            <a:xfrm>
              <a:off x="2300314" y="35023"/>
              <a:ext cx="159259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95000"/>
                    </a:schemeClr>
                  </a:solidFill>
                  <a:effectLst/>
                  <a:uLnTx/>
                  <a:uFillTx/>
                  <a:latin typeface="Century Gothic" panose="020B0502020202020204" pitchFamily="34" charset="0"/>
                  <a:ea typeface="+mn-ea"/>
                  <a:cs typeface="+mn-cs"/>
                </a:rPr>
                <a:t>Enhancements </a:t>
              </a:r>
              <a:endParaRPr kumimoji="0" lang="en-MY" sz="14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A985F112-9CA6-2D1E-5E3A-E7950BAB5374}"/>
                </a:ext>
              </a:extLst>
            </p:cNvPr>
            <p:cNvSpPr txBox="1"/>
            <p:nvPr/>
          </p:nvSpPr>
          <p:spPr>
            <a:xfrm>
              <a:off x="3913368" y="17901"/>
              <a:ext cx="206162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95000"/>
                    </a:schemeClr>
                  </a:solidFill>
                  <a:effectLst/>
                  <a:uLnTx/>
                  <a:uFillTx/>
                  <a:latin typeface="Century Gothic" panose="020B0502020202020204" pitchFamily="34" charset="0"/>
                  <a:ea typeface="+mn-ea"/>
                  <a:cs typeface="+mn-cs"/>
                </a:rPr>
                <a:t>Project Timeline </a:t>
              </a:r>
              <a:endParaRPr kumimoji="0" lang="en-MY" sz="14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421883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advTm="1000">
        <p159:morph option="byObject"/>
      </p:transition>
    </mc:Choice>
    <mc:Fallback xmlns="">
      <p:transition spd="slow" advTm="1000">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82AEB0E7-F447-4AD0-995C-D4CFE3BDB603}"/>
              </a:ext>
            </a:extLst>
          </p:cNvPr>
          <p:cNvPicPr>
            <a:picLocks noChangeAspect="1"/>
          </p:cNvPicPr>
          <p:nvPr/>
        </p:nvPicPr>
        <p:blipFill>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p:blipFill>
        <p:spPr>
          <a:xfrm>
            <a:off x="-4892009" y="-958782"/>
            <a:ext cx="14963735" cy="8420270"/>
          </a:xfrm>
          <a:prstGeom prst="roundRect">
            <a:avLst>
              <a:gd name="adj" fmla="val 50000"/>
            </a:avLst>
          </a:prstGeom>
        </p:spPr>
      </p:pic>
      <p:sp>
        <p:nvSpPr>
          <p:cNvPr id="24" name="Oval 23">
            <a:extLst>
              <a:ext uri="{FF2B5EF4-FFF2-40B4-BE49-F238E27FC236}">
                <a16:creationId xmlns:a16="http://schemas.microsoft.com/office/drawing/2014/main" id="{DB6F3B1A-9E08-44A2-95F2-9F2E21010EAF}"/>
              </a:ext>
            </a:extLst>
          </p:cNvPr>
          <p:cNvSpPr/>
          <p:nvPr/>
        </p:nvSpPr>
        <p:spPr>
          <a:xfrm>
            <a:off x="4760654" y="-4083794"/>
            <a:ext cx="14687411" cy="15471777"/>
          </a:xfrm>
          <a:prstGeom prst="ellipse">
            <a:avLst/>
          </a:prstGeom>
          <a:solidFill>
            <a:schemeClr val="tx1">
              <a:lumMod val="85000"/>
              <a:lumOff val="15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5" name="Picture 24">
            <a:extLst>
              <a:ext uri="{FF2B5EF4-FFF2-40B4-BE49-F238E27FC236}">
                <a16:creationId xmlns:a16="http://schemas.microsoft.com/office/drawing/2014/main" id="{885ED121-AF43-4016-82BF-BD7E88583A42}"/>
              </a:ext>
            </a:extLst>
          </p:cNvPr>
          <p:cNvPicPr>
            <a:picLocks noChangeAspect="1"/>
          </p:cNvPicPr>
          <p:nvPr/>
        </p:nvPicPr>
        <p:blipFill>
          <a:blip r:embed="rId4">
            <a:duotone>
              <a:prstClr val="black"/>
              <a:srgbClr val="7030A0">
                <a:tint val="45000"/>
                <a:satMod val="400000"/>
              </a:srgbClr>
            </a:duotone>
          </a:blip>
          <a:stretch>
            <a:fillRect/>
          </a:stretch>
        </p:blipFill>
        <p:spPr>
          <a:xfrm>
            <a:off x="4920023" y="3251353"/>
            <a:ext cx="452118" cy="801484"/>
          </a:xfrm>
          <a:prstGeom prst="rect">
            <a:avLst/>
          </a:prstGeom>
          <a:noFill/>
        </p:spPr>
      </p:pic>
      <p:sp>
        <p:nvSpPr>
          <p:cNvPr id="19" name="Rectangle: Rounded Corners 18">
            <a:extLst>
              <a:ext uri="{FF2B5EF4-FFF2-40B4-BE49-F238E27FC236}">
                <a16:creationId xmlns:a16="http://schemas.microsoft.com/office/drawing/2014/main" id="{C8B4D6BD-CA0E-4B65-89FA-CD74AD273D4F}"/>
              </a:ext>
            </a:extLst>
          </p:cNvPr>
          <p:cNvSpPr/>
          <p:nvPr/>
        </p:nvSpPr>
        <p:spPr>
          <a:xfrm rot="18000000">
            <a:off x="17041043" y="3080267"/>
            <a:ext cx="7167346" cy="7555465"/>
          </a:xfrm>
          <a:prstGeom prst="roundRect">
            <a:avLst>
              <a:gd name="adj" fmla="val 23523"/>
            </a:avLst>
          </a:prstGeom>
          <a:gradFill flip="none" rotWithShape="1">
            <a:gsLst>
              <a:gs pos="0">
                <a:srgbClr val="4595F3"/>
              </a:gs>
              <a:gs pos="50000">
                <a:srgbClr val="578EEC"/>
              </a:gs>
              <a:gs pos="100000">
                <a:srgbClr val="6D84E3"/>
              </a:gs>
            </a:gsLst>
            <a:lin ang="189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 name="Group 2">
            <a:extLst>
              <a:ext uri="{FF2B5EF4-FFF2-40B4-BE49-F238E27FC236}">
                <a16:creationId xmlns:a16="http://schemas.microsoft.com/office/drawing/2014/main" id="{36FBA578-6479-4EC7-B348-91A55A2C4402}"/>
              </a:ext>
            </a:extLst>
          </p:cNvPr>
          <p:cNvGrpSpPr/>
          <p:nvPr/>
        </p:nvGrpSpPr>
        <p:grpSpPr>
          <a:xfrm>
            <a:off x="8958300" y="-7261695"/>
            <a:ext cx="8211469" cy="7641093"/>
            <a:chOff x="-7359647" y="3481383"/>
            <a:chExt cx="8211469" cy="7641093"/>
          </a:xfrm>
        </p:grpSpPr>
        <p:sp>
          <p:nvSpPr>
            <p:cNvPr id="40" name="Freeform: Shape 39">
              <a:extLst>
                <a:ext uri="{FF2B5EF4-FFF2-40B4-BE49-F238E27FC236}">
                  <a16:creationId xmlns:a16="http://schemas.microsoft.com/office/drawing/2014/main" id="{BA3C308C-EE1A-411E-BA2E-15B400E6EB90}"/>
                </a:ext>
              </a:extLst>
            </p:cNvPr>
            <p:cNvSpPr/>
            <p:nvPr/>
          </p:nvSpPr>
          <p:spPr>
            <a:xfrm rot="5400000">
              <a:off x="-7074459" y="3196195"/>
              <a:ext cx="7641093" cy="8211469"/>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5">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94DAB6AB-D604-4B8C-9024-5AC1623CB503}"/>
                </a:ext>
              </a:extLst>
            </p:cNvPr>
            <p:cNvSpPr/>
            <p:nvPr/>
          </p:nvSpPr>
          <p:spPr>
            <a:xfrm rot="5400000">
              <a:off x="-6543154" y="3693520"/>
              <a:ext cx="6715530" cy="7216817"/>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5">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A32C31A9-97E1-404A-96BB-4D7A32F02E15}"/>
              </a:ext>
            </a:extLst>
          </p:cNvPr>
          <p:cNvGrpSpPr/>
          <p:nvPr/>
        </p:nvGrpSpPr>
        <p:grpSpPr>
          <a:xfrm>
            <a:off x="-7207247" y="3633783"/>
            <a:ext cx="8211469" cy="7641093"/>
            <a:chOff x="-7359647" y="3481383"/>
            <a:chExt cx="8211469" cy="7641093"/>
          </a:xfrm>
        </p:grpSpPr>
        <p:sp>
          <p:nvSpPr>
            <p:cNvPr id="32" name="Freeform: Shape 31">
              <a:extLst>
                <a:ext uri="{FF2B5EF4-FFF2-40B4-BE49-F238E27FC236}">
                  <a16:creationId xmlns:a16="http://schemas.microsoft.com/office/drawing/2014/main" id="{7205819D-1C20-4A99-9D49-41E53AB19272}"/>
                </a:ext>
              </a:extLst>
            </p:cNvPr>
            <p:cNvSpPr/>
            <p:nvPr/>
          </p:nvSpPr>
          <p:spPr>
            <a:xfrm rot="5400000">
              <a:off x="-7074459" y="3196195"/>
              <a:ext cx="7641093" cy="8211469"/>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5">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Freeform: Shape 32">
              <a:extLst>
                <a:ext uri="{FF2B5EF4-FFF2-40B4-BE49-F238E27FC236}">
                  <a16:creationId xmlns:a16="http://schemas.microsoft.com/office/drawing/2014/main" id="{B44AE08C-96C5-4E3A-AB2B-3D6B7B8F7536}"/>
                </a:ext>
              </a:extLst>
            </p:cNvPr>
            <p:cNvSpPr/>
            <p:nvPr/>
          </p:nvSpPr>
          <p:spPr>
            <a:xfrm rot="5400000">
              <a:off x="-6543154" y="3693520"/>
              <a:ext cx="6715530" cy="7216817"/>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5">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57" name="TextBox 56">
            <a:extLst>
              <a:ext uri="{FF2B5EF4-FFF2-40B4-BE49-F238E27FC236}">
                <a16:creationId xmlns:a16="http://schemas.microsoft.com/office/drawing/2014/main" id="{158D3565-4AD6-4EAA-9DDC-7B94E8AB73A7}"/>
              </a:ext>
            </a:extLst>
          </p:cNvPr>
          <p:cNvSpPr txBox="1"/>
          <p:nvPr/>
        </p:nvSpPr>
        <p:spPr>
          <a:xfrm>
            <a:off x="-5051158" y="1752302"/>
            <a:ext cx="3178871"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STYLE</a:t>
            </a:r>
            <a:endParaRPr kumimoji="0" lang="en-US" sz="8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58" name="TextBox 57">
            <a:extLst>
              <a:ext uri="{FF2B5EF4-FFF2-40B4-BE49-F238E27FC236}">
                <a16:creationId xmlns:a16="http://schemas.microsoft.com/office/drawing/2014/main" id="{1770D3D4-E369-414F-96E8-10048564DCA2}"/>
              </a:ext>
            </a:extLst>
          </p:cNvPr>
          <p:cNvSpPr txBox="1"/>
          <p:nvPr/>
        </p:nvSpPr>
        <p:spPr>
          <a:xfrm>
            <a:off x="-5996684" y="2692553"/>
            <a:ext cx="3655960"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dirty="0">
                <a:ln>
                  <a:solidFill>
                    <a:prstClr val="white"/>
                  </a:solidFill>
                </a:ln>
                <a:noFill/>
                <a:effectLst/>
                <a:uLnTx/>
                <a:uFillTx/>
                <a:latin typeface="Century Gothic" panose="020B0502020202020204" pitchFamily="34" charset="0"/>
                <a:ea typeface="+mn-ea"/>
                <a:cs typeface="+mn-cs"/>
              </a:rPr>
              <a:t>OF</a:t>
            </a:r>
            <a:endParaRPr kumimoji="0" lang="en-MY" sz="2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TextBox 58">
            <a:extLst>
              <a:ext uri="{FF2B5EF4-FFF2-40B4-BE49-F238E27FC236}">
                <a16:creationId xmlns:a16="http://schemas.microsoft.com/office/drawing/2014/main" id="{2F050E68-7944-4052-83CB-9487C1914970}"/>
              </a:ext>
            </a:extLst>
          </p:cNvPr>
          <p:cNvSpPr txBox="1"/>
          <p:nvPr/>
        </p:nvSpPr>
        <p:spPr>
          <a:xfrm>
            <a:off x="-7993273" y="3227856"/>
            <a:ext cx="4267680" cy="2215991"/>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800" b="1" i="0" u="none" strike="noStrike" kern="1200" cap="none" spc="0" normalizeH="0" baseline="0" noProof="0" dirty="0">
                <a:ln>
                  <a:noFill/>
                </a:ln>
                <a:solidFill>
                  <a:prstClr val="white"/>
                </a:solidFill>
                <a:effectLst/>
                <a:uLnTx/>
                <a:uFillTx/>
                <a:latin typeface="Delighty" panose="02000600000000000000" pitchFamily="2" charset="0"/>
                <a:ea typeface="+mn-ea"/>
                <a:cs typeface="+mn-cs"/>
              </a:rPr>
              <a:t>Tey</a:t>
            </a:r>
            <a:r>
              <a:rPr kumimoji="0" lang="en-US" sz="13800" b="1" i="0" u="none" strike="noStrike" kern="1200" cap="none" spc="0" normalizeH="0" baseline="0" noProof="0" dirty="0">
                <a:ln>
                  <a:solidFill>
                    <a:prstClr val="white"/>
                  </a:solidFill>
                </a:ln>
                <a:noFill/>
                <a:effectLst/>
                <a:uLnTx/>
                <a:uFillTx/>
                <a:latin typeface="Delighty" panose="02000600000000000000" pitchFamily="2" charset="0"/>
                <a:ea typeface="+mn-ea"/>
                <a:cs typeface="+mn-cs"/>
              </a:rPr>
              <a:t>V</a:t>
            </a:r>
            <a:r>
              <a:rPr kumimoji="0" lang="en-US" sz="13800" b="1" i="0" u="none" strike="noStrike" kern="1200" cap="none" spc="0" normalizeH="0" baseline="0" noProof="0" dirty="0">
                <a:ln>
                  <a:noFill/>
                </a:ln>
                <a:solidFill>
                  <a:prstClr val="white"/>
                </a:solidFill>
                <a:effectLst/>
                <a:uLnTx/>
                <a:uFillTx/>
                <a:latin typeface="Delighty" panose="02000600000000000000" pitchFamily="2" charset="0"/>
                <a:ea typeface="+mn-ea"/>
                <a:cs typeface="+mn-cs"/>
              </a:rPr>
              <a:t>AT</a:t>
            </a:r>
            <a:endParaRPr kumimoji="0" lang="en-MY" sz="3600" b="0" i="0" u="none" strike="noStrike" kern="1200" cap="none" spc="0" normalizeH="0" baseline="0" noProof="0" dirty="0">
              <a:ln>
                <a:noFill/>
              </a:ln>
              <a:solidFill>
                <a:prstClr val="white"/>
              </a:solidFill>
              <a:effectLst/>
              <a:uLnTx/>
              <a:uFillTx/>
              <a:latin typeface="Delighty" panose="02000600000000000000" pitchFamily="2" charset="0"/>
              <a:ea typeface="+mn-ea"/>
              <a:cs typeface="+mn-cs"/>
            </a:endParaRPr>
          </a:p>
        </p:txBody>
      </p:sp>
      <p:sp>
        <p:nvSpPr>
          <p:cNvPr id="4" name="TextBox 3">
            <a:extLst>
              <a:ext uri="{FF2B5EF4-FFF2-40B4-BE49-F238E27FC236}">
                <a16:creationId xmlns:a16="http://schemas.microsoft.com/office/drawing/2014/main" id="{4C2E40FB-1DE6-285C-F6D9-6BFC9D3AC9B8}"/>
              </a:ext>
            </a:extLst>
          </p:cNvPr>
          <p:cNvSpPr txBox="1"/>
          <p:nvPr/>
        </p:nvSpPr>
        <p:spPr>
          <a:xfrm>
            <a:off x="917138" y="620566"/>
            <a:ext cx="517213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PROJECT</a:t>
            </a:r>
          </a:p>
        </p:txBody>
      </p:sp>
      <p:sp>
        <p:nvSpPr>
          <p:cNvPr id="5" name="TextBox 4">
            <a:extLst>
              <a:ext uri="{FF2B5EF4-FFF2-40B4-BE49-F238E27FC236}">
                <a16:creationId xmlns:a16="http://schemas.microsoft.com/office/drawing/2014/main" id="{F6BB06DB-E4B5-CDCA-CB67-6B7F54822B72}"/>
              </a:ext>
            </a:extLst>
          </p:cNvPr>
          <p:cNvSpPr txBox="1"/>
          <p:nvPr/>
        </p:nvSpPr>
        <p:spPr>
          <a:xfrm>
            <a:off x="1698812" y="1238520"/>
            <a:ext cx="365596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solidFill>
                    <a:prstClr val="white"/>
                  </a:solidFill>
                </a:ln>
                <a:noFill/>
                <a:effectLst/>
                <a:uLnTx/>
                <a:uFillTx/>
                <a:latin typeface="Century Gothic" panose="020B0502020202020204" pitchFamily="34" charset="0"/>
                <a:ea typeface="+mn-ea"/>
                <a:cs typeface="+mn-cs"/>
              </a:rPr>
              <a:t>TIME </a:t>
            </a:r>
            <a:r>
              <a:rPr kumimoji="0" lang="en-US" sz="4800" b="1" i="0" u="none" strike="noStrike" kern="1200" cap="none" spc="0" normalizeH="0" baseline="0" noProof="0" dirty="0">
                <a:ln>
                  <a:solidFill>
                    <a:prstClr val="white"/>
                  </a:solidFill>
                </a:ln>
                <a:solidFill>
                  <a:schemeClr val="bg1"/>
                </a:solidFill>
                <a:effectLst/>
                <a:uLnTx/>
                <a:uFillTx/>
                <a:latin typeface="Century Gothic" panose="020B0502020202020204" pitchFamily="34" charset="0"/>
                <a:ea typeface="+mn-ea"/>
                <a:cs typeface="+mn-cs"/>
              </a:rPr>
              <a:t>LINE </a:t>
            </a:r>
            <a:endParaRPr kumimoji="0" lang="en-MY" sz="48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762A6DE0-B0C8-B2CB-9FDF-897828E3E05A}"/>
              </a:ext>
            </a:extLst>
          </p:cNvPr>
          <p:cNvSpPr txBox="1"/>
          <p:nvPr/>
        </p:nvSpPr>
        <p:spPr>
          <a:xfrm>
            <a:off x="379480" y="2367757"/>
            <a:ext cx="5334658" cy="3370153"/>
          </a:xfrm>
          <a:prstGeom prst="rect">
            <a:avLst/>
          </a:prstGeom>
          <a:noFill/>
        </p:spPr>
        <p:txBody>
          <a:bodyPr wrap="square">
            <a:spAutoFit/>
          </a:bodyPr>
          <a:lstStyle/>
          <a:p>
            <a:pPr marL="514350" marR="0" lvl="0" indent="-514350" algn="l" defTabSz="914400" rtl="0" eaLnBrk="1" fontAlgn="auto" latinLnBrk="0" hangingPunct="1">
              <a:lnSpc>
                <a:spcPct val="150000"/>
              </a:lnSpc>
              <a:spcBef>
                <a:spcPts val="0"/>
              </a:spcBef>
              <a:spcAft>
                <a:spcPts val="0"/>
              </a:spcAft>
              <a:buClrTx/>
              <a:buSzTx/>
              <a:buFont typeface="+mj-lt"/>
              <a:buAutoNum type="alphaUcPeriod"/>
              <a:tabLst/>
              <a:defRPr/>
            </a:pPr>
            <a:r>
              <a:rPr kumimoji="0" lang="en-IN" sz="2400" b="0" i="0" u="none" strike="noStrike" kern="1200" cap="none" spc="0" normalizeH="0" baseline="0" noProof="0" dirty="0">
                <a:ln>
                  <a:noFill/>
                </a:ln>
                <a:solidFill>
                  <a:prstClr val="white"/>
                </a:solidFill>
                <a:effectLst/>
                <a:uLnTx/>
                <a:uFillTx/>
                <a:latin typeface="Lucida Handwriting" panose="03010101010101010101" pitchFamily="66" charset="0"/>
                <a:ea typeface="Malgun Gothic" panose="020B0503020000020004" pitchFamily="34" charset="-127"/>
                <a:cs typeface="Cordia New" panose="020B0304020202020204" pitchFamily="34" charset="-34"/>
              </a:rPr>
              <a:t>Planning &amp; research phase </a:t>
            </a:r>
          </a:p>
          <a:p>
            <a:pPr marL="514350" marR="0" lvl="0" indent="-514350" algn="l" defTabSz="914400" rtl="0" eaLnBrk="1" fontAlgn="auto" latinLnBrk="0" hangingPunct="1">
              <a:lnSpc>
                <a:spcPct val="150000"/>
              </a:lnSpc>
              <a:spcBef>
                <a:spcPts val="0"/>
              </a:spcBef>
              <a:spcAft>
                <a:spcPts val="0"/>
              </a:spcAft>
              <a:buClrTx/>
              <a:buSzTx/>
              <a:buFont typeface="+mj-lt"/>
              <a:buAutoNum type="alphaUcPeriod"/>
              <a:tabLst/>
              <a:defRPr/>
            </a:pPr>
            <a:r>
              <a:rPr kumimoji="0" lang="en-IN" sz="2400" b="0" i="0" u="none" strike="noStrike" kern="1200" cap="none" spc="0" normalizeH="0" baseline="0" noProof="0" dirty="0">
                <a:ln>
                  <a:noFill/>
                </a:ln>
                <a:solidFill>
                  <a:prstClr val="white"/>
                </a:solidFill>
                <a:effectLst/>
                <a:uLnTx/>
                <a:uFillTx/>
                <a:latin typeface="Lucida Handwriting" panose="03010101010101010101" pitchFamily="66" charset="0"/>
                <a:ea typeface="Malgun Gothic" panose="020B0503020000020004" pitchFamily="34" charset="-127"/>
                <a:cs typeface="Cordia New" panose="020B0304020202020204" pitchFamily="34" charset="-34"/>
              </a:rPr>
              <a:t>Design phase </a:t>
            </a:r>
          </a:p>
          <a:p>
            <a:pPr marL="514350" marR="0" lvl="0" indent="-514350" algn="l" defTabSz="914400" rtl="0" eaLnBrk="1" fontAlgn="auto" latinLnBrk="0" hangingPunct="1">
              <a:lnSpc>
                <a:spcPct val="150000"/>
              </a:lnSpc>
              <a:spcBef>
                <a:spcPts val="0"/>
              </a:spcBef>
              <a:spcAft>
                <a:spcPts val="0"/>
              </a:spcAft>
              <a:buClrTx/>
              <a:buSzTx/>
              <a:buFont typeface="+mj-lt"/>
              <a:buAutoNum type="alphaUcPeriod"/>
              <a:tabLst/>
              <a:defRPr/>
            </a:pPr>
            <a:r>
              <a:rPr kumimoji="0" lang="en-IN" sz="2400" b="0" i="0" u="none" strike="noStrike" kern="1200" cap="none" spc="0" normalizeH="0" baseline="0" noProof="0" dirty="0">
                <a:ln>
                  <a:noFill/>
                </a:ln>
                <a:solidFill>
                  <a:prstClr val="white"/>
                </a:solidFill>
                <a:effectLst/>
                <a:uLnTx/>
                <a:uFillTx/>
                <a:latin typeface="Lucida Handwriting" panose="03010101010101010101" pitchFamily="66" charset="0"/>
                <a:ea typeface="Malgun Gothic" panose="020B0503020000020004" pitchFamily="34" charset="-127"/>
                <a:cs typeface="Cordia New" panose="020B0304020202020204" pitchFamily="34" charset="-34"/>
              </a:rPr>
              <a:t>D</a:t>
            </a:r>
            <a:r>
              <a:rPr kumimoji="0" lang="en-IN" sz="2400" b="0" i="0" u="none" strike="noStrike" kern="1200" cap="none" spc="0" normalizeH="0" baseline="0" noProof="0" dirty="0" err="1">
                <a:ln>
                  <a:noFill/>
                </a:ln>
                <a:solidFill>
                  <a:prstClr val="white"/>
                </a:solidFill>
                <a:effectLst/>
                <a:uLnTx/>
                <a:uFillTx/>
                <a:latin typeface="Lucida Handwriting" panose="03010101010101010101" pitchFamily="66" charset="0"/>
                <a:ea typeface="Malgun Gothic" panose="020B0503020000020004" pitchFamily="34" charset="-127"/>
                <a:cs typeface="Cordia New" panose="020B0304020202020204" pitchFamily="34" charset="-34"/>
              </a:rPr>
              <a:t>evelopment</a:t>
            </a:r>
            <a:r>
              <a:rPr kumimoji="0" lang="en-IN" sz="2400" b="0" i="0" u="none" strike="noStrike" kern="1200" cap="none" spc="0" normalizeH="0" baseline="0" noProof="0" dirty="0">
                <a:ln>
                  <a:noFill/>
                </a:ln>
                <a:solidFill>
                  <a:prstClr val="white"/>
                </a:solidFill>
                <a:effectLst/>
                <a:uLnTx/>
                <a:uFillTx/>
                <a:latin typeface="Lucida Handwriting" panose="03010101010101010101" pitchFamily="66" charset="0"/>
                <a:ea typeface="Malgun Gothic" panose="020B0503020000020004" pitchFamily="34" charset="-127"/>
                <a:cs typeface="Cordia New" panose="020B0304020202020204" pitchFamily="34" charset="-34"/>
              </a:rPr>
              <a:t> phase</a:t>
            </a:r>
          </a:p>
          <a:p>
            <a:pPr marL="514350" marR="0" lvl="0" indent="-514350" algn="l" defTabSz="914400" rtl="0" eaLnBrk="1" fontAlgn="auto" latinLnBrk="0" hangingPunct="1">
              <a:lnSpc>
                <a:spcPct val="150000"/>
              </a:lnSpc>
              <a:spcBef>
                <a:spcPts val="0"/>
              </a:spcBef>
              <a:spcAft>
                <a:spcPts val="0"/>
              </a:spcAft>
              <a:buClrTx/>
              <a:buSzTx/>
              <a:buFont typeface="+mj-lt"/>
              <a:buAutoNum type="alphaUcPeriod"/>
              <a:tabLst/>
              <a:defRPr/>
            </a:pPr>
            <a:r>
              <a:rPr kumimoji="0" lang="en-IN" sz="2400" b="0" i="0" u="none" strike="noStrike" kern="1200" cap="none" spc="0" normalizeH="0" baseline="0" noProof="0" dirty="0">
                <a:ln>
                  <a:noFill/>
                </a:ln>
                <a:solidFill>
                  <a:prstClr val="white"/>
                </a:solidFill>
                <a:effectLst/>
                <a:uLnTx/>
                <a:uFillTx/>
                <a:latin typeface="Lucida Handwriting" panose="03010101010101010101" pitchFamily="66" charset="0"/>
                <a:ea typeface="Malgun Gothic" panose="020B0503020000020004" pitchFamily="34" charset="-127"/>
                <a:cs typeface="Cordia New" panose="020B0304020202020204" pitchFamily="34" charset="-34"/>
              </a:rPr>
              <a:t>Testing phase</a:t>
            </a:r>
          </a:p>
          <a:p>
            <a:pPr marL="514350" marR="0" lvl="0" indent="-514350" algn="l" defTabSz="914400" rtl="0" eaLnBrk="1" fontAlgn="auto" latinLnBrk="0" hangingPunct="1">
              <a:lnSpc>
                <a:spcPct val="150000"/>
              </a:lnSpc>
              <a:spcBef>
                <a:spcPts val="0"/>
              </a:spcBef>
              <a:spcAft>
                <a:spcPts val="0"/>
              </a:spcAft>
              <a:buClrTx/>
              <a:buSzTx/>
              <a:buFont typeface="+mj-lt"/>
              <a:buAutoNum type="alphaUcPeriod"/>
              <a:tabLst/>
              <a:defRPr/>
            </a:pPr>
            <a:r>
              <a:rPr kumimoji="0" lang="en-IN" sz="2400" b="0" i="0" u="none" strike="noStrike" kern="1200" cap="none" spc="0" normalizeH="0" baseline="0" noProof="0" dirty="0">
                <a:ln>
                  <a:noFill/>
                </a:ln>
                <a:solidFill>
                  <a:prstClr val="white"/>
                </a:solidFill>
                <a:effectLst/>
                <a:uLnTx/>
                <a:uFillTx/>
                <a:latin typeface="Lucida Handwriting" panose="03010101010101010101" pitchFamily="66" charset="0"/>
                <a:ea typeface="Malgun Gothic" panose="020B0503020000020004" pitchFamily="34" charset="-127"/>
                <a:cs typeface="Cordia New" panose="020B0304020202020204" pitchFamily="34" charset="-34"/>
              </a:rPr>
              <a:t>Deployment phase</a:t>
            </a:r>
            <a:endParaRPr kumimoji="0" lang="en-IN" sz="2400" b="0" i="0" u="none" strike="noStrike" kern="1200" cap="none" spc="0" normalizeH="0" baseline="0" noProof="0" dirty="0">
              <a:ln>
                <a:noFill/>
              </a:ln>
              <a:solidFill>
                <a:prstClr val="white"/>
              </a:solidFill>
              <a:effectLst/>
              <a:uLnTx/>
              <a:uFillTx/>
              <a:latin typeface="Lucida Handwriting" panose="03010101010101010101" pitchFamily="66" charset="0"/>
              <a:ea typeface="+mn-ea"/>
              <a:cs typeface="+mn-cs"/>
            </a:endParaRPr>
          </a:p>
        </p:txBody>
      </p:sp>
      <p:grpSp>
        <p:nvGrpSpPr>
          <p:cNvPr id="7" name="Group 6">
            <a:extLst>
              <a:ext uri="{FF2B5EF4-FFF2-40B4-BE49-F238E27FC236}">
                <a16:creationId xmlns:a16="http://schemas.microsoft.com/office/drawing/2014/main" id="{90879040-73E5-C5FF-3C5D-6AE520D9B811}"/>
              </a:ext>
            </a:extLst>
          </p:cNvPr>
          <p:cNvGrpSpPr/>
          <p:nvPr/>
        </p:nvGrpSpPr>
        <p:grpSpPr>
          <a:xfrm>
            <a:off x="5846909" y="2789352"/>
            <a:ext cx="1590617" cy="1802977"/>
            <a:chOff x="5781510" y="4010797"/>
            <a:chExt cx="1590617" cy="1802977"/>
          </a:xfrm>
        </p:grpSpPr>
        <p:sp>
          <p:nvSpPr>
            <p:cNvPr id="8" name="TextBox 7">
              <a:extLst>
                <a:ext uri="{FF2B5EF4-FFF2-40B4-BE49-F238E27FC236}">
                  <a16:creationId xmlns:a16="http://schemas.microsoft.com/office/drawing/2014/main" id="{B98DBB2B-2964-74B2-D8F6-74C0C6EBF8CD}"/>
                </a:ext>
              </a:extLst>
            </p:cNvPr>
            <p:cNvSpPr txBox="1"/>
            <p:nvPr/>
          </p:nvSpPr>
          <p:spPr>
            <a:xfrm>
              <a:off x="5781510" y="5167443"/>
              <a:ext cx="150934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Some challenges may be encountered.</a:t>
              </a:r>
              <a:endParaRPr kumimoji="0" lang="en-MY" sz="16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endParaRPr>
            </a:p>
          </p:txBody>
        </p:sp>
        <p:sp>
          <p:nvSpPr>
            <p:cNvPr id="9" name="TextBox 8">
              <a:extLst>
                <a:ext uri="{FF2B5EF4-FFF2-40B4-BE49-F238E27FC236}">
                  <a16:creationId xmlns:a16="http://schemas.microsoft.com/office/drawing/2014/main" id="{D2605396-9290-8DEB-2FEA-5A087FA195DA}"/>
                </a:ext>
              </a:extLst>
            </p:cNvPr>
            <p:cNvSpPr txBox="1"/>
            <p:nvPr/>
          </p:nvSpPr>
          <p:spPr>
            <a:xfrm>
              <a:off x="5781510" y="4010797"/>
              <a:ext cx="1590617"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CHALLENGES</a:t>
              </a:r>
              <a:endParaRPr kumimoji="0" lang="en-MY"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 name="Group 9">
            <a:extLst>
              <a:ext uri="{FF2B5EF4-FFF2-40B4-BE49-F238E27FC236}">
                <a16:creationId xmlns:a16="http://schemas.microsoft.com/office/drawing/2014/main" id="{7B26CDC8-9319-5DCA-F8DE-131A9585CB93}"/>
              </a:ext>
            </a:extLst>
          </p:cNvPr>
          <p:cNvGrpSpPr/>
          <p:nvPr/>
        </p:nvGrpSpPr>
        <p:grpSpPr>
          <a:xfrm>
            <a:off x="7805571" y="2603767"/>
            <a:ext cx="1787190" cy="2555178"/>
            <a:chOff x="5851767" y="4010797"/>
            <a:chExt cx="1787190" cy="2555178"/>
          </a:xfrm>
        </p:grpSpPr>
        <p:sp>
          <p:nvSpPr>
            <p:cNvPr id="11" name="TextBox 10">
              <a:extLst>
                <a:ext uri="{FF2B5EF4-FFF2-40B4-BE49-F238E27FC236}">
                  <a16:creationId xmlns:a16="http://schemas.microsoft.com/office/drawing/2014/main" id="{4A0592AF-DDA5-40AD-BAD3-8DB4E6D166CA}"/>
                </a:ext>
              </a:extLst>
            </p:cNvPr>
            <p:cNvSpPr txBox="1"/>
            <p:nvPr/>
          </p:nvSpPr>
          <p:spPr>
            <a:xfrm>
              <a:off x="5851767" y="4996315"/>
              <a:ext cx="1509342"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6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This project provided us to learn and find new technology practices.</a:t>
              </a:r>
            </a:p>
          </p:txBody>
        </p:sp>
        <p:sp>
          <p:nvSpPr>
            <p:cNvPr id="12" name="TextBox 11">
              <a:extLst>
                <a:ext uri="{FF2B5EF4-FFF2-40B4-BE49-F238E27FC236}">
                  <a16:creationId xmlns:a16="http://schemas.microsoft.com/office/drawing/2014/main" id="{87F517B1-C184-626F-175C-E86715370D28}"/>
                </a:ext>
              </a:extLst>
            </p:cNvPr>
            <p:cNvSpPr txBox="1"/>
            <p:nvPr/>
          </p:nvSpPr>
          <p:spPr>
            <a:xfrm>
              <a:off x="5851767" y="4010797"/>
              <a:ext cx="1787190"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Opportunities</a:t>
              </a:r>
              <a:endParaRPr kumimoji="0" lang="en-MY"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3" name="Group 12">
            <a:extLst>
              <a:ext uri="{FF2B5EF4-FFF2-40B4-BE49-F238E27FC236}">
                <a16:creationId xmlns:a16="http://schemas.microsoft.com/office/drawing/2014/main" id="{CDEA8251-1C9F-55D8-76F5-D25B83786E14}"/>
              </a:ext>
            </a:extLst>
          </p:cNvPr>
          <p:cNvGrpSpPr/>
          <p:nvPr/>
        </p:nvGrpSpPr>
        <p:grpSpPr>
          <a:xfrm>
            <a:off x="9733979" y="4096563"/>
            <a:ext cx="2070856" cy="2013636"/>
            <a:chOff x="5851767" y="4010796"/>
            <a:chExt cx="1795619" cy="1158081"/>
          </a:xfrm>
        </p:grpSpPr>
        <p:sp>
          <p:nvSpPr>
            <p:cNvPr id="14" name="TextBox 13">
              <a:extLst>
                <a:ext uri="{FF2B5EF4-FFF2-40B4-BE49-F238E27FC236}">
                  <a16:creationId xmlns:a16="http://schemas.microsoft.com/office/drawing/2014/main" id="{58EF72AE-05FD-D2D8-747D-7B37860D0E82}"/>
                </a:ext>
              </a:extLst>
            </p:cNvPr>
            <p:cNvSpPr txBox="1"/>
            <p:nvPr/>
          </p:nvSpPr>
          <p:spPr>
            <a:xfrm>
              <a:off x="5857822" y="4657157"/>
              <a:ext cx="1509342" cy="5117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It describes the various stages which the project went through in the process.</a:t>
              </a:r>
              <a:endParaRPr kumimoji="0" lang="en-MY" sz="16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endParaRPr>
            </a:p>
          </p:txBody>
        </p:sp>
        <p:sp>
          <p:nvSpPr>
            <p:cNvPr id="15" name="TextBox 14">
              <a:extLst>
                <a:ext uri="{FF2B5EF4-FFF2-40B4-BE49-F238E27FC236}">
                  <a16:creationId xmlns:a16="http://schemas.microsoft.com/office/drawing/2014/main" id="{782BFC44-4BA4-AE3D-3FA8-EEA8ED895A02}"/>
                </a:ext>
              </a:extLst>
            </p:cNvPr>
            <p:cNvSpPr txBox="1"/>
            <p:nvPr/>
          </p:nvSpPr>
          <p:spPr>
            <a:xfrm>
              <a:off x="5851767" y="4010796"/>
              <a:ext cx="1795619" cy="4629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Project Timeline</a:t>
              </a:r>
              <a:endParaRPr kumimoji="0" lang="en-MY"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38" name="Picture 37">
            <a:extLst>
              <a:ext uri="{FF2B5EF4-FFF2-40B4-BE49-F238E27FC236}">
                <a16:creationId xmlns:a16="http://schemas.microsoft.com/office/drawing/2014/main" id="{6E1A42A3-E3CA-4557-8FAF-9EBA48619630}"/>
              </a:ext>
            </a:extLst>
          </p:cNvPr>
          <p:cNvPicPr>
            <a:picLocks noChangeAspect="1"/>
          </p:cNvPicPr>
          <p:nvPr/>
        </p:nvPicPr>
        <p:blipFill rotWithShape="1">
          <a:blip r:embed="rId6">
            <a:extLst>
              <a:ext uri="{28A0092B-C50C-407E-A947-70E740481C1C}">
                <a14:useLocalDpi xmlns:a14="http://schemas.microsoft.com/office/drawing/2010/main" val="0"/>
              </a:ext>
            </a:extLst>
          </a:blip>
          <a:srcRect l="31231" r="31613" b="2896"/>
          <a:stretch/>
        </p:blipFill>
        <p:spPr>
          <a:xfrm>
            <a:off x="5728040" y="2276914"/>
            <a:ext cx="1576715" cy="3090411"/>
          </a:xfrm>
          <a:prstGeom prst="roundRect">
            <a:avLst>
              <a:gd name="adj" fmla="val 50000"/>
            </a:avLst>
          </a:prstGeom>
        </p:spPr>
      </p:pic>
      <p:pic>
        <p:nvPicPr>
          <p:cNvPr id="18" name="Picture 17">
            <a:extLst>
              <a:ext uri="{FF2B5EF4-FFF2-40B4-BE49-F238E27FC236}">
                <a16:creationId xmlns:a16="http://schemas.microsoft.com/office/drawing/2014/main" id="{0272CDB8-FF82-4C46-A52F-04D290D864AE}"/>
              </a:ext>
            </a:extLst>
          </p:cNvPr>
          <p:cNvPicPr>
            <a:picLocks noChangeAspect="1"/>
          </p:cNvPicPr>
          <p:nvPr/>
        </p:nvPicPr>
        <p:blipFill rotWithShape="1">
          <a:blip r:embed="rId7">
            <a:extLst>
              <a:ext uri="{28A0092B-C50C-407E-A947-70E740481C1C}">
                <a14:useLocalDpi xmlns:a14="http://schemas.microsoft.com/office/drawing/2010/main" val="0"/>
              </a:ext>
            </a:extLst>
          </a:blip>
          <a:srcRect l="40574" r="21162"/>
          <a:stretch/>
        </p:blipFill>
        <p:spPr>
          <a:xfrm>
            <a:off x="7727003" y="2276913"/>
            <a:ext cx="1576715" cy="3090411"/>
          </a:xfrm>
          <a:prstGeom prst="roundRect">
            <a:avLst>
              <a:gd name="adj" fmla="val 50000"/>
            </a:avLst>
          </a:prstGeom>
        </p:spPr>
      </p:pic>
      <p:pic>
        <p:nvPicPr>
          <p:cNvPr id="23" name="Picture 22">
            <a:extLst>
              <a:ext uri="{FF2B5EF4-FFF2-40B4-BE49-F238E27FC236}">
                <a16:creationId xmlns:a16="http://schemas.microsoft.com/office/drawing/2014/main" id="{D131EC4A-C30A-4127-B9D2-B781D849E55C}"/>
              </a:ext>
            </a:extLst>
          </p:cNvPr>
          <p:cNvPicPr>
            <a:picLocks noChangeAspect="1"/>
          </p:cNvPicPr>
          <p:nvPr/>
        </p:nvPicPr>
        <p:blipFill rotWithShape="1">
          <a:blip r:embed="rId8">
            <a:extLst>
              <a:ext uri="{28A0092B-C50C-407E-A947-70E740481C1C}">
                <a14:useLocalDpi xmlns:a14="http://schemas.microsoft.com/office/drawing/2010/main" val="0"/>
              </a:ext>
            </a:extLst>
          </a:blip>
          <a:srcRect l="15032" t="23208" r="59913" b="11314"/>
          <a:stretch/>
        </p:blipFill>
        <p:spPr>
          <a:xfrm>
            <a:off x="9658594" y="1058230"/>
            <a:ext cx="1576715" cy="3090411"/>
          </a:xfrm>
          <a:prstGeom prst="roundRect">
            <a:avLst>
              <a:gd name="adj" fmla="val 50000"/>
            </a:avLst>
          </a:prstGeom>
        </p:spPr>
      </p:pic>
      <p:grpSp>
        <p:nvGrpSpPr>
          <p:cNvPr id="22" name="Group 21">
            <a:extLst>
              <a:ext uri="{FF2B5EF4-FFF2-40B4-BE49-F238E27FC236}">
                <a16:creationId xmlns:a16="http://schemas.microsoft.com/office/drawing/2014/main" id="{384CE4B2-A48D-8E54-BAC4-9F01232B8727}"/>
              </a:ext>
            </a:extLst>
          </p:cNvPr>
          <p:cNvGrpSpPr/>
          <p:nvPr/>
        </p:nvGrpSpPr>
        <p:grpSpPr>
          <a:xfrm>
            <a:off x="0" y="6674"/>
            <a:ext cx="5974995" cy="369332"/>
            <a:chOff x="0" y="6674"/>
            <a:chExt cx="5974995" cy="369332"/>
          </a:xfrm>
        </p:grpSpPr>
        <p:sp>
          <p:nvSpPr>
            <p:cNvPr id="2" name="TextBox 1">
              <a:extLst>
                <a:ext uri="{FF2B5EF4-FFF2-40B4-BE49-F238E27FC236}">
                  <a16:creationId xmlns:a16="http://schemas.microsoft.com/office/drawing/2014/main" id="{3DE1B8A3-41E6-BC2E-821E-EB7E39913936}"/>
                </a:ext>
              </a:extLst>
            </p:cNvPr>
            <p:cNvSpPr txBox="1"/>
            <p:nvPr/>
          </p:nvSpPr>
          <p:spPr>
            <a:xfrm>
              <a:off x="0" y="6674"/>
              <a:ext cx="115303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lumMod val="95000"/>
                    </a:schemeClr>
                  </a:solidFill>
                  <a:effectLst/>
                  <a:uLnTx/>
                  <a:uFillTx/>
                  <a:latin typeface="Century Gothic" panose="020B0502020202020204" pitchFamily="34" charset="0"/>
                  <a:ea typeface="+mn-ea"/>
                  <a:cs typeface="+mn-cs"/>
                </a:rPr>
                <a:t>RELAX</a:t>
              </a:r>
              <a:endParaRPr kumimoji="0" lang="en-MY"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EE999261-C238-3AE2-8DE4-30D7B676D4A3}"/>
                </a:ext>
              </a:extLst>
            </p:cNvPr>
            <p:cNvSpPr txBox="1"/>
            <p:nvPr/>
          </p:nvSpPr>
          <p:spPr>
            <a:xfrm>
              <a:off x="1069648" y="28514"/>
              <a:ext cx="152520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95000"/>
                    </a:schemeClr>
                  </a:solidFill>
                  <a:effectLst/>
                  <a:uLnTx/>
                  <a:uFillTx/>
                  <a:latin typeface="Century Gothic" panose="020B0502020202020204" pitchFamily="34" charset="0"/>
                  <a:ea typeface="+mn-ea"/>
                  <a:cs typeface="+mn-cs"/>
                </a:rPr>
                <a:t>Challenges</a:t>
              </a:r>
              <a:endParaRPr kumimoji="0" lang="en-MY" sz="14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C8A86DCC-5E3E-CA43-13BC-EA0796D919C8}"/>
                </a:ext>
              </a:extLst>
            </p:cNvPr>
            <p:cNvSpPr txBox="1"/>
            <p:nvPr/>
          </p:nvSpPr>
          <p:spPr>
            <a:xfrm>
              <a:off x="2300314" y="35023"/>
              <a:ext cx="159259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95000"/>
                    </a:schemeClr>
                  </a:solidFill>
                  <a:effectLst/>
                  <a:uLnTx/>
                  <a:uFillTx/>
                  <a:latin typeface="Century Gothic" panose="020B0502020202020204" pitchFamily="34" charset="0"/>
                  <a:ea typeface="+mn-ea"/>
                  <a:cs typeface="+mn-cs"/>
                </a:rPr>
                <a:t>Enhancements </a:t>
              </a:r>
              <a:endParaRPr kumimoji="0" lang="en-MY" sz="14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79AA3157-D025-4FCA-63A9-04392D4FC20A}"/>
                </a:ext>
              </a:extLst>
            </p:cNvPr>
            <p:cNvSpPr txBox="1"/>
            <p:nvPr/>
          </p:nvSpPr>
          <p:spPr>
            <a:xfrm>
              <a:off x="3913368" y="17901"/>
              <a:ext cx="206162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95000"/>
                    </a:schemeClr>
                  </a:solidFill>
                  <a:effectLst/>
                  <a:uLnTx/>
                  <a:uFillTx/>
                  <a:latin typeface="Century Gothic" panose="020B0502020202020204" pitchFamily="34" charset="0"/>
                  <a:ea typeface="+mn-ea"/>
                  <a:cs typeface="+mn-cs"/>
                </a:rPr>
                <a:t>Project Timeline </a:t>
              </a:r>
              <a:endParaRPr kumimoji="0" lang="en-MY" sz="14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7031962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advTm="1000">
        <p159:morph option="byObject"/>
      </p:transition>
    </mc:Choice>
    <mc:Fallback xmlns="">
      <p:transition spd="slow" advTm="1000">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82AEB0E7-F447-4AD0-995C-D4CFE3BDB603}"/>
              </a:ext>
            </a:extLst>
          </p:cNvPr>
          <p:cNvPicPr>
            <a:picLocks noChangeAspect="1"/>
          </p:cNvPicPr>
          <p:nvPr/>
        </p:nvPicPr>
        <p:blipFill>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p:blipFill>
        <p:spPr>
          <a:xfrm>
            <a:off x="-4889301" y="-938489"/>
            <a:ext cx="19827209" cy="8420270"/>
          </a:xfrm>
          <a:prstGeom prst="roundRect">
            <a:avLst>
              <a:gd name="adj" fmla="val 50000"/>
            </a:avLst>
          </a:prstGeom>
        </p:spPr>
      </p:pic>
      <p:sp>
        <p:nvSpPr>
          <p:cNvPr id="60" name="TextBox 59">
            <a:extLst>
              <a:ext uri="{FF2B5EF4-FFF2-40B4-BE49-F238E27FC236}">
                <a16:creationId xmlns:a16="http://schemas.microsoft.com/office/drawing/2014/main" id="{89EF0F0A-DFCD-4956-A2A5-3AEFB58E5868}"/>
              </a:ext>
            </a:extLst>
          </p:cNvPr>
          <p:cNvSpPr txBox="1"/>
          <p:nvPr/>
        </p:nvSpPr>
        <p:spPr>
          <a:xfrm>
            <a:off x="12368039" y="2279138"/>
            <a:ext cx="7502328" cy="144655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solidFill>
                    <a:prstClr val="white"/>
                  </a:solidFill>
                </a:ln>
                <a:solidFill>
                  <a:prstClr val="white"/>
                </a:solidFill>
                <a:effectLst/>
                <a:uLnTx/>
                <a:uFillTx/>
                <a:latin typeface="Century Gothic" panose="020B0502020202020204" pitchFamily="34" charset="0"/>
                <a:ea typeface="+mn-ea"/>
                <a:cs typeface="+mn-cs"/>
              </a:rPr>
              <a:t>GRADIENT </a:t>
            </a:r>
          </a:p>
        </p:txBody>
      </p:sp>
      <p:sp>
        <p:nvSpPr>
          <p:cNvPr id="63" name="TextBox 62">
            <a:extLst>
              <a:ext uri="{FF2B5EF4-FFF2-40B4-BE49-F238E27FC236}">
                <a16:creationId xmlns:a16="http://schemas.microsoft.com/office/drawing/2014/main" id="{D08FAB6C-5D9F-4F8D-9460-396ED5FE6FD9}"/>
              </a:ext>
            </a:extLst>
          </p:cNvPr>
          <p:cNvSpPr txBox="1"/>
          <p:nvPr/>
        </p:nvSpPr>
        <p:spPr>
          <a:xfrm>
            <a:off x="17005127" y="3429000"/>
            <a:ext cx="4146121"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dirty="0">
                <a:ln>
                  <a:solidFill>
                    <a:prstClr val="white"/>
                  </a:solidFill>
                </a:ln>
                <a:noFill/>
                <a:effectLst/>
                <a:uLnTx/>
                <a:uFillTx/>
                <a:latin typeface="Century Gothic" panose="020B0502020202020204" pitchFamily="34" charset="0"/>
                <a:ea typeface="+mn-ea"/>
                <a:cs typeface="+mn-cs"/>
              </a:rPr>
              <a:t>IN TEXT </a:t>
            </a:r>
            <a:endParaRPr kumimoji="0" lang="en-MY" sz="2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Oval 23">
            <a:extLst>
              <a:ext uri="{FF2B5EF4-FFF2-40B4-BE49-F238E27FC236}">
                <a16:creationId xmlns:a16="http://schemas.microsoft.com/office/drawing/2014/main" id="{DB6F3B1A-9E08-44A2-95F2-9F2E21010EAF}"/>
              </a:ext>
            </a:extLst>
          </p:cNvPr>
          <p:cNvSpPr/>
          <p:nvPr/>
        </p:nvSpPr>
        <p:spPr>
          <a:xfrm>
            <a:off x="12806835" y="-4083794"/>
            <a:ext cx="14687411" cy="15471777"/>
          </a:xfrm>
          <a:prstGeom prst="ellipse">
            <a:avLst/>
          </a:prstGeom>
          <a:solidFill>
            <a:schemeClr val="tx1">
              <a:lumMod val="85000"/>
              <a:lumOff val="15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5" name="Picture 24">
            <a:extLst>
              <a:ext uri="{FF2B5EF4-FFF2-40B4-BE49-F238E27FC236}">
                <a16:creationId xmlns:a16="http://schemas.microsoft.com/office/drawing/2014/main" id="{885ED121-AF43-4016-82BF-BD7E88583A42}"/>
              </a:ext>
            </a:extLst>
          </p:cNvPr>
          <p:cNvPicPr>
            <a:picLocks noChangeAspect="1"/>
          </p:cNvPicPr>
          <p:nvPr/>
        </p:nvPicPr>
        <p:blipFill>
          <a:blip r:embed="rId4">
            <a:duotone>
              <a:prstClr val="black"/>
              <a:srgbClr val="7030A0">
                <a:tint val="45000"/>
                <a:satMod val="400000"/>
              </a:srgbClr>
            </a:duotone>
          </a:blip>
          <a:stretch>
            <a:fillRect/>
          </a:stretch>
        </p:blipFill>
        <p:spPr>
          <a:xfrm>
            <a:off x="12966204" y="3251353"/>
            <a:ext cx="452118" cy="801484"/>
          </a:xfrm>
          <a:prstGeom prst="rect">
            <a:avLst/>
          </a:prstGeom>
          <a:noFill/>
        </p:spPr>
      </p:pic>
      <p:grpSp>
        <p:nvGrpSpPr>
          <p:cNvPr id="3" name="Group 2">
            <a:extLst>
              <a:ext uri="{FF2B5EF4-FFF2-40B4-BE49-F238E27FC236}">
                <a16:creationId xmlns:a16="http://schemas.microsoft.com/office/drawing/2014/main" id="{36FBA578-6479-4EC7-B348-91A55A2C4402}"/>
              </a:ext>
            </a:extLst>
          </p:cNvPr>
          <p:cNvGrpSpPr/>
          <p:nvPr/>
        </p:nvGrpSpPr>
        <p:grpSpPr>
          <a:xfrm>
            <a:off x="10281663" y="-8485732"/>
            <a:ext cx="8211469" cy="7641093"/>
            <a:chOff x="-7359647" y="3481383"/>
            <a:chExt cx="8211469" cy="7641093"/>
          </a:xfrm>
        </p:grpSpPr>
        <p:sp>
          <p:nvSpPr>
            <p:cNvPr id="40" name="Freeform: Shape 39">
              <a:extLst>
                <a:ext uri="{FF2B5EF4-FFF2-40B4-BE49-F238E27FC236}">
                  <a16:creationId xmlns:a16="http://schemas.microsoft.com/office/drawing/2014/main" id="{BA3C308C-EE1A-411E-BA2E-15B400E6EB90}"/>
                </a:ext>
              </a:extLst>
            </p:cNvPr>
            <p:cNvSpPr/>
            <p:nvPr/>
          </p:nvSpPr>
          <p:spPr>
            <a:xfrm rot="5400000">
              <a:off x="-7074459" y="3196195"/>
              <a:ext cx="7641093" cy="8211469"/>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5">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94DAB6AB-D604-4B8C-9024-5AC1623CB503}"/>
                </a:ext>
              </a:extLst>
            </p:cNvPr>
            <p:cNvSpPr/>
            <p:nvPr/>
          </p:nvSpPr>
          <p:spPr>
            <a:xfrm rot="5400000">
              <a:off x="-6543154" y="3693520"/>
              <a:ext cx="6715530" cy="7216817"/>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5">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 name="Group 1">
            <a:extLst>
              <a:ext uri="{FF2B5EF4-FFF2-40B4-BE49-F238E27FC236}">
                <a16:creationId xmlns:a16="http://schemas.microsoft.com/office/drawing/2014/main" id="{478B29BF-C732-42B0-99DA-55537D631427}"/>
              </a:ext>
            </a:extLst>
          </p:cNvPr>
          <p:cNvGrpSpPr/>
          <p:nvPr/>
        </p:nvGrpSpPr>
        <p:grpSpPr>
          <a:xfrm>
            <a:off x="15011361" y="2497414"/>
            <a:ext cx="1644086" cy="2209664"/>
            <a:chOff x="5728041" y="4010797"/>
            <a:chExt cx="1644086" cy="2209664"/>
          </a:xfrm>
        </p:grpSpPr>
        <p:sp>
          <p:nvSpPr>
            <p:cNvPr id="26" name="TextBox 25">
              <a:extLst>
                <a:ext uri="{FF2B5EF4-FFF2-40B4-BE49-F238E27FC236}">
                  <a16:creationId xmlns:a16="http://schemas.microsoft.com/office/drawing/2014/main" id="{8C0B0344-61B9-4036-8F16-E346675D3CC9}"/>
                </a:ext>
              </a:extLst>
            </p:cNvPr>
            <p:cNvSpPr txBox="1"/>
            <p:nvPr/>
          </p:nvSpPr>
          <p:spPr>
            <a:xfrm>
              <a:off x="5728041" y="4650801"/>
              <a:ext cx="1509342" cy="15696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Tengok teaser Genshin impact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Teyvat</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style dengan music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dia</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terus</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inspired untuk buat style macam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ni</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a:t>
              </a:r>
              <a:endParaRPr kumimoji="0" lang="en-MY" sz="16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endParaRPr>
            </a:p>
          </p:txBody>
        </p:sp>
        <p:sp>
          <p:nvSpPr>
            <p:cNvPr id="28" name="TextBox 27">
              <a:extLst>
                <a:ext uri="{FF2B5EF4-FFF2-40B4-BE49-F238E27FC236}">
                  <a16:creationId xmlns:a16="http://schemas.microsoft.com/office/drawing/2014/main" id="{7483CA10-515D-4DC8-84E0-D991A8CBBE61}"/>
                </a:ext>
              </a:extLst>
            </p:cNvPr>
            <p:cNvSpPr txBox="1"/>
            <p:nvPr/>
          </p:nvSpPr>
          <p:spPr>
            <a:xfrm>
              <a:off x="5781510" y="4010797"/>
              <a:ext cx="1590617"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T</a:t>
              </a:r>
              <a:r>
                <a:rPr kumimoji="0" lang="en-US" sz="3200" b="1" i="0" u="none" strike="noStrike" kern="1200" cap="none" spc="0" normalizeH="0" baseline="0" noProof="0" dirty="0" err="1">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ekejut</a:t>
              </a:r>
              <a:endParaRPr kumimoji="0" lang="en-MY"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38" name="Picture 37">
            <a:extLst>
              <a:ext uri="{FF2B5EF4-FFF2-40B4-BE49-F238E27FC236}">
                <a16:creationId xmlns:a16="http://schemas.microsoft.com/office/drawing/2014/main" id="{6E1A42A3-E3CA-4557-8FAF-9EBA48619630}"/>
              </a:ext>
            </a:extLst>
          </p:cNvPr>
          <p:cNvPicPr>
            <a:picLocks noChangeAspect="1"/>
          </p:cNvPicPr>
          <p:nvPr/>
        </p:nvPicPr>
        <p:blipFill rotWithShape="1">
          <a:blip r:embed="rId6">
            <a:extLst>
              <a:ext uri="{28A0092B-C50C-407E-A947-70E740481C1C}">
                <a14:useLocalDpi xmlns:a14="http://schemas.microsoft.com/office/drawing/2010/main" val="0"/>
              </a:ext>
            </a:extLst>
          </a:blip>
          <a:srcRect l="31231" r="31613" b="2896"/>
          <a:stretch/>
        </p:blipFill>
        <p:spPr>
          <a:xfrm>
            <a:off x="15074096" y="2010214"/>
            <a:ext cx="1576715" cy="3090411"/>
          </a:xfrm>
          <a:prstGeom prst="roundRect">
            <a:avLst>
              <a:gd name="adj" fmla="val 50000"/>
            </a:avLst>
          </a:prstGeom>
        </p:spPr>
      </p:pic>
      <p:grpSp>
        <p:nvGrpSpPr>
          <p:cNvPr id="29" name="Group 28">
            <a:extLst>
              <a:ext uri="{FF2B5EF4-FFF2-40B4-BE49-F238E27FC236}">
                <a16:creationId xmlns:a16="http://schemas.microsoft.com/office/drawing/2014/main" id="{3750C2D6-80C7-47C4-B643-25B3B85E46DC}"/>
              </a:ext>
            </a:extLst>
          </p:cNvPr>
          <p:cNvGrpSpPr/>
          <p:nvPr/>
        </p:nvGrpSpPr>
        <p:grpSpPr>
          <a:xfrm>
            <a:off x="17963065" y="2659560"/>
            <a:ext cx="1714343" cy="2209664"/>
            <a:chOff x="5728041" y="4010797"/>
            <a:chExt cx="1714343" cy="2209664"/>
          </a:xfrm>
        </p:grpSpPr>
        <p:sp>
          <p:nvSpPr>
            <p:cNvPr id="30" name="TextBox 29">
              <a:extLst>
                <a:ext uri="{FF2B5EF4-FFF2-40B4-BE49-F238E27FC236}">
                  <a16:creationId xmlns:a16="http://schemas.microsoft.com/office/drawing/2014/main" id="{57C0B290-E8E3-4B7D-88F7-79BB873FDBE9}"/>
                </a:ext>
              </a:extLst>
            </p:cNvPr>
            <p:cNvSpPr txBox="1"/>
            <p:nvPr/>
          </p:nvSpPr>
          <p:spPr>
            <a:xfrm>
              <a:off x="5728041" y="4650801"/>
              <a:ext cx="1509342" cy="15696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Tengok teaser Genshin impact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Teyvat</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style dengan music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dia</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terus</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inspired untuk buat style macam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ni</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a:t>
              </a:r>
              <a:endParaRPr kumimoji="0" lang="en-MY" sz="16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endParaRPr>
            </a:p>
          </p:txBody>
        </p:sp>
        <p:sp>
          <p:nvSpPr>
            <p:cNvPr id="34" name="TextBox 33">
              <a:extLst>
                <a:ext uri="{FF2B5EF4-FFF2-40B4-BE49-F238E27FC236}">
                  <a16:creationId xmlns:a16="http://schemas.microsoft.com/office/drawing/2014/main" id="{0C6D9B4B-00C3-45EE-9EE7-7AA9491CD228}"/>
                </a:ext>
              </a:extLst>
            </p:cNvPr>
            <p:cNvSpPr txBox="1"/>
            <p:nvPr/>
          </p:nvSpPr>
          <p:spPr>
            <a:xfrm>
              <a:off x="5851767" y="4010797"/>
              <a:ext cx="1590617"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PENSEL</a:t>
              </a:r>
              <a:endParaRPr kumimoji="0" lang="en-MY"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5" name="Group 34">
            <a:extLst>
              <a:ext uri="{FF2B5EF4-FFF2-40B4-BE49-F238E27FC236}">
                <a16:creationId xmlns:a16="http://schemas.microsoft.com/office/drawing/2014/main" id="{2E012524-C9E3-425D-860B-3470226B514B}"/>
              </a:ext>
            </a:extLst>
          </p:cNvPr>
          <p:cNvGrpSpPr/>
          <p:nvPr/>
        </p:nvGrpSpPr>
        <p:grpSpPr>
          <a:xfrm>
            <a:off x="22184642" y="2590075"/>
            <a:ext cx="1714343" cy="2209664"/>
            <a:chOff x="5728041" y="4010797"/>
            <a:chExt cx="1714343" cy="2209664"/>
          </a:xfrm>
        </p:grpSpPr>
        <p:sp>
          <p:nvSpPr>
            <p:cNvPr id="36" name="TextBox 35">
              <a:extLst>
                <a:ext uri="{FF2B5EF4-FFF2-40B4-BE49-F238E27FC236}">
                  <a16:creationId xmlns:a16="http://schemas.microsoft.com/office/drawing/2014/main" id="{0E8C0BBE-98FE-45B3-A89C-BBB230F5A667}"/>
                </a:ext>
              </a:extLst>
            </p:cNvPr>
            <p:cNvSpPr txBox="1"/>
            <p:nvPr/>
          </p:nvSpPr>
          <p:spPr>
            <a:xfrm>
              <a:off x="5728041" y="4650801"/>
              <a:ext cx="1509342" cy="15696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Tengok teaser Genshin impact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Teyvat</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style dengan music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dia</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terus</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 inspired untuk buat style macam </a:t>
              </a:r>
              <a:r>
                <a:rPr kumimoji="0" lang="en-MY" sz="1200" b="0" i="0" u="none" strike="noStrike" kern="1200" cap="none" spc="0" normalizeH="0" baseline="0" noProof="0" dirty="0" err="1">
                  <a:ln>
                    <a:noFill/>
                  </a:ln>
                  <a:solidFill>
                    <a:prstClr val="white">
                      <a:lumMod val="65000"/>
                    </a:prstClr>
                  </a:solidFill>
                  <a:effectLst/>
                  <a:uLnTx/>
                  <a:uFillTx/>
                  <a:latin typeface="Century Gothic" panose="020B0502020202020204" pitchFamily="34" charset="0"/>
                  <a:ea typeface="+mn-ea"/>
                  <a:cs typeface="+mn-cs"/>
                </a:rPr>
                <a:t>ni</a:t>
              </a:r>
              <a:r>
                <a:rPr kumimoji="0" lang="en-MY" sz="12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a:t>
              </a:r>
              <a:endParaRPr kumimoji="0" lang="en-MY" sz="1600" b="0"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endParaRPr>
            </a:p>
          </p:txBody>
        </p:sp>
        <p:sp>
          <p:nvSpPr>
            <p:cNvPr id="37" name="TextBox 36">
              <a:extLst>
                <a:ext uri="{FF2B5EF4-FFF2-40B4-BE49-F238E27FC236}">
                  <a16:creationId xmlns:a16="http://schemas.microsoft.com/office/drawing/2014/main" id="{4CF9BFCD-F26D-465D-B077-9CA5303D3597}"/>
                </a:ext>
              </a:extLst>
            </p:cNvPr>
            <p:cNvSpPr txBox="1"/>
            <p:nvPr/>
          </p:nvSpPr>
          <p:spPr>
            <a:xfrm>
              <a:off x="5851767" y="4010797"/>
              <a:ext cx="1590617"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LOKEY</a:t>
              </a:r>
              <a:endParaRPr kumimoji="0" lang="en-MY"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18" name="Picture 17">
            <a:extLst>
              <a:ext uri="{FF2B5EF4-FFF2-40B4-BE49-F238E27FC236}">
                <a16:creationId xmlns:a16="http://schemas.microsoft.com/office/drawing/2014/main" id="{0272CDB8-FF82-4C46-A52F-04D290D864AE}"/>
              </a:ext>
            </a:extLst>
          </p:cNvPr>
          <p:cNvPicPr>
            <a:picLocks noChangeAspect="1"/>
          </p:cNvPicPr>
          <p:nvPr/>
        </p:nvPicPr>
        <p:blipFill rotWithShape="1">
          <a:blip r:embed="rId7">
            <a:extLst>
              <a:ext uri="{28A0092B-C50C-407E-A947-70E740481C1C}">
                <a14:useLocalDpi xmlns:a14="http://schemas.microsoft.com/office/drawing/2010/main" val="0"/>
              </a:ext>
            </a:extLst>
          </a:blip>
          <a:srcRect l="40574" r="21162"/>
          <a:stretch/>
        </p:blipFill>
        <p:spPr>
          <a:xfrm>
            <a:off x="18043772" y="2010213"/>
            <a:ext cx="1576715" cy="3090411"/>
          </a:xfrm>
          <a:prstGeom prst="roundRect">
            <a:avLst>
              <a:gd name="adj" fmla="val 50000"/>
            </a:avLst>
          </a:prstGeom>
        </p:spPr>
      </p:pic>
      <p:pic>
        <p:nvPicPr>
          <p:cNvPr id="23" name="Picture 22">
            <a:extLst>
              <a:ext uri="{FF2B5EF4-FFF2-40B4-BE49-F238E27FC236}">
                <a16:creationId xmlns:a16="http://schemas.microsoft.com/office/drawing/2014/main" id="{D131EC4A-C30A-4127-B9D2-B781D849E55C}"/>
              </a:ext>
            </a:extLst>
          </p:cNvPr>
          <p:cNvPicPr>
            <a:picLocks noChangeAspect="1"/>
          </p:cNvPicPr>
          <p:nvPr/>
        </p:nvPicPr>
        <p:blipFill rotWithShape="1">
          <a:blip r:embed="rId8">
            <a:extLst>
              <a:ext uri="{28A0092B-C50C-407E-A947-70E740481C1C}">
                <a14:useLocalDpi xmlns:a14="http://schemas.microsoft.com/office/drawing/2010/main" val="0"/>
              </a:ext>
            </a:extLst>
          </a:blip>
          <a:srcRect l="15032" t="23208" r="59913" b="11314"/>
          <a:stretch/>
        </p:blipFill>
        <p:spPr>
          <a:xfrm>
            <a:off x="22253457" y="2051702"/>
            <a:ext cx="1576715" cy="3090411"/>
          </a:xfrm>
          <a:prstGeom prst="roundRect">
            <a:avLst>
              <a:gd name="adj" fmla="val 50000"/>
            </a:avLst>
          </a:prstGeom>
        </p:spPr>
      </p:pic>
      <p:grpSp>
        <p:nvGrpSpPr>
          <p:cNvPr id="31" name="Group 30">
            <a:extLst>
              <a:ext uri="{FF2B5EF4-FFF2-40B4-BE49-F238E27FC236}">
                <a16:creationId xmlns:a16="http://schemas.microsoft.com/office/drawing/2014/main" id="{A32C31A9-97E1-404A-96BB-4D7A32F02E15}"/>
              </a:ext>
            </a:extLst>
          </p:cNvPr>
          <p:cNvGrpSpPr/>
          <p:nvPr/>
        </p:nvGrpSpPr>
        <p:grpSpPr>
          <a:xfrm>
            <a:off x="-9310778" y="6276738"/>
            <a:ext cx="8211469" cy="7641093"/>
            <a:chOff x="-7359647" y="3481383"/>
            <a:chExt cx="8211469" cy="7641093"/>
          </a:xfrm>
        </p:grpSpPr>
        <p:sp>
          <p:nvSpPr>
            <p:cNvPr id="32" name="Freeform: Shape 31">
              <a:extLst>
                <a:ext uri="{FF2B5EF4-FFF2-40B4-BE49-F238E27FC236}">
                  <a16:creationId xmlns:a16="http://schemas.microsoft.com/office/drawing/2014/main" id="{7205819D-1C20-4A99-9D49-41E53AB19272}"/>
                </a:ext>
              </a:extLst>
            </p:cNvPr>
            <p:cNvSpPr/>
            <p:nvPr/>
          </p:nvSpPr>
          <p:spPr>
            <a:xfrm rot="5400000">
              <a:off x="-7074459" y="3196195"/>
              <a:ext cx="7641093" cy="8211469"/>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5">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Freeform: Shape 32">
              <a:extLst>
                <a:ext uri="{FF2B5EF4-FFF2-40B4-BE49-F238E27FC236}">
                  <a16:creationId xmlns:a16="http://schemas.microsoft.com/office/drawing/2014/main" id="{B44AE08C-96C5-4E3A-AB2B-3D6B7B8F7536}"/>
                </a:ext>
              </a:extLst>
            </p:cNvPr>
            <p:cNvSpPr/>
            <p:nvPr/>
          </p:nvSpPr>
          <p:spPr>
            <a:xfrm rot="5400000">
              <a:off x="-6543154" y="3693520"/>
              <a:ext cx="6715530" cy="7216817"/>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5">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57" name="TextBox 56">
            <a:extLst>
              <a:ext uri="{FF2B5EF4-FFF2-40B4-BE49-F238E27FC236}">
                <a16:creationId xmlns:a16="http://schemas.microsoft.com/office/drawing/2014/main" id="{158D3565-4AD6-4EAA-9DDC-7B94E8AB73A7}"/>
              </a:ext>
            </a:extLst>
          </p:cNvPr>
          <p:cNvSpPr txBox="1"/>
          <p:nvPr/>
        </p:nvSpPr>
        <p:spPr>
          <a:xfrm>
            <a:off x="4110603" y="895443"/>
            <a:ext cx="3178871"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Let’s</a:t>
            </a:r>
            <a:endParaRPr kumimoji="0" lang="en-US" sz="8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58" name="TextBox 57">
            <a:extLst>
              <a:ext uri="{FF2B5EF4-FFF2-40B4-BE49-F238E27FC236}">
                <a16:creationId xmlns:a16="http://schemas.microsoft.com/office/drawing/2014/main" id="{1770D3D4-E369-414F-96E8-10048564DCA2}"/>
              </a:ext>
            </a:extLst>
          </p:cNvPr>
          <p:cNvSpPr txBox="1"/>
          <p:nvPr/>
        </p:nvSpPr>
        <p:spPr>
          <a:xfrm>
            <a:off x="4799123" y="1835694"/>
            <a:ext cx="3655960"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dirty="0">
                <a:ln>
                  <a:solidFill>
                    <a:prstClr val="white"/>
                  </a:solidFill>
                </a:ln>
                <a:noFill/>
                <a:effectLst/>
                <a:uLnTx/>
                <a:uFillTx/>
                <a:latin typeface="Century Gothic" panose="020B0502020202020204" pitchFamily="34" charset="0"/>
                <a:ea typeface="+mn-ea"/>
                <a:cs typeface="+mn-cs"/>
              </a:rPr>
              <a:t>Jump</a:t>
            </a:r>
            <a:endParaRPr kumimoji="0" lang="en-MY" sz="2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TextBox 58">
            <a:extLst>
              <a:ext uri="{FF2B5EF4-FFF2-40B4-BE49-F238E27FC236}">
                <a16:creationId xmlns:a16="http://schemas.microsoft.com/office/drawing/2014/main" id="{2F050E68-7944-4052-83CB-9487C1914970}"/>
              </a:ext>
            </a:extLst>
          </p:cNvPr>
          <p:cNvSpPr txBox="1"/>
          <p:nvPr/>
        </p:nvSpPr>
        <p:spPr>
          <a:xfrm>
            <a:off x="3737744" y="2218882"/>
            <a:ext cx="4267680" cy="2215991"/>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600" b="1" dirty="0">
                <a:solidFill>
                  <a:prstClr val="white"/>
                </a:solidFill>
                <a:latin typeface="Delighty" panose="02000600000000000000" pitchFamily="2" charset="0"/>
              </a:rPr>
              <a:t>Of</a:t>
            </a:r>
            <a:r>
              <a:rPr lang="en-US" sz="13800" b="1" dirty="0">
                <a:solidFill>
                  <a:prstClr val="white"/>
                </a:solidFill>
                <a:latin typeface="Delighty" panose="02000600000000000000" pitchFamily="2" charset="0"/>
              </a:rPr>
              <a:t> </a:t>
            </a:r>
            <a:r>
              <a:rPr lang="en-US" sz="8000" b="1" dirty="0">
                <a:ln>
                  <a:solidFill>
                    <a:schemeClr val="bg1"/>
                  </a:solidFill>
                </a:ln>
                <a:noFill/>
                <a:latin typeface="Delighty" panose="02000600000000000000" pitchFamily="2" charset="0"/>
              </a:rPr>
              <a:t>the</a:t>
            </a:r>
            <a:endParaRPr kumimoji="0" lang="en-MY" sz="3600" b="0" i="0" u="none" strike="noStrike" kern="1200" cap="none" spc="0" normalizeH="0" baseline="0" noProof="0" dirty="0">
              <a:ln>
                <a:noFill/>
              </a:ln>
              <a:solidFill>
                <a:prstClr val="white"/>
              </a:solidFill>
              <a:effectLst/>
              <a:uLnTx/>
              <a:uFillTx/>
              <a:latin typeface="Delighty" panose="02000600000000000000" pitchFamily="2" charset="0"/>
              <a:ea typeface="+mn-ea"/>
              <a:cs typeface="+mn-cs"/>
            </a:endParaRPr>
          </a:p>
        </p:txBody>
      </p:sp>
      <p:sp>
        <p:nvSpPr>
          <p:cNvPr id="41" name="TextBox 40">
            <a:extLst>
              <a:ext uri="{FF2B5EF4-FFF2-40B4-BE49-F238E27FC236}">
                <a16:creationId xmlns:a16="http://schemas.microsoft.com/office/drawing/2014/main" id="{BFF269F3-DBAC-41CD-B738-E18398D4CEB4}"/>
              </a:ext>
            </a:extLst>
          </p:cNvPr>
          <p:cNvSpPr txBox="1"/>
          <p:nvPr/>
        </p:nvSpPr>
        <p:spPr>
          <a:xfrm>
            <a:off x="590531" y="-1769086"/>
            <a:ext cx="1153039"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hmppt</a:t>
            </a:r>
            <a:endParaRPr kumimoji="0" lang="en-MY" sz="600" b="0"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alibri" panose="020F0502020204030204"/>
              <a:ea typeface="+mn-ea"/>
              <a:cs typeface="+mn-cs"/>
            </a:endParaRPr>
          </a:p>
        </p:txBody>
      </p:sp>
      <p:pic>
        <p:nvPicPr>
          <p:cNvPr id="42" name="Picture 41">
            <a:extLst>
              <a:ext uri="{FF2B5EF4-FFF2-40B4-BE49-F238E27FC236}">
                <a16:creationId xmlns:a16="http://schemas.microsoft.com/office/drawing/2014/main" id="{D1EBC933-5788-40D9-90C4-5F000DA3071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3740" y="-1474327"/>
            <a:ext cx="335075" cy="333811"/>
          </a:xfrm>
          <a:prstGeom prst="rect">
            <a:avLst/>
          </a:prstGeom>
        </p:spPr>
      </p:pic>
      <p:sp>
        <p:nvSpPr>
          <p:cNvPr id="43" name="TextBox 42">
            <a:extLst>
              <a:ext uri="{FF2B5EF4-FFF2-40B4-BE49-F238E27FC236}">
                <a16:creationId xmlns:a16="http://schemas.microsoft.com/office/drawing/2014/main" id="{A99B1357-7433-40E9-B435-74DC10CD1EF2}"/>
              </a:ext>
            </a:extLst>
          </p:cNvPr>
          <p:cNvSpPr txBox="1"/>
          <p:nvPr/>
        </p:nvSpPr>
        <p:spPr>
          <a:xfrm>
            <a:off x="1809826" y="-1950037"/>
            <a:ext cx="75957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Home</a:t>
            </a:r>
            <a:endParaRPr kumimoji="0" lang="en-MY" sz="2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D5990390-3198-41BF-B3A5-256ACEAC613F}"/>
              </a:ext>
            </a:extLst>
          </p:cNvPr>
          <p:cNvSpPr txBox="1"/>
          <p:nvPr/>
        </p:nvSpPr>
        <p:spPr>
          <a:xfrm>
            <a:off x="2486381" y="-2233955"/>
            <a:ext cx="77144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Menus </a:t>
            </a:r>
            <a:endParaRPr kumimoji="0" lang="en-MY" sz="2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alibri" panose="020F0502020204030204"/>
              <a:ea typeface="+mn-ea"/>
              <a:cs typeface="+mn-cs"/>
            </a:endParaRPr>
          </a:p>
        </p:txBody>
      </p:sp>
      <p:sp>
        <p:nvSpPr>
          <p:cNvPr id="45" name="TextBox 44">
            <a:extLst>
              <a:ext uri="{FF2B5EF4-FFF2-40B4-BE49-F238E27FC236}">
                <a16:creationId xmlns:a16="http://schemas.microsoft.com/office/drawing/2014/main" id="{A91C2A00-9853-4908-8DAC-89209C080D01}"/>
              </a:ext>
            </a:extLst>
          </p:cNvPr>
          <p:cNvSpPr txBox="1"/>
          <p:nvPr/>
        </p:nvSpPr>
        <p:spPr>
          <a:xfrm>
            <a:off x="3229191" y="-2529835"/>
            <a:ext cx="77145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Points </a:t>
            </a:r>
            <a:endParaRPr kumimoji="0" lang="en-MY" sz="200" b="1" i="0" u="none" strike="noStrike" kern="1200" cap="none" spc="0" normalizeH="0" baseline="0" noProof="0" dirty="0">
              <a:ln>
                <a:noFill/>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F27F8B19-A8C2-B0BA-E492-07C15D4A1492}"/>
              </a:ext>
            </a:extLst>
          </p:cNvPr>
          <p:cNvSpPr txBox="1"/>
          <p:nvPr/>
        </p:nvSpPr>
        <p:spPr>
          <a:xfrm>
            <a:off x="5054636" y="3861380"/>
            <a:ext cx="2960053" cy="1938992"/>
          </a:xfrm>
          <a:prstGeom prst="rect">
            <a:avLst/>
          </a:prstGeom>
          <a:noFill/>
        </p:spPr>
        <p:txBody>
          <a:bodyPr wrap="square" rtlCol="0">
            <a:spAutoFit/>
          </a:bodyPr>
          <a:lstStyle/>
          <a:p>
            <a:r>
              <a:rPr lang="en-US" sz="12000" b="1" dirty="0">
                <a:ln>
                  <a:solidFill>
                    <a:schemeClr val="bg1"/>
                  </a:solidFill>
                </a:ln>
                <a:noFill/>
                <a:latin typeface="Delighty" panose="02000600000000000000" pitchFamily="2" charset="0"/>
              </a:rPr>
              <a:t>C</a:t>
            </a:r>
            <a:r>
              <a:rPr lang="en-US" sz="12000" b="1" dirty="0">
                <a:solidFill>
                  <a:prstClr val="white"/>
                </a:solidFill>
                <a:latin typeface="Delighty" panose="02000600000000000000" pitchFamily="2" charset="0"/>
              </a:rPr>
              <a:t>liff</a:t>
            </a:r>
            <a:endParaRPr lang="en-IN" sz="12000" dirty="0"/>
          </a:p>
        </p:txBody>
      </p:sp>
      <p:sp>
        <p:nvSpPr>
          <p:cNvPr id="6" name="TextBox 5">
            <a:extLst>
              <a:ext uri="{FF2B5EF4-FFF2-40B4-BE49-F238E27FC236}">
                <a16:creationId xmlns:a16="http://schemas.microsoft.com/office/drawing/2014/main" id="{72991E9D-19A3-0583-62B9-E0388EF2932E}"/>
              </a:ext>
            </a:extLst>
          </p:cNvPr>
          <p:cNvSpPr txBox="1"/>
          <p:nvPr/>
        </p:nvSpPr>
        <p:spPr>
          <a:xfrm>
            <a:off x="6074978" y="5560991"/>
            <a:ext cx="4464883"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solidFill>
                    <a:srgbClr val="0070C0"/>
                  </a:solidFill>
                </a:ln>
                <a:noFill/>
                <a:effectLst/>
                <a:uLnTx/>
                <a:uFillTx/>
                <a:latin typeface="Century Gothic" panose="020B0502020202020204" pitchFamily="34" charset="0"/>
                <a:ea typeface="+mn-ea"/>
                <a:cs typeface="+mn-cs"/>
              </a:rPr>
              <a:t>Time to switch the site</a:t>
            </a:r>
            <a:endParaRPr kumimoji="0" lang="en-MY" sz="800" b="0" i="0" u="none" strike="noStrike" kern="1200" cap="none" spc="0" normalizeH="0" baseline="0" noProof="0" dirty="0">
              <a:ln>
                <a:solidFill>
                  <a:srgbClr val="0070C0"/>
                </a:solidFill>
              </a:ln>
              <a:noFill/>
              <a:effectLst/>
              <a:uLnTx/>
              <a:uFillTx/>
              <a:latin typeface="Calibri" panose="020F0502020204030204"/>
              <a:ea typeface="+mn-ea"/>
              <a:cs typeface="+mn-cs"/>
            </a:endParaRPr>
          </a:p>
        </p:txBody>
      </p:sp>
    </p:spTree>
    <p:extLst>
      <p:ext uri="{BB962C8B-B14F-4D97-AF65-F5344CB8AC3E}">
        <p14:creationId xmlns:p14="http://schemas.microsoft.com/office/powerpoint/2010/main" val="10733487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750" advTm="500">
        <p159:morph option="byObject"/>
      </p:transition>
    </mc:Choice>
    <mc:Fallback xmlns="">
      <p:transition spd="slow" advTm="500">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9B46218-8A4E-4011-9464-39961675F570}"/>
              </a:ext>
            </a:extLst>
          </p:cNvPr>
          <p:cNvSpPr txBox="1"/>
          <p:nvPr/>
        </p:nvSpPr>
        <p:spPr>
          <a:xfrm>
            <a:off x="1554613" y="1759312"/>
            <a:ext cx="13087237" cy="333937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15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o the en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96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AF122409-6779-443E-B6A4-2EAAE8F892E2}"/>
                  </a:ext>
                </a:extLst>
              </p:cNvPr>
              <p:cNvGraphicFramePr>
                <a:graphicFrameLocks noChangeAspect="1"/>
              </p:cNvGraphicFramePr>
              <p:nvPr/>
            </p:nvGraphicFramePr>
            <p:xfrm>
              <a:off x="2971799" y="4208236"/>
              <a:ext cx="3048000" cy="1714500"/>
            </p:xfrm>
            <a:graphic>
              <a:graphicData uri="http://schemas.microsoft.com/office/powerpoint/2016/slidezoom">
                <pslz:sldZm>
                  <pslz:sldZmObj sldId="336" cId="2578669732">
                    <pslz:zmPr id="{A3CF2905-4A91-4C76-85D7-337F97584120}" returnToParent="0" transitionDur="1000">
                      <p166:blipFill xmlns:p166="http://schemas.microsoft.com/office/powerpoint/2016/6/main">
                        <a:blip r:embed="rId2"/>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4" name="Slide Zoom 3">
                <a:hlinkClick r:id="rId3" action="ppaction://hlinksldjump"/>
                <a:extLst>
                  <a:ext uri="{FF2B5EF4-FFF2-40B4-BE49-F238E27FC236}">
                    <a16:creationId xmlns:a16="http://schemas.microsoft.com/office/drawing/2014/main" id="{AF122409-6779-443E-B6A4-2EAAE8F892E2}"/>
                  </a:ext>
                </a:extLst>
              </p:cNvPr>
              <p:cNvPicPr>
                <a:picLocks noGrp="1" noRot="1" noChangeAspect="1" noMove="1" noResize="1" noEditPoints="1" noAdjustHandles="1" noChangeArrowheads="1" noChangeShapeType="1"/>
              </p:cNvPicPr>
              <p:nvPr/>
            </p:nvPicPr>
            <p:blipFill>
              <a:blip r:embed="rId4"/>
              <a:stretch>
                <a:fillRect/>
              </a:stretch>
            </p:blipFill>
            <p:spPr>
              <a:xfrm>
                <a:off x="2971799" y="4208236"/>
                <a:ext cx="3048000" cy="1714500"/>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039AA981-E321-40C3-8D60-1A1C0614A869}"/>
                  </a:ext>
                </a:extLst>
              </p:cNvPr>
              <p:cNvGraphicFramePr>
                <a:graphicFrameLocks noChangeAspect="1"/>
              </p:cNvGraphicFramePr>
              <p:nvPr/>
            </p:nvGraphicFramePr>
            <p:xfrm>
              <a:off x="6172202" y="4208236"/>
              <a:ext cx="3048000" cy="1714500"/>
            </p:xfrm>
            <a:graphic>
              <a:graphicData uri="http://schemas.microsoft.com/office/powerpoint/2016/slidezoom">
                <pslz:sldZm>
                  <pslz:sldZmObj sldId="265" cId="3781773930">
                    <pslz:zmPr id="{7AC742DD-75C5-4BF1-9E52-CD8383F029ED}" returnToParent="0" transitionDur="1000">
                      <p166:blipFill xmlns:p166="http://schemas.microsoft.com/office/powerpoint/2016/6/main">
                        <a:blip r:embed="rId5"/>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6" name="Slide Zoom 5">
                <a:hlinkClick r:id="rId6" action="ppaction://hlinksldjump"/>
                <a:extLst>
                  <a:ext uri="{FF2B5EF4-FFF2-40B4-BE49-F238E27FC236}">
                    <a16:creationId xmlns:a16="http://schemas.microsoft.com/office/drawing/2014/main" id="{039AA981-E321-40C3-8D60-1A1C0614A869}"/>
                  </a:ext>
                </a:extLst>
              </p:cNvPr>
              <p:cNvPicPr>
                <a:picLocks noGrp="1" noRot="1" noChangeAspect="1" noMove="1" noResize="1" noEditPoints="1" noAdjustHandles="1" noChangeArrowheads="1" noChangeShapeType="1"/>
              </p:cNvPicPr>
              <p:nvPr/>
            </p:nvPicPr>
            <p:blipFill>
              <a:blip r:embed="rId7"/>
              <a:stretch>
                <a:fillRect/>
              </a:stretch>
            </p:blipFill>
            <p:spPr>
              <a:xfrm>
                <a:off x="6172202" y="4208236"/>
                <a:ext cx="3048000" cy="1714500"/>
              </a:xfrm>
              <a:prstGeom prst="rect">
                <a:avLst/>
              </a:prstGeom>
              <a:ln w="3175">
                <a:solidFill>
                  <a:prstClr val="ltGray"/>
                </a:solidFill>
              </a:ln>
            </p:spPr>
          </p:pic>
        </mc:Fallback>
      </mc:AlternateContent>
      <p:pic>
        <p:nvPicPr>
          <p:cNvPr id="5" name="Picture 4">
            <a:extLst>
              <a:ext uri="{FF2B5EF4-FFF2-40B4-BE49-F238E27FC236}">
                <a16:creationId xmlns:a16="http://schemas.microsoft.com/office/drawing/2014/main" id="{BE3A2B86-DE1F-90F9-3F11-3051703B4EA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342283" y="-1792514"/>
            <a:ext cx="5716753" cy="6858000"/>
          </a:xfrm>
          <a:prstGeom prst="rect">
            <a:avLst/>
          </a:prstGeom>
        </p:spPr>
      </p:pic>
    </p:spTree>
    <p:extLst>
      <p:ext uri="{BB962C8B-B14F-4D97-AF65-F5344CB8AC3E}">
        <p14:creationId xmlns:p14="http://schemas.microsoft.com/office/powerpoint/2010/main" val="14244962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68DA5F4-BF33-4E8C-8B88-298AB1FF88EE}"/>
              </a:ext>
            </a:extLst>
          </p:cNvPr>
          <p:cNvSpPr txBox="1"/>
          <p:nvPr/>
        </p:nvSpPr>
        <p:spPr>
          <a:xfrm>
            <a:off x="5008768" y="728458"/>
            <a:ext cx="6490879"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5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Problem statement</a:t>
            </a:r>
          </a:p>
        </p:txBody>
      </p:sp>
      <p:sp>
        <p:nvSpPr>
          <p:cNvPr id="3" name="TextBox 2">
            <a:extLst>
              <a:ext uri="{FF2B5EF4-FFF2-40B4-BE49-F238E27FC236}">
                <a16:creationId xmlns:a16="http://schemas.microsoft.com/office/drawing/2014/main" id="{3CC30AD3-0B6D-4DED-8AF7-6E512BFF551A}"/>
              </a:ext>
            </a:extLst>
          </p:cNvPr>
          <p:cNvSpPr txBox="1"/>
          <p:nvPr/>
        </p:nvSpPr>
        <p:spPr>
          <a:xfrm>
            <a:off x="5008768" y="1925827"/>
            <a:ext cx="6594600" cy="4203715"/>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1">
                    <a:lumMod val="75000"/>
                    <a:lumOff val="25000"/>
                  </a:schemeClr>
                </a:solidFill>
                <a:effectLst/>
                <a:uLnTx/>
                <a:uFillTx/>
                <a:latin typeface="Poppins" panose="00000500000000000000" pitchFamily="2" charset="0"/>
                <a:cs typeface="Poppins" panose="00000500000000000000" pitchFamily="2" charset="0"/>
              </a:rPr>
              <a:t>The primary purpose of </a:t>
            </a:r>
            <a:r>
              <a:rPr kumimoji="0" lang="en-US" sz="2000" b="1" i="0" u="none" strike="noStrike" kern="1200" cap="none" spc="0" normalizeH="0" baseline="0" noProof="0" dirty="0">
                <a:ln>
                  <a:noFill/>
                </a:ln>
                <a:solidFill>
                  <a:schemeClr val="tx1">
                    <a:lumMod val="75000"/>
                    <a:lumOff val="25000"/>
                  </a:schemeClr>
                </a:solidFill>
                <a:effectLst/>
                <a:uLnTx/>
                <a:uFillTx/>
                <a:latin typeface="Poppins" panose="00000500000000000000" pitchFamily="2" charset="0"/>
                <a:cs typeface="Poppins" panose="00000500000000000000" pitchFamily="2" charset="0"/>
              </a:rPr>
              <a:t>Relax</a:t>
            </a:r>
            <a:r>
              <a:rPr kumimoji="0" lang="en-US" sz="2000" b="0" i="0" u="none" strike="noStrike" kern="1200" cap="none" spc="0" normalizeH="0" baseline="0" noProof="0" dirty="0">
                <a:ln>
                  <a:noFill/>
                </a:ln>
                <a:solidFill>
                  <a:schemeClr val="tx1">
                    <a:lumMod val="75000"/>
                    <a:lumOff val="25000"/>
                  </a:schemeClr>
                </a:solidFill>
                <a:effectLst/>
                <a:uLnTx/>
                <a:uFillTx/>
                <a:latin typeface="Poppins" panose="00000500000000000000" pitchFamily="2" charset="0"/>
                <a:cs typeface="Poppins" panose="00000500000000000000" pitchFamily="2" charset="0"/>
              </a:rPr>
              <a:t> is to allow users to share photos and videos with their </a:t>
            </a:r>
            <a:r>
              <a:rPr kumimoji="0" lang="en-US" sz="2000" b="1" i="0" u="none" strike="noStrike" kern="1200" cap="none" spc="0" normalizeH="0" baseline="0" noProof="0" dirty="0">
                <a:ln>
                  <a:noFill/>
                </a:ln>
                <a:solidFill>
                  <a:schemeClr val="tx1">
                    <a:lumMod val="75000"/>
                    <a:lumOff val="25000"/>
                  </a:schemeClr>
                </a:solidFill>
                <a:effectLst/>
                <a:uLnTx/>
                <a:uFillTx/>
                <a:latin typeface="Poppins" panose="00000500000000000000" pitchFamily="2" charset="0"/>
                <a:cs typeface="Poppins" panose="00000500000000000000" pitchFamily="2" charset="0"/>
              </a:rPr>
              <a:t>followers</a:t>
            </a:r>
            <a:r>
              <a:rPr kumimoji="0" lang="en-US" sz="2000" b="0" i="0" u="none" strike="noStrike" kern="1200" cap="none" spc="0" normalizeH="0" baseline="0" noProof="0" dirty="0">
                <a:ln>
                  <a:noFill/>
                </a:ln>
                <a:solidFill>
                  <a:schemeClr val="tx1">
                    <a:lumMod val="75000"/>
                    <a:lumOff val="25000"/>
                  </a:schemeClr>
                </a:solidFill>
                <a:effectLst/>
                <a:uLnTx/>
                <a:uFillTx/>
                <a:latin typeface="Poppins" panose="00000500000000000000" pitchFamily="2" charset="0"/>
                <a:cs typeface="Poppins" panose="00000500000000000000" pitchFamily="2" charset="0"/>
              </a:rPr>
              <a:t>, as well as to discover and </a:t>
            </a:r>
            <a:r>
              <a:rPr kumimoji="0" lang="en-US" sz="2000" b="1" i="0" u="none" strike="noStrike" kern="1200" cap="none" spc="0" normalizeH="0" baseline="0" noProof="0" dirty="0">
                <a:ln>
                  <a:noFill/>
                </a:ln>
                <a:solidFill>
                  <a:schemeClr val="tx1">
                    <a:lumMod val="75000"/>
                    <a:lumOff val="25000"/>
                  </a:schemeClr>
                </a:solidFill>
                <a:effectLst/>
                <a:uLnTx/>
                <a:uFillTx/>
                <a:latin typeface="Poppins" panose="00000500000000000000" pitchFamily="2" charset="0"/>
                <a:cs typeface="Poppins" panose="00000500000000000000" pitchFamily="2" charset="0"/>
              </a:rPr>
              <a:t>interact</a:t>
            </a:r>
            <a:r>
              <a:rPr kumimoji="0" lang="en-US" sz="2000" b="0" i="0" u="none" strike="noStrike" kern="1200" cap="none" spc="0" normalizeH="0" baseline="0" noProof="0" dirty="0">
                <a:ln>
                  <a:noFill/>
                </a:ln>
                <a:solidFill>
                  <a:schemeClr val="tx1">
                    <a:lumMod val="75000"/>
                    <a:lumOff val="25000"/>
                  </a:schemeClr>
                </a:solidFill>
                <a:effectLst/>
                <a:uLnTx/>
                <a:uFillTx/>
                <a:latin typeface="Poppins" panose="00000500000000000000" pitchFamily="2" charset="0"/>
                <a:cs typeface="Poppins" panose="00000500000000000000" pitchFamily="2" charset="0"/>
              </a:rPr>
              <a:t> with content from other users. It can be used for a wide range of purposes, such as sharing personal photos with friends and family, promoting a business or product, or simply keeping up with the latest trends and developments in a particular field or community. </a:t>
            </a:r>
            <a:endParaRPr kumimoji="0" lang="en-MY" sz="2000" b="0" i="0" u="none" strike="noStrike" kern="1200" cap="none" spc="0" normalizeH="0" baseline="0" noProof="0" dirty="0">
              <a:ln>
                <a:noFill/>
              </a:ln>
              <a:solidFill>
                <a:schemeClr val="tx1">
                  <a:lumMod val="75000"/>
                  <a:lumOff val="25000"/>
                </a:schemeClr>
              </a:solidFill>
              <a:effectLst/>
              <a:uLnTx/>
              <a:uFillTx/>
              <a:latin typeface="Poppins" panose="00000500000000000000" pitchFamily="2" charset="0"/>
              <a:cs typeface="Poppins" panose="00000500000000000000" pitchFamily="2" charset="0"/>
            </a:endParaRPr>
          </a:p>
        </p:txBody>
      </p:sp>
      <p:pic>
        <p:nvPicPr>
          <p:cNvPr id="5" name="Picture 4" descr="Icon&#10;&#10;Description automatically generated">
            <a:extLst>
              <a:ext uri="{FF2B5EF4-FFF2-40B4-BE49-F238E27FC236}">
                <a16:creationId xmlns:a16="http://schemas.microsoft.com/office/drawing/2014/main" id="{A6222D94-B1D2-407E-8DE9-18A67583F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03765" y="0"/>
            <a:ext cx="6042600" cy="6858000"/>
          </a:xfrm>
          <a:prstGeom prst="rect">
            <a:avLst/>
          </a:prstGeom>
        </p:spPr>
      </p:pic>
    </p:spTree>
    <p:extLst>
      <p:ext uri="{BB962C8B-B14F-4D97-AF65-F5344CB8AC3E}">
        <p14:creationId xmlns:p14="http://schemas.microsoft.com/office/powerpoint/2010/main" val="42402488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ADC90FB-1C31-48FB-9B20-7C8723B0372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5716753" cy="6858000"/>
          </a:xfrm>
          <a:prstGeom prst="rect">
            <a:avLst/>
          </a:prstGeom>
        </p:spPr>
      </p:pic>
      <p:sp>
        <p:nvSpPr>
          <p:cNvPr id="2" name="TextBox 1">
            <a:extLst>
              <a:ext uri="{FF2B5EF4-FFF2-40B4-BE49-F238E27FC236}">
                <a16:creationId xmlns:a16="http://schemas.microsoft.com/office/drawing/2014/main" id="{DB9C7D82-CA35-448A-AEA6-74B86DCCEC69}"/>
              </a:ext>
            </a:extLst>
          </p:cNvPr>
          <p:cNvSpPr txBox="1"/>
          <p:nvPr/>
        </p:nvSpPr>
        <p:spPr>
          <a:xfrm>
            <a:off x="2502923" y="913472"/>
            <a:ext cx="9026830" cy="156966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96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Enhancements</a:t>
            </a:r>
          </a:p>
        </p:txBody>
      </p:sp>
      <p:sp>
        <p:nvSpPr>
          <p:cNvPr id="3" name="TextBox 2">
            <a:extLst>
              <a:ext uri="{FF2B5EF4-FFF2-40B4-BE49-F238E27FC236}">
                <a16:creationId xmlns:a16="http://schemas.microsoft.com/office/drawing/2014/main" id="{B3C83DB2-F767-4E1F-A4B1-EE7E48B4422C}"/>
              </a:ext>
            </a:extLst>
          </p:cNvPr>
          <p:cNvSpPr txBox="1"/>
          <p:nvPr/>
        </p:nvSpPr>
        <p:spPr>
          <a:xfrm>
            <a:off x="5249333" y="2483132"/>
            <a:ext cx="7191023" cy="4300145"/>
          </a:xfrm>
          <a:prstGeom prst="rect">
            <a:avLst/>
          </a:prstGeom>
          <a:noFill/>
        </p:spPr>
        <p:txBody>
          <a:bodyPr wrap="square">
            <a:spAutoFit/>
          </a:bodyPr>
          <a:lstStyle/>
          <a:p>
            <a:pPr marL="514350" marR="0" lvl="0" indent="-514350" algn="l" defTabSz="914400" rtl="0" eaLnBrk="1" fontAlgn="auto" latinLnBrk="0" hangingPunct="1">
              <a:lnSpc>
                <a:spcPct val="100000"/>
              </a:lnSpc>
              <a:spcBef>
                <a:spcPts val="0"/>
              </a:spcBef>
              <a:spcAft>
                <a:spcPts val="0"/>
              </a:spcAft>
              <a:buClrTx/>
              <a:buSzTx/>
              <a:buFont typeface="+mj-lt"/>
              <a:buAutoNum type="romanUcPeriod"/>
              <a:tabLst/>
              <a:defRPr/>
            </a:pPr>
            <a:r>
              <a:rPr kumimoji="0" lang="en-US" sz="2400" b="0" i="0" u="none" strike="noStrike" kern="1200" cap="none" spc="0" normalizeH="0" baseline="0" noProof="0" dirty="0">
                <a:ln>
                  <a:noFill/>
                </a:ln>
                <a:solidFill>
                  <a:srgbClr val="A5A5A5">
                    <a:lumMod val="50000"/>
                  </a:srgbClr>
                </a:solidFill>
                <a:effectLst/>
                <a:uLnTx/>
                <a:uFillTx/>
                <a:latin typeface="Segoe UI Emoji" panose="020B0502040204020203" pitchFamily="34" charset="0"/>
                <a:ea typeface="Segoe UI Emoji" panose="020B0502040204020203" pitchFamily="34" charset="0"/>
              </a:rPr>
              <a:t>Scalability and performance optimization </a:t>
            </a:r>
          </a:p>
          <a:p>
            <a:pPr marL="514350" marR="0" lvl="0" indent="-514350" algn="l" defTabSz="914400" rtl="0" eaLnBrk="1" fontAlgn="auto" latinLnBrk="0" hangingPunct="1">
              <a:lnSpc>
                <a:spcPct val="100000"/>
              </a:lnSpc>
              <a:spcBef>
                <a:spcPts val="0"/>
              </a:spcBef>
              <a:spcAft>
                <a:spcPts val="0"/>
              </a:spcAft>
              <a:buClrTx/>
              <a:buSzTx/>
              <a:buFont typeface="+mj-lt"/>
              <a:buAutoNum type="romanUcPeriod"/>
              <a:tabLst/>
              <a:defRPr/>
            </a:pPr>
            <a:r>
              <a:rPr kumimoji="0" lang="en-US" sz="2400" b="0" i="0" u="none" strike="noStrike" kern="1200" cap="none" spc="0" normalizeH="0" baseline="0" noProof="0" dirty="0">
                <a:ln>
                  <a:noFill/>
                </a:ln>
                <a:solidFill>
                  <a:srgbClr val="A5A5A5">
                    <a:lumMod val="50000"/>
                  </a:srgbClr>
                </a:solidFill>
                <a:effectLst/>
                <a:uLnTx/>
                <a:uFillTx/>
                <a:latin typeface="Segoe UI Emoji" panose="020B0502040204020203" pitchFamily="34" charset="0"/>
                <a:ea typeface="Segoe UI Emoji" panose="020B0502040204020203" pitchFamily="34" charset="0"/>
              </a:rPr>
              <a:t>Security enhancements</a:t>
            </a:r>
          </a:p>
          <a:p>
            <a:pPr marL="514350" marR="0" lvl="0" indent="-514350" algn="l" defTabSz="914400" rtl="0" eaLnBrk="1" fontAlgn="auto" latinLnBrk="0" hangingPunct="1">
              <a:lnSpc>
                <a:spcPct val="100000"/>
              </a:lnSpc>
              <a:spcBef>
                <a:spcPts val="0"/>
              </a:spcBef>
              <a:spcAft>
                <a:spcPts val="0"/>
              </a:spcAft>
              <a:buClrTx/>
              <a:buSzTx/>
              <a:buFont typeface="+mj-lt"/>
              <a:buAutoNum type="romanUcPeriod"/>
              <a:tabLst/>
              <a:defRPr/>
            </a:pPr>
            <a:r>
              <a:rPr kumimoji="0" lang="en-US" sz="2400" b="0" i="0" u="none" strike="noStrike" kern="1200" cap="none" spc="0" normalizeH="0" baseline="0" noProof="0" dirty="0">
                <a:ln>
                  <a:noFill/>
                </a:ln>
                <a:solidFill>
                  <a:srgbClr val="A5A5A5">
                    <a:lumMod val="50000"/>
                  </a:srgbClr>
                </a:solidFill>
                <a:effectLst/>
                <a:uLnTx/>
                <a:uFillTx/>
                <a:latin typeface="Segoe UI Emoji" panose="020B0502040204020203" pitchFamily="34" charset="0"/>
                <a:ea typeface="Segoe UI Emoji" panose="020B0502040204020203" pitchFamily="34" charset="0"/>
              </a:rPr>
              <a:t>Machine learning integration </a:t>
            </a:r>
          </a:p>
          <a:p>
            <a:pPr marL="514350" marR="0" lvl="0" indent="-514350" algn="l" defTabSz="914400" rtl="0" eaLnBrk="1" fontAlgn="auto" latinLnBrk="0" hangingPunct="1">
              <a:lnSpc>
                <a:spcPct val="100000"/>
              </a:lnSpc>
              <a:spcBef>
                <a:spcPts val="0"/>
              </a:spcBef>
              <a:spcAft>
                <a:spcPts val="0"/>
              </a:spcAft>
              <a:buClrTx/>
              <a:buSzTx/>
              <a:buFont typeface="+mj-lt"/>
              <a:buAutoNum type="romanUcPeriod"/>
              <a:tabLst/>
              <a:defRPr/>
            </a:pPr>
            <a:r>
              <a:rPr kumimoji="0" lang="en-US" sz="2400" b="0" i="0" u="none" strike="noStrike" kern="1200" cap="none" spc="0" normalizeH="0" baseline="0" noProof="0" dirty="0">
                <a:ln>
                  <a:noFill/>
                </a:ln>
                <a:solidFill>
                  <a:srgbClr val="A5A5A5">
                    <a:lumMod val="50000"/>
                  </a:srgbClr>
                </a:solidFill>
                <a:effectLst/>
                <a:uLnTx/>
                <a:uFillTx/>
                <a:latin typeface="Segoe UI Emoji" panose="020B0502040204020203" pitchFamily="34" charset="0"/>
                <a:ea typeface="Segoe UI Emoji" panose="020B0502040204020203" pitchFamily="34" charset="0"/>
              </a:rPr>
              <a:t>Direct messaging and E-commerce integration </a:t>
            </a:r>
          </a:p>
          <a:p>
            <a:pPr marL="514350" marR="0" lvl="0" indent="-514350" algn="l" defTabSz="914400" rtl="0" eaLnBrk="1" fontAlgn="auto" latinLnBrk="0" hangingPunct="1">
              <a:lnSpc>
                <a:spcPct val="100000"/>
              </a:lnSpc>
              <a:spcBef>
                <a:spcPts val="0"/>
              </a:spcBef>
              <a:spcAft>
                <a:spcPts val="0"/>
              </a:spcAft>
              <a:buClrTx/>
              <a:buSzTx/>
              <a:buFont typeface="+mj-lt"/>
              <a:buAutoNum type="romanUcPeriod"/>
              <a:tabLst/>
              <a:defRPr/>
            </a:pPr>
            <a:r>
              <a:rPr kumimoji="0" lang="en-US" sz="2400" b="0" i="0" u="none" strike="noStrike" kern="1200" cap="none" spc="0" normalizeH="0" baseline="0" noProof="0" dirty="0">
                <a:ln>
                  <a:noFill/>
                </a:ln>
                <a:solidFill>
                  <a:srgbClr val="A5A5A5">
                    <a:lumMod val="50000"/>
                  </a:srgbClr>
                </a:solidFill>
                <a:effectLst/>
                <a:uLnTx/>
                <a:uFillTx/>
                <a:latin typeface="Segoe UI Emoji" panose="020B0502040204020203" pitchFamily="34" charset="0"/>
                <a:ea typeface="Segoe UI Emoji" panose="020B0502040204020203" pitchFamily="34" charset="0"/>
              </a:rPr>
              <a:t>Live streaming </a:t>
            </a:r>
          </a:p>
          <a:p>
            <a:pPr marL="514350" marR="0" lvl="0" indent="-514350" algn="l" defTabSz="914400" rtl="0" eaLnBrk="1" fontAlgn="auto" latinLnBrk="0" hangingPunct="1">
              <a:lnSpc>
                <a:spcPct val="100000"/>
              </a:lnSpc>
              <a:spcBef>
                <a:spcPts val="0"/>
              </a:spcBef>
              <a:spcAft>
                <a:spcPts val="0"/>
              </a:spcAft>
              <a:buClrTx/>
              <a:buSzTx/>
              <a:buFont typeface="+mj-lt"/>
              <a:buAutoNum type="romanUcPeriod"/>
              <a:tabLst/>
              <a:defRPr/>
            </a:pPr>
            <a:r>
              <a:rPr kumimoji="0" lang="en-US" sz="2400" b="0" i="0" u="none" strike="noStrike" kern="1200" cap="none" spc="0" normalizeH="0" baseline="0" noProof="0" dirty="0">
                <a:ln>
                  <a:noFill/>
                </a:ln>
                <a:solidFill>
                  <a:srgbClr val="A5A5A5">
                    <a:lumMod val="50000"/>
                  </a:srgbClr>
                </a:solidFill>
                <a:effectLst/>
                <a:uLnTx/>
                <a:uFillTx/>
                <a:latin typeface="Segoe UI Emoji" panose="020B0502040204020203" pitchFamily="34" charset="0"/>
                <a:ea typeface="Segoe UI Emoji" panose="020B0502040204020203" pitchFamily="34" charset="0"/>
              </a:rPr>
              <a:t>Focus on usability and accessibility </a:t>
            </a:r>
          </a:p>
          <a:p>
            <a:pPr marL="514350" marR="0" lvl="0" indent="-514350" algn="l" defTabSz="914400" rtl="0" eaLnBrk="1" fontAlgn="auto" latinLnBrk="0" hangingPunct="1">
              <a:lnSpc>
                <a:spcPct val="100000"/>
              </a:lnSpc>
              <a:spcBef>
                <a:spcPts val="0"/>
              </a:spcBef>
              <a:spcAft>
                <a:spcPts val="0"/>
              </a:spcAft>
              <a:buClrTx/>
              <a:buSzTx/>
              <a:buFont typeface="+mj-lt"/>
              <a:buAutoNum type="romanUcPeriod"/>
              <a:tabLst/>
              <a:defRPr/>
            </a:pPr>
            <a:r>
              <a:rPr kumimoji="0" lang="en-US" sz="2400" b="0" i="0" u="none" strike="noStrike" kern="1200" cap="none" spc="0" normalizeH="0" baseline="0" noProof="0" dirty="0">
                <a:ln>
                  <a:noFill/>
                </a:ln>
                <a:solidFill>
                  <a:srgbClr val="A5A5A5">
                    <a:lumMod val="50000"/>
                  </a:srgbClr>
                </a:solidFill>
                <a:effectLst/>
                <a:uLnTx/>
                <a:uFillTx/>
                <a:latin typeface="Segoe UI Emoji" panose="020B0502040204020203" pitchFamily="34" charset="0"/>
                <a:ea typeface="Segoe UI Emoji" panose="020B0502040204020203" pitchFamily="34" charset="0"/>
              </a:rPr>
              <a:t>Analytics and metrics</a:t>
            </a:r>
          </a:p>
          <a:p>
            <a:pPr marL="514350" marR="0" lvl="0" indent="-514350" algn="l" defTabSz="914400" rtl="0" eaLnBrk="1" fontAlgn="auto" latinLnBrk="0" hangingPunct="1">
              <a:lnSpc>
                <a:spcPct val="100000"/>
              </a:lnSpc>
              <a:spcBef>
                <a:spcPts val="0"/>
              </a:spcBef>
              <a:spcAft>
                <a:spcPts val="0"/>
              </a:spcAft>
              <a:buClrTx/>
              <a:buSzTx/>
              <a:buFont typeface="+mj-lt"/>
              <a:buAutoNum type="romanUcPeriod"/>
              <a:tabLst/>
              <a:defRPr/>
            </a:pPr>
            <a:r>
              <a:rPr kumimoji="0" lang="en-US" sz="2400" b="0" i="0" u="none" strike="noStrike" kern="1200" cap="none" spc="0" normalizeH="0" baseline="0" noProof="0" dirty="0">
                <a:ln>
                  <a:noFill/>
                </a:ln>
                <a:solidFill>
                  <a:srgbClr val="A5A5A5">
                    <a:lumMod val="50000"/>
                  </a:srgbClr>
                </a:solidFill>
                <a:effectLst/>
                <a:uLnTx/>
                <a:uFillTx/>
                <a:latin typeface="Segoe UI Emoji" panose="020B0502040204020203" pitchFamily="34" charset="0"/>
                <a:ea typeface="Segoe UI Emoji" panose="020B0502040204020203" pitchFamily="34" charset="0"/>
              </a:rPr>
              <a:t>Improve and upgrade the backend infrastructure </a:t>
            </a:r>
          </a:p>
          <a:p>
            <a:pPr marL="514350" marR="0" lvl="0" indent="-514350" algn="l" defTabSz="914400" rtl="0" eaLnBrk="1" fontAlgn="auto" latinLnBrk="0" hangingPunct="1">
              <a:lnSpc>
                <a:spcPct val="100000"/>
              </a:lnSpc>
              <a:spcBef>
                <a:spcPts val="0"/>
              </a:spcBef>
              <a:spcAft>
                <a:spcPts val="0"/>
              </a:spcAft>
              <a:buClrTx/>
              <a:buSzTx/>
              <a:buFont typeface="+mj-lt"/>
              <a:buAutoNum type="romanUcPeriod"/>
              <a:tabLst/>
              <a:defRPr/>
            </a:pPr>
            <a:r>
              <a:rPr kumimoji="0" lang="en-US" sz="2400" b="0" i="0" u="none" strike="noStrike" kern="1200" cap="none" spc="0" normalizeH="0" baseline="0" noProof="0" dirty="0">
                <a:ln>
                  <a:noFill/>
                </a:ln>
                <a:solidFill>
                  <a:srgbClr val="A5A5A5">
                    <a:lumMod val="50000"/>
                  </a:srgbClr>
                </a:solidFill>
                <a:effectLst/>
                <a:uLnTx/>
                <a:uFillTx/>
                <a:latin typeface="Segoe UI Emoji" panose="020B0502040204020203" pitchFamily="34" charset="0"/>
                <a:ea typeface="Segoe UI Emoji" panose="020B0502040204020203" pitchFamily="34" charset="0"/>
              </a:rPr>
              <a:t>A/B testing </a:t>
            </a:r>
          </a:p>
          <a:p>
            <a:pPr marL="514350" marR="0" lvl="0" indent="-514350" algn="l" defTabSz="914400" rtl="0" eaLnBrk="1" fontAlgn="auto" latinLnBrk="0" hangingPunct="1">
              <a:lnSpc>
                <a:spcPct val="100000"/>
              </a:lnSpc>
              <a:spcBef>
                <a:spcPts val="0"/>
              </a:spcBef>
              <a:spcAft>
                <a:spcPts val="0"/>
              </a:spcAft>
              <a:buClrTx/>
              <a:buSzTx/>
              <a:buFont typeface="+mj-lt"/>
              <a:buAutoNum type="romanUcPeriod"/>
              <a:tabLst/>
              <a:defRPr/>
            </a:pPr>
            <a:r>
              <a:rPr kumimoji="0" lang="en-US" sz="2400" b="0" i="0" u="none" strike="noStrike" kern="1200" cap="none" spc="0" normalizeH="0" baseline="0" noProof="0" dirty="0">
                <a:ln>
                  <a:noFill/>
                </a:ln>
                <a:solidFill>
                  <a:srgbClr val="A5A5A5">
                    <a:lumMod val="50000"/>
                  </a:srgbClr>
                </a:solidFill>
                <a:effectLst/>
                <a:uLnTx/>
                <a:uFillTx/>
                <a:latin typeface="Segoe UI Emoji" panose="020B0502040204020203" pitchFamily="34" charset="0"/>
                <a:ea typeface="Segoe UI Emoji" panose="020B0502040204020203" pitchFamily="34" charset="0"/>
              </a:rPr>
              <a:t>Continuous development and maintenance</a:t>
            </a:r>
          </a:p>
        </p:txBody>
      </p:sp>
      <p:sp>
        <p:nvSpPr>
          <p:cNvPr id="6" name="Oval 5">
            <a:extLst>
              <a:ext uri="{FF2B5EF4-FFF2-40B4-BE49-F238E27FC236}">
                <a16:creationId xmlns:a16="http://schemas.microsoft.com/office/drawing/2014/main" id="{7BC9E975-C239-B150-0CEC-D121B49B1D43}"/>
              </a:ext>
            </a:extLst>
          </p:cNvPr>
          <p:cNvSpPr/>
          <p:nvPr/>
        </p:nvSpPr>
        <p:spPr>
          <a:xfrm rot="7681175">
            <a:off x="10245385" y="-1258113"/>
            <a:ext cx="2771936" cy="2694027"/>
          </a:xfrm>
          <a:prstGeom prst="ellipse">
            <a:avLst/>
          </a:prstGeom>
          <a:gradFill flip="none" rotWithShape="1">
            <a:gsLst>
              <a:gs pos="0">
                <a:srgbClr val="628890"/>
              </a:gs>
              <a:gs pos="34000">
                <a:srgbClr val="48ACA7"/>
              </a:gs>
              <a:gs pos="100000">
                <a:srgbClr val="E2FDFE"/>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86697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icon&#10;&#10;Description automatically generated">
            <a:extLst>
              <a:ext uri="{FF2B5EF4-FFF2-40B4-BE49-F238E27FC236}">
                <a16:creationId xmlns:a16="http://schemas.microsoft.com/office/drawing/2014/main" id="{C3C16F33-7056-47E3-ACF3-7DB22333C73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5679818" cy="6858000"/>
          </a:xfrm>
          <a:prstGeom prst="rect">
            <a:avLst/>
          </a:prstGeom>
        </p:spPr>
      </p:pic>
      <p:sp>
        <p:nvSpPr>
          <p:cNvPr id="2" name="TextBox 1">
            <a:extLst>
              <a:ext uri="{FF2B5EF4-FFF2-40B4-BE49-F238E27FC236}">
                <a16:creationId xmlns:a16="http://schemas.microsoft.com/office/drawing/2014/main" id="{34FBC6FE-C5BE-4E18-B3D8-E031AD48F3C9}"/>
              </a:ext>
            </a:extLst>
          </p:cNvPr>
          <p:cNvSpPr txBox="1"/>
          <p:nvPr/>
        </p:nvSpPr>
        <p:spPr>
          <a:xfrm>
            <a:off x="4167421" y="368880"/>
            <a:ext cx="6859570" cy="36933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96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onclu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13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3" name="TextBox 2">
            <a:extLst>
              <a:ext uri="{FF2B5EF4-FFF2-40B4-BE49-F238E27FC236}">
                <a16:creationId xmlns:a16="http://schemas.microsoft.com/office/drawing/2014/main" id="{C51551B4-3388-40E7-A8E2-933E6DAFA79E}"/>
              </a:ext>
            </a:extLst>
          </p:cNvPr>
          <p:cNvSpPr txBox="1"/>
          <p:nvPr/>
        </p:nvSpPr>
        <p:spPr>
          <a:xfrm>
            <a:off x="4447822" y="2065964"/>
            <a:ext cx="7319748" cy="415498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lumMod val="50000"/>
                  </a:srgbClr>
                </a:solidFill>
                <a:effectLst/>
                <a:uLnTx/>
                <a:uFillTx/>
                <a:latin typeface="Segoe UI Emoji" panose="020B0502040204020203" pitchFamily="34" charset="0"/>
                <a:ea typeface="Segoe UI Emoji" panose="020B0502040204020203" pitchFamily="34" charset="0"/>
              </a:rPr>
              <a:t>In conclusion, creating an Instagram clone web development project can be a challenging but rewarding endeavor. It requires a solid understanding of web development technologies, such as </a:t>
            </a:r>
            <a:r>
              <a:rPr kumimoji="0" lang="en-US" sz="2400" i="0" u="none" strike="noStrike" kern="1200" cap="none" spc="0" normalizeH="0" baseline="0" noProof="0" dirty="0">
                <a:ln>
                  <a:noFill/>
                </a:ln>
                <a:solidFill>
                  <a:srgbClr val="A5A5A5">
                    <a:lumMod val="50000"/>
                  </a:srgbClr>
                </a:solidFill>
                <a:effectLst/>
                <a:uLnTx/>
                <a:uFillTx/>
                <a:latin typeface="Segoe UI Emoji" panose="020B0502040204020203" pitchFamily="34" charset="0"/>
                <a:ea typeface="Segoe UI Emoji" panose="020B0502040204020203" pitchFamily="34" charset="0"/>
              </a:rPr>
              <a:t>HTML</a:t>
            </a:r>
            <a:r>
              <a:rPr kumimoji="0" lang="en-US" sz="2400" b="0" i="0" u="none" strike="noStrike" kern="1200" cap="none" spc="0" normalizeH="0" baseline="0" noProof="0" dirty="0">
                <a:ln>
                  <a:noFill/>
                </a:ln>
                <a:solidFill>
                  <a:srgbClr val="A5A5A5">
                    <a:lumMod val="50000"/>
                  </a:srgbClr>
                </a:solidFill>
                <a:effectLst/>
                <a:uLnTx/>
                <a:uFillTx/>
                <a:latin typeface="Segoe UI Emoji" panose="020B0502040204020203" pitchFamily="34" charset="0"/>
                <a:ea typeface="Segoe UI Emoji" panose="020B0502040204020203" pitchFamily="34" charset="0"/>
              </a:rPr>
              <a:t>, CSS, JavaScript, and PHP, as well as proficiency in working with databases, such as MySQL.</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lumMod val="50000"/>
                  </a:srgbClr>
                </a:solidFill>
                <a:effectLst/>
                <a:uLnTx/>
                <a:uFillTx/>
                <a:latin typeface="Segoe UI Emoji" panose="020B0502040204020203" pitchFamily="34" charset="0"/>
                <a:ea typeface="Segoe UI Emoji" panose="020B0502040204020203" pitchFamily="34" charset="0"/>
              </a:rPr>
              <a:t>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lumMod val="50000"/>
                  </a:srgbClr>
                </a:solidFill>
                <a:effectLst/>
                <a:uLnTx/>
                <a:uFillTx/>
                <a:latin typeface="Segoe UI Emoji" panose="020B0502040204020203" pitchFamily="34" charset="0"/>
                <a:ea typeface="Segoe UI Emoji" panose="020B0502040204020203" pitchFamily="34" charset="0"/>
              </a:rPr>
              <a:t>Additionally, the project can be a great opportunity to learn about new technologies and trends in web development, such as responsive design.</a:t>
            </a:r>
          </a:p>
        </p:txBody>
      </p:sp>
      <p:pic>
        <p:nvPicPr>
          <p:cNvPr id="4" name="Picture 3">
            <a:extLst>
              <a:ext uri="{FF2B5EF4-FFF2-40B4-BE49-F238E27FC236}">
                <a16:creationId xmlns:a16="http://schemas.microsoft.com/office/drawing/2014/main" id="{0C0C89C7-2CA1-C0BC-3A9A-12753731416F}"/>
              </a:ext>
            </a:extLst>
          </p:cNvPr>
          <p:cNvPicPr>
            <a:picLocks noChangeAspect="1"/>
          </p:cNvPicPr>
          <p:nvPr/>
        </p:nvPicPr>
        <p:blipFill>
          <a:blip r:embed="rId3"/>
          <a:stretch>
            <a:fillRect/>
          </a:stretch>
        </p:blipFill>
        <p:spPr>
          <a:xfrm>
            <a:off x="0" y="7379194"/>
            <a:ext cx="12192000" cy="6844311"/>
          </a:xfrm>
          <a:prstGeom prst="rect">
            <a:avLst/>
          </a:prstGeom>
        </p:spPr>
      </p:pic>
      <p:grpSp>
        <p:nvGrpSpPr>
          <p:cNvPr id="7" name="Group 6">
            <a:extLst>
              <a:ext uri="{FF2B5EF4-FFF2-40B4-BE49-F238E27FC236}">
                <a16:creationId xmlns:a16="http://schemas.microsoft.com/office/drawing/2014/main" id="{7E1FD4F3-B718-041A-6346-0A6CC18008E6}"/>
              </a:ext>
            </a:extLst>
          </p:cNvPr>
          <p:cNvGrpSpPr/>
          <p:nvPr/>
        </p:nvGrpSpPr>
        <p:grpSpPr>
          <a:xfrm>
            <a:off x="666229" y="10661558"/>
            <a:ext cx="1823876" cy="1242850"/>
            <a:chOff x="795499" y="3142442"/>
            <a:chExt cx="1823876" cy="1242850"/>
          </a:xfrm>
        </p:grpSpPr>
        <p:sp>
          <p:nvSpPr>
            <p:cNvPr id="8" name="Rectangle: Rounded Corners 7">
              <a:hlinkHover r:id="rId4" action="ppaction://hlinksldjump"/>
              <a:extLst>
                <a:ext uri="{FF2B5EF4-FFF2-40B4-BE49-F238E27FC236}">
                  <a16:creationId xmlns:a16="http://schemas.microsoft.com/office/drawing/2014/main" id="{45BC2284-2218-37D8-3030-236FEFF4061C}"/>
                </a:ext>
              </a:extLst>
            </p:cNvPr>
            <p:cNvSpPr/>
            <p:nvPr/>
          </p:nvSpPr>
          <p:spPr>
            <a:xfrm>
              <a:off x="795499" y="3142442"/>
              <a:ext cx="1823876" cy="1242850"/>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2" descr="backpack green Illustration in PNG, SVG">
              <a:hlinkHover r:id="rId4" action="ppaction://hlinksldjump"/>
              <a:extLst>
                <a:ext uri="{FF2B5EF4-FFF2-40B4-BE49-F238E27FC236}">
                  <a16:creationId xmlns:a16="http://schemas.microsoft.com/office/drawing/2014/main" id="{8A5A32AB-3294-F69C-0029-A9BB3824BD1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00149" y="3300703"/>
              <a:ext cx="890589" cy="9184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a:extLst>
              <a:ext uri="{FF2B5EF4-FFF2-40B4-BE49-F238E27FC236}">
                <a16:creationId xmlns:a16="http://schemas.microsoft.com/office/drawing/2014/main" id="{97953D93-77B8-84B5-2156-3F7256AB6ECC}"/>
              </a:ext>
            </a:extLst>
          </p:cNvPr>
          <p:cNvGrpSpPr/>
          <p:nvPr/>
        </p:nvGrpSpPr>
        <p:grpSpPr>
          <a:xfrm>
            <a:off x="2793121" y="10682662"/>
            <a:ext cx="1823876" cy="1242850"/>
            <a:chOff x="2765875" y="3142442"/>
            <a:chExt cx="1823876" cy="1242850"/>
          </a:xfrm>
        </p:grpSpPr>
        <p:sp>
          <p:nvSpPr>
            <p:cNvPr id="11" name="Rectangle: Rounded Corners 10">
              <a:hlinkHover r:id="rId6" action="ppaction://hlinksldjump"/>
              <a:extLst>
                <a:ext uri="{FF2B5EF4-FFF2-40B4-BE49-F238E27FC236}">
                  <a16:creationId xmlns:a16="http://schemas.microsoft.com/office/drawing/2014/main" id="{4AD2EBA6-F35E-041C-A4E9-202C20C70A51}"/>
                </a:ext>
              </a:extLst>
            </p:cNvPr>
            <p:cNvSpPr/>
            <p:nvPr/>
          </p:nvSpPr>
          <p:spPr>
            <a:xfrm>
              <a:off x="2765875" y="3142442"/>
              <a:ext cx="1823876" cy="1242850"/>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58065A88-850D-8D3F-4BB3-B4A784C7D155}"/>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3120580" y="3283504"/>
              <a:ext cx="1107416" cy="987597"/>
            </a:xfrm>
            <a:prstGeom prst="rect">
              <a:avLst/>
            </a:prstGeom>
          </p:spPr>
        </p:pic>
      </p:grpSp>
      <p:grpSp>
        <p:nvGrpSpPr>
          <p:cNvPr id="13" name="Group 12">
            <a:extLst>
              <a:ext uri="{FF2B5EF4-FFF2-40B4-BE49-F238E27FC236}">
                <a16:creationId xmlns:a16="http://schemas.microsoft.com/office/drawing/2014/main" id="{FF40A6A9-8DEA-EDD2-3BA8-546AE2F8519D}"/>
              </a:ext>
            </a:extLst>
          </p:cNvPr>
          <p:cNvGrpSpPr/>
          <p:nvPr/>
        </p:nvGrpSpPr>
        <p:grpSpPr>
          <a:xfrm>
            <a:off x="4989936" y="10695221"/>
            <a:ext cx="1823876" cy="1242850"/>
            <a:chOff x="4736251" y="3142442"/>
            <a:chExt cx="1823876" cy="1242850"/>
          </a:xfrm>
        </p:grpSpPr>
        <p:sp>
          <p:nvSpPr>
            <p:cNvPr id="14" name="Rectangle: Rounded Corners 13">
              <a:hlinkHover r:id="rId8" action="ppaction://hlinksldjump"/>
              <a:extLst>
                <a:ext uri="{FF2B5EF4-FFF2-40B4-BE49-F238E27FC236}">
                  <a16:creationId xmlns:a16="http://schemas.microsoft.com/office/drawing/2014/main" id="{C7D51111-9D5A-CD80-5315-A98FCF3F42D1}"/>
                </a:ext>
              </a:extLst>
            </p:cNvPr>
            <p:cNvSpPr/>
            <p:nvPr/>
          </p:nvSpPr>
          <p:spPr>
            <a:xfrm>
              <a:off x="4736251" y="3142442"/>
              <a:ext cx="1823876" cy="1242850"/>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Picture 14">
              <a:hlinkHover r:id="rId8" action="ppaction://hlinksldjump"/>
              <a:extLst>
                <a:ext uri="{FF2B5EF4-FFF2-40B4-BE49-F238E27FC236}">
                  <a16:creationId xmlns:a16="http://schemas.microsoft.com/office/drawing/2014/main" id="{01DC13B3-D29E-5B4F-819C-5FBE2D25697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63346" y="3363885"/>
              <a:ext cx="763355" cy="759193"/>
            </a:xfrm>
            <a:prstGeom prst="rect">
              <a:avLst/>
            </a:prstGeom>
          </p:spPr>
        </p:pic>
      </p:grpSp>
      <p:grpSp>
        <p:nvGrpSpPr>
          <p:cNvPr id="16" name="Group 15">
            <a:extLst>
              <a:ext uri="{FF2B5EF4-FFF2-40B4-BE49-F238E27FC236}">
                <a16:creationId xmlns:a16="http://schemas.microsoft.com/office/drawing/2014/main" id="{2F4208CD-42E4-A69A-2F1B-2CBBAD526625}"/>
              </a:ext>
            </a:extLst>
          </p:cNvPr>
          <p:cNvGrpSpPr/>
          <p:nvPr/>
        </p:nvGrpSpPr>
        <p:grpSpPr>
          <a:xfrm>
            <a:off x="7111422" y="10707780"/>
            <a:ext cx="1823876" cy="1242850"/>
            <a:chOff x="6955139" y="3193494"/>
            <a:chExt cx="1823876" cy="1242850"/>
          </a:xfrm>
        </p:grpSpPr>
        <p:sp>
          <p:nvSpPr>
            <p:cNvPr id="17" name="Rectangle: Rounded Corners 16">
              <a:hlinkHover r:id="rId8" action="ppaction://hlinksldjump"/>
              <a:extLst>
                <a:ext uri="{FF2B5EF4-FFF2-40B4-BE49-F238E27FC236}">
                  <a16:creationId xmlns:a16="http://schemas.microsoft.com/office/drawing/2014/main" id="{F1E6EF8B-DA6F-9043-C492-DA7052C91EDA}"/>
                </a:ext>
              </a:extLst>
            </p:cNvPr>
            <p:cNvSpPr/>
            <p:nvPr/>
          </p:nvSpPr>
          <p:spPr>
            <a:xfrm>
              <a:off x="6955139" y="3193494"/>
              <a:ext cx="1823876" cy="1242850"/>
            </a:xfrm>
            <a:prstGeom prst="roundRect">
              <a:avLst/>
            </a:prstGeom>
            <a:solidFill>
              <a:schemeClr val="bg1"/>
            </a:solidFill>
            <a:ln>
              <a:noFill/>
            </a:ln>
            <a:effectLst>
              <a:outerShdw blurRad="266700" dist="63500" dir="5400000" algn="ctr" rotWithShape="0">
                <a:srgbClr val="247A7E">
                  <a:alpha val="2588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Picture 17">
              <a:hlinkHover r:id="rId8" action="ppaction://hlinksldjump"/>
              <a:extLst>
                <a:ext uri="{FF2B5EF4-FFF2-40B4-BE49-F238E27FC236}">
                  <a16:creationId xmlns:a16="http://schemas.microsoft.com/office/drawing/2014/main" id="{8F0DB155-9729-3492-AC39-43822447036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482234" y="3414937"/>
              <a:ext cx="763355" cy="759193"/>
            </a:xfrm>
            <a:prstGeom prst="rect">
              <a:avLst/>
            </a:prstGeom>
          </p:spPr>
        </p:pic>
      </p:grpSp>
      <p:grpSp>
        <p:nvGrpSpPr>
          <p:cNvPr id="19" name="Group 18">
            <a:extLst>
              <a:ext uri="{FF2B5EF4-FFF2-40B4-BE49-F238E27FC236}">
                <a16:creationId xmlns:a16="http://schemas.microsoft.com/office/drawing/2014/main" id="{E7BA03E3-3E51-EA57-0E3C-22A301291823}"/>
              </a:ext>
            </a:extLst>
          </p:cNvPr>
          <p:cNvGrpSpPr/>
          <p:nvPr/>
        </p:nvGrpSpPr>
        <p:grpSpPr>
          <a:xfrm>
            <a:off x="8715142" y="-319512"/>
            <a:ext cx="6953716" cy="6857998"/>
            <a:chOff x="5263347" y="1"/>
            <a:chExt cx="6953716" cy="6857998"/>
          </a:xfrm>
        </p:grpSpPr>
        <p:pic>
          <p:nvPicPr>
            <p:cNvPr id="20" name="Picture 19" descr="A person standing on a stage&#10;&#10;Description automatically generated with low confidence">
              <a:extLst>
                <a:ext uri="{FF2B5EF4-FFF2-40B4-BE49-F238E27FC236}">
                  <a16:creationId xmlns:a16="http://schemas.microsoft.com/office/drawing/2014/main" id="{2FEEE45D-C818-A974-253C-4DD4A13BE026}"/>
                </a:ext>
              </a:extLst>
            </p:cNvPr>
            <p:cNvPicPr/>
            <p:nvPr/>
          </p:nvPicPr>
          <p:blipFill rotWithShape="1">
            <a:blip r:embed="rId10" cstate="print">
              <a:extLst>
                <a:ext uri="{28A0092B-C50C-407E-A947-70E740481C1C}">
                  <a14:useLocalDpi xmlns:a14="http://schemas.microsoft.com/office/drawing/2010/main" val="0"/>
                </a:ext>
              </a:extLst>
            </a:blip>
            <a:srcRect t="-2" r="6348" b="46416"/>
            <a:stretch/>
          </p:blipFill>
          <p:spPr>
            <a:xfrm flipH="1">
              <a:off x="5263348" y="1"/>
              <a:ext cx="6953715" cy="4457700"/>
            </a:xfrm>
            <a:prstGeom prst="rect">
              <a:avLst/>
            </a:prstGeom>
          </p:spPr>
        </p:pic>
        <p:pic>
          <p:nvPicPr>
            <p:cNvPr id="21" name="Picture 20" descr="A person standing on a stage&#10;&#10;Description automatically generated with low confidence">
              <a:extLst>
                <a:ext uri="{FF2B5EF4-FFF2-40B4-BE49-F238E27FC236}">
                  <a16:creationId xmlns:a16="http://schemas.microsoft.com/office/drawing/2014/main" id="{825A0323-4A84-6736-8D5F-0AE2096C1D6A}"/>
                </a:ext>
              </a:extLst>
            </p:cNvPr>
            <p:cNvPicPr/>
            <p:nvPr/>
          </p:nvPicPr>
          <p:blipFill rotWithShape="1">
            <a:blip r:embed="rId11" cstate="print">
              <a:extLst>
                <a:ext uri="{28A0092B-C50C-407E-A947-70E740481C1C}">
                  <a14:useLocalDpi xmlns:a14="http://schemas.microsoft.com/office/drawing/2010/main" val="0"/>
                </a:ext>
              </a:extLst>
            </a:blip>
            <a:srcRect/>
            <a:stretch/>
          </p:blipFill>
          <p:spPr>
            <a:xfrm flipH="1">
              <a:off x="5263347" y="4381712"/>
              <a:ext cx="6953715" cy="2476287"/>
            </a:xfrm>
            <a:prstGeom prst="rect">
              <a:avLst/>
            </a:prstGeom>
          </p:spPr>
        </p:pic>
      </p:grpSp>
      <p:sp>
        <p:nvSpPr>
          <p:cNvPr id="22" name="Oval 21">
            <a:extLst>
              <a:ext uri="{FF2B5EF4-FFF2-40B4-BE49-F238E27FC236}">
                <a16:creationId xmlns:a16="http://schemas.microsoft.com/office/drawing/2014/main" id="{29A2CD78-70FD-2029-8BFF-DAD3AB13AA44}"/>
              </a:ext>
            </a:extLst>
          </p:cNvPr>
          <p:cNvSpPr/>
          <p:nvPr/>
        </p:nvSpPr>
        <p:spPr>
          <a:xfrm rot="7681175">
            <a:off x="-1388518" y="-821475"/>
            <a:ext cx="2771936" cy="2694027"/>
          </a:xfrm>
          <a:prstGeom prst="ellipse">
            <a:avLst/>
          </a:prstGeom>
          <a:gradFill flip="none" rotWithShape="1">
            <a:gsLst>
              <a:gs pos="0">
                <a:srgbClr val="628890"/>
              </a:gs>
              <a:gs pos="34000">
                <a:srgbClr val="48ACA7"/>
              </a:gs>
              <a:gs pos="100000">
                <a:srgbClr val="E2FDFE"/>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17739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2534"/>
        <p:cNvGrpSpPr/>
        <p:nvPr/>
      </p:nvGrpSpPr>
      <p:grpSpPr>
        <a:xfrm>
          <a:off x="0" y="0"/>
          <a:ext cx="0" cy="0"/>
          <a:chOff x="0" y="0"/>
          <a:chExt cx="0" cy="0"/>
        </a:xfrm>
      </p:grpSpPr>
      <p:sp>
        <p:nvSpPr>
          <p:cNvPr id="2535" name="Google Shape;2535;p61"/>
          <p:cNvSpPr txBox="1">
            <a:spLocks noGrp="1"/>
          </p:cNvSpPr>
          <p:nvPr>
            <p:ph type="subTitle" idx="1"/>
          </p:nvPr>
        </p:nvSpPr>
        <p:spPr>
          <a:xfrm flipH="1">
            <a:off x="6410151" y="3963582"/>
            <a:ext cx="4182800" cy="894000"/>
          </a:xfrm>
          <a:prstGeom prst="rect">
            <a:avLst/>
          </a:prstGeom>
        </p:spPr>
        <p:txBody>
          <a:bodyPr spcFirstLastPara="1" wrap="square" lIns="121900" tIns="121900" rIns="121900" bIns="121900" anchor="ctr" anchorCtr="0">
            <a:noAutofit/>
          </a:bodyPr>
          <a:lstStyle/>
          <a:p>
            <a:pPr marL="0" indent="0"/>
            <a:r>
              <a:rPr lang="en" dirty="0"/>
              <a:t>Thanks for giving this oppourtunity.</a:t>
            </a:r>
            <a:endParaRPr dirty="0"/>
          </a:p>
        </p:txBody>
      </p:sp>
      <p:sp>
        <p:nvSpPr>
          <p:cNvPr id="2536" name="Google Shape;2536;p61"/>
          <p:cNvSpPr txBox="1">
            <a:spLocks noGrp="1"/>
          </p:cNvSpPr>
          <p:nvPr>
            <p:ph type="ctrTitle"/>
          </p:nvPr>
        </p:nvSpPr>
        <p:spPr>
          <a:xfrm flipH="1">
            <a:off x="6410151" y="1428807"/>
            <a:ext cx="4729600" cy="2517200"/>
          </a:xfrm>
          <a:prstGeom prst="rect">
            <a:avLst/>
          </a:prstGeom>
        </p:spPr>
        <p:txBody>
          <a:bodyPr spcFirstLastPara="1" wrap="square" lIns="121900" tIns="121900" rIns="121900" bIns="121900" anchor="b" anchorCtr="0">
            <a:normAutofit/>
          </a:bodyPr>
          <a:lstStyle/>
          <a:p>
            <a:r>
              <a:rPr lang="en" dirty="0"/>
              <a:t>Thanks!</a:t>
            </a:r>
            <a:endParaRPr dirty="0"/>
          </a:p>
        </p:txBody>
      </p:sp>
      <p:grpSp>
        <p:nvGrpSpPr>
          <p:cNvPr id="2538" name="Google Shape;2538;p61"/>
          <p:cNvGrpSpPr/>
          <p:nvPr/>
        </p:nvGrpSpPr>
        <p:grpSpPr>
          <a:xfrm>
            <a:off x="766384" y="1329967"/>
            <a:ext cx="4861133" cy="4198067"/>
            <a:chOff x="585475" y="999175"/>
            <a:chExt cx="3645850" cy="3148550"/>
          </a:xfrm>
        </p:grpSpPr>
        <p:sp>
          <p:nvSpPr>
            <p:cNvPr id="2539" name="Google Shape;2539;p61"/>
            <p:cNvSpPr/>
            <p:nvPr/>
          </p:nvSpPr>
          <p:spPr>
            <a:xfrm>
              <a:off x="625925" y="999175"/>
              <a:ext cx="3504197" cy="229050"/>
            </a:xfrm>
            <a:custGeom>
              <a:avLst/>
              <a:gdLst/>
              <a:ahLst/>
              <a:cxnLst/>
              <a:rect l="l" t="t" r="r" b="b"/>
              <a:pathLst>
                <a:path w="130050" h="9162" extrusionOk="0">
                  <a:moveTo>
                    <a:pt x="76078" y="0"/>
                  </a:moveTo>
                  <a:cubicBezTo>
                    <a:pt x="73804" y="0"/>
                    <a:pt x="70993" y="121"/>
                    <a:pt x="67079" y="560"/>
                  </a:cubicBezTo>
                  <a:cubicBezTo>
                    <a:pt x="66603" y="607"/>
                    <a:pt x="66314" y="624"/>
                    <a:pt x="66129" y="624"/>
                  </a:cubicBezTo>
                  <a:cubicBezTo>
                    <a:pt x="65645" y="624"/>
                    <a:pt x="65870" y="508"/>
                    <a:pt x="65294" y="508"/>
                  </a:cubicBezTo>
                  <a:cubicBezTo>
                    <a:pt x="65154" y="508"/>
                    <a:pt x="64967" y="514"/>
                    <a:pt x="64711" y="531"/>
                  </a:cubicBezTo>
                  <a:cubicBezTo>
                    <a:pt x="64388" y="556"/>
                    <a:pt x="37544" y="2286"/>
                    <a:pt x="30027" y="2286"/>
                  </a:cubicBezTo>
                  <a:cubicBezTo>
                    <a:pt x="28901" y="2286"/>
                    <a:pt x="28208" y="2247"/>
                    <a:pt x="28104" y="2158"/>
                  </a:cubicBezTo>
                  <a:cubicBezTo>
                    <a:pt x="28080" y="2134"/>
                    <a:pt x="28045" y="2124"/>
                    <a:pt x="28000" y="2124"/>
                  </a:cubicBezTo>
                  <a:cubicBezTo>
                    <a:pt x="27759" y="2124"/>
                    <a:pt x="27260" y="2410"/>
                    <a:pt x="26970" y="2410"/>
                  </a:cubicBezTo>
                  <a:cubicBezTo>
                    <a:pt x="26924" y="2410"/>
                    <a:pt x="26883" y="2403"/>
                    <a:pt x="26849" y="2386"/>
                  </a:cubicBezTo>
                  <a:cubicBezTo>
                    <a:pt x="24204" y="2528"/>
                    <a:pt x="12136" y="2963"/>
                    <a:pt x="6940" y="2963"/>
                  </a:cubicBezTo>
                  <a:cubicBezTo>
                    <a:pt x="5859" y="2963"/>
                    <a:pt x="5075" y="2944"/>
                    <a:pt x="4736" y="2900"/>
                  </a:cubicBezTo>
                  <a:cubicBezTo>
                    <a:pt x="4411" y="2853"/>
                    <a:pt x="4146" y="2831"/>
                    <a:pt x="3924" y="2831"/>
                  </a:cubicBezTo>
                  <a:cubicBezTo>
                    <a:pt x="3465" y="2831"/>
                    <a:pt x="3189" y="2926"/>
                    <a:pt x="2939" y="3099"/>
                  </a:cubicBezTo>
                  <a:cubicBezTo>
                    <a:pt x="1855" y="3841"/>
                    <a:pt x="0" y="8834"/>
                    <a:pt x="1141" y="9120"/>
                  </a:cubicBezTo>
                  <a:cubicBezTo>
                    <a:pt x="1323" y="9149"/>
                    <a:pt x="1799" y="9161"/>
                    <a:pt x="2497" y="9161"/>
                  </a:cubicBezTo>
                  <a:cubicBezTo>
                    <a:pt x="4539" y="9161"/>
                    <a:pt x="8485" y="9055"/>
                    <a:pt x="12526" y="8948"/>
                  </a:cubicBezTo>
                  <a:cubicBezTo>
                    <a:pt x="15556" y="8869"/>
                    <a:pt x="18631" y="8789"/>
                    <a:pt x="20988" y="8789"/>
                  </a:cubicBezTo>
                  <a:cubicBezTo>
                    <a:pt x="22848" y="8789"/>
                    <a:pt x="24260" y="8839"/>
                    <a:pt x="24852" y="8977"/>
                  </a:cubicBezTo>
                  <a:cubicBezTo>
                    <a:pt x="33668" y="8404"/>
                    <a:pt x="42365" y="7790"/>
                    <a:pt x="46836" y="7790"/>
                  </a:cubicBezTo>
                  <a:cubicBezTo>
                    <a:pt x="47704" y="7790"/>
                    <a:pt x="48413" y="7813"/>
                    <a:pt x="48933" y="7864"/>
                  </a:cubicBezTo>
                  <a:cubicBezTo>
                    <a:pt x="50046" y="7522"/>
                    <a:pt x="56066" y="7179"/>
                    <a:pt x="61915" y="6894"/>
                  </a:cubicBezTo>
                  <a:cubicBezTo>
                    <a:pt x="78435" y="6067"/>
                    <a:pt x="71873" y="6295"/>
                    <a:pt x="75040" y="6038"/>
                  </a:cubicBezTo>
                  <a:cubicBezTo>
                    <a:pt x="75448" y="6007"/>
                    <a:pt x="75868" y="5993"/>
                    <a:pt x="76278" y="5993"/>
                  </a:cubicBezTo>
                  <a:cubicBezTo>
                    <a:pt x="77729" y="5993"/>
                    <a:pt x="79059" y="6161"/>
                    <a:pt x="79348" y="6295"/>
                  </a:cubicBezTo>
                  <a:cubicBezTo>
                    <a:pt x="79830" y="6521"/>
                    <a:pt x="80431" y="6585"/>
                    <a:pt x="81036" y="6585"/>
                  </a:cubicBezTo>
                  <a:cubicBezTo>
                    <a:pt x="81808" y="6585"/>
                    <a:pt x="82585" y="6482"/>
                    <a:pt x="83132" y="6482"/>
                  </a:cubicBezTo>
                  <a:cubicBezTo>
                    <a:pt x="83400" y="6482"/>
                    <a:pt x="83613" y="6507"/>
                    <a:pt x="83742" y="6580"/>
                  </a:cubicBezTo>
                  <a:cubicBezTo>
                    <a:pt x="86126" y="6528"/>
                    <a:pt x="87141" y="6481"/>
                    <a:pt x="88248" y="6481"/>
                  </a:cubicBezTo>
                  <a:cubicBezTo>
                    <a:pt x="90759" y="6481"/>
                    <a:pt x="93740" y="6723"/>
                    <a:pt x="114214" y="7693"/>
                  </a:cubicBezTo>
                  <a:cubicBezTo>
                    <a:pt x="114892" y="7645"/>
                    <a:pt x="115590" y="7625"/>
                    <a:pt x="116297" y="7625"/>
                  </a:cubicBezTo>
                  <a:cubicBezTo>
                    <a:pt x="119545" y="7625"/>
                    <a:pt x="122962" y="8043"/>
                    <a:pt x="125275" y="8043"/>
                  </a:cubicBezTo>
                  <a:cubicBezTo>
                    <a:pt x="125446" y="8043"/>
                    <a:pt x="125612" y="8040"/>
                    <a:pt x="125770" y="8035"/>
                  </a:cubicBezTo>
                  <a:cubicBezTo>
                    <a:pt x="126654" y="8007"/>
                    <a:pt x="127282" y="7893"/>
                    <a:pt x="127625" y="7665"/>
                  </a:cubicBezTo>
                  <a:cubicBezTo>
                    <a:pt x="128224" y="7151"/>
                    <a:pt x="128909" y="5953"/>
                    <a:pt x="129365" y="4726"/>
                  </a:cubicBezTo>
                  <a:cubicBezTo>
                    <a:pt x="129822" y="3527"/>
                    <a:pt x="130050" y="2300"/>
                    <a:pt x="129793" y="1844"/>
                  </a:cubicBezTo>
                  <a:cubicBezTo>
                    <a:pt x="129725" y="1708"/>
                    <a:pt x="127309" y="1669"/>
                    <a:pt x="124774" y="1669"/>
                  </a:cubicBezTo>
                  <a:cubicBezTo>
                    <a:pt x="122008" y="1669"/>
                    <a:pt x="119100" y="1715"/>
                    <a:pt x="118951" y="1730"/>
                  </a:cubicBezTo>
                  <a:cubicBezTo>
                    <a:pt x="118870" y="1754"/>
                    <a:pt x="118789" y="1765"/>
                    <a:pt x="118713" y="1765"/>
                  </a:cubicBezTo>
                  <a:cubicBezTo>
                    <a:pt x="118520" y="1765"/>
                    <a:pt x="118356" y="1697"/>
                    <a:pt x="118295" y="1616"/>
                  </a:cubicBezTo>
                  <a:cubicBezTo>
                    <a:pt x="118295" y="1616"/>
                    <a:pt x="118123" y="1616"/>
                    <a:pt x="117867" y="1587"/>
                  </a:cubicBezTo>
                  <a:cubicBezTo>
                    <a:pt x="116497" y="1473"/>
                    <a:pt x="117267" y="1559"/>
                    <a:pt x="113444" y="1302"/>
                  </a:cubicBezTo>
                  <a:cubicBezTo>
                    <a:pt x="110705" y="1131"/>
                    <a:pt x="108993" y="1017"/>
                    <a:pt x="108651" y="988"/>
                  </a:cubicBezTo>
                  <a:cubicBezTo>
                    <a:pt x="108651" y="912"/>
                    <a:pt x="108524" y="874"/>
                    <a:pt x="108321" y="874"/>
                  </a:cubicBezTo>
                  <a:cubicBezTo>
                    <a:pt x="108220" y="874"/>
                    <a:pt x="108099" y="883"/>
                    <a:pt x="107966" y="902"/>
                  </a:cubicBezTo>
                  <a:cubicBezTo>
                    <a:pt x="107618" y="966"/>
                    <a:pt x="106675" y="992"/>
                    <a:pt x="105390" y="992"/>
                  </a:cubicBezTo>
                  <a:cubicBezTo>
                    <a:pt x="100874" y="992"/>
                    <a:pt x="92132" y="662"/>
                    <a:pt x="90133" y="417"/>
                  </a:cubicBezTo>
                  <a:cubicBezTo>
                    <a:pt x="88399" y="201"/>
                    <a:pt x="87591" y="106"/>
                    <a:pt x="86392" y="106"/>
                  </a:cubicBezTo>
                  <a:cubicBezTo>
                    <a:pt x="85854" y="106"/>
                    <a:pt x="85239" y="125"/>
                    <a:pt x="84427" y="161"/>
                  </a:cubicBezTo>
                  <a:cubicBezTo>
                    <a:pt x="83968" y="177"/>
                    <a:pt x="83526" y="184"/>
                    <a:pt x="83093" y="184"/>
                  </a:cubicBezTo>
                  <a:cubicBezTo>
                    <a:pt x="80865" y="184"/>
                    <a:pt x="78879" y="0"/>
                    <a:pt x="76078"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40" name="Google Shape;2540;p61"/>
            <p:cNvSpPr/>
            <p:nvPr/>
          </p:nvSpPr>
          <p:spPr>
            <a:xfrm rot="5400000">
              <a:off x="2600469" y="2468730"/>
              <a:ext cx="3055663" cy="206050"/>
            </a:xfrm>
            <a:custGeom>
              <a:avLst/>
              <a:gdLst/>
              <a:ahLst/>
              <a:cxnLst/>
              <a:rect l="l" t="t" r="r" b="b"/>
              <a:pathLst>
                <a:path w="139353" h="8242" extrusionOk="0">
                  <a:moveTo>
                    <a:pt x="55733" y="1"/>
                  </a:moveTo>
                  <a:cubicBezTo>
                    <a:pt x="53503" y="1"/>
                    <a:pt x="51073" y="14"/>
                    <a:pt x="48534" y="50"/>
                  </a:cubicBezTo>
                  <a:cubicBezTo>
                    <a:pt x="40800" y="116"/>
                    <a:pt x="33893" y="303"/>
                    <a:pt x="31086" y="303"/>
                  </a:cubicBezTo>
                  <a:cubicBezTo>
                    <a:pt x="30279" y="303"/>
                    <a:pt x="29811" y="288"/>
                    <a:pt x="29760" y="249"/>
                  </a:cubicBezTo>
                  <a:cubicBezTo>
                    <a:pt x="29736" y="226"/>
                    <a:pt x="29699" y="216"/>
                    <a:pt x="29652" y="216"/>
                  </a:cubicBezTo>
                  <a:cubicBezTo>
                    <a:pt x="29402" y="216"/>
                    <a:pt x="28870" y="502"/>
                    <a:pt x="28571" y="502"/>
                  </a:cubicBezTo>
                  <a:cubicBezTo>
                    <a:pt x="28523" y="502"/>
                    <a:pt x="28481" y="495"/>
                    <a:pt x="28447" y="478"/>
                  </a:cubicBezTo>
                  <a:cubicBezTo>
                    <a:pt x="13968" y="1240"/>
                    <a:pt x="6551" y="1794"/>
                    <a:pt x="4907" y="1794"/>
                  </a:cubicBezTo>
                  <a:cubicBezTo>
                    <a:pt x="4827" y="1794"/>
                    <a:pt x="4761" y="1793"/>
                    <a:pt x="4709" y="1790"/>
                  </a:cubicBezTo>
                  <a:cubicBezTo>
                    <a:pt x="4548" y="1786"/>
                    <a:pt x="4401" y="1784"/>
                    <a:pt x="4266" y="1784"/>
                  </a:cubicBezTo>
                  <a:cubicBezTo>
                    <a:pt x="3490" y="1784"/>
                    <a:pt x="3109" y="1861"/>
                    <a:pt x="2768" y="2104"/>
                  </a:cubicBezTo>
                  <a:cubicBezTo>
                    <a:pt x="1656" y="2931"/>
                    <a:pt x="1" y="8039"/>
                    <a:pt x="1228" y="8238"/>
                  </a:cubicBezTo>
                  <a:cubicBezTo>
                    <a:pt x="1253" y="8240"/>
                    <a:pt x="1289" y="8241"/>
                    <a:pt x="1333" y="8241"/>
                  </a:cubicBezTo>
                  <a:cubicBezTo>
                    <a:pt x="2996" y="8241"/>
                    <a:pt x="17482" y="6949"/>
                    <a:pt x="23837" y="6949"/>
                  </a:cubicBezTo>
                  <a:cubicBezTo>
                    <a:pt x="25010" y="6949"/>
                    <a:pt x="25906" y="6993"/>
                    <a:pt x="26393" y="7097"/>
                  </a:cubicBezTo>
                  <a:cubicBezTo>
                    <a:pt x="30021" y="6844"/>
                    <a:pt x="39419" y="6170"/>
                    <a:pt x="46125" y="6170"/>
                  </a:cubicBezTo>
                  <a:cubicBezTo>
                    <a:pt x="48490" y="6170"/>
                    <a:pt x="50520" y="6254"/>
                    <a:pt x="51844" y="6469"/>
                  </a:cubicBezTo>
                  <a:cubicBezTo>
                    <a:pt x="52567" y="6265"/>
                    <a:pt x="54440" y="6187"/>
                    <a:pt x="56874" y="6187"/>
                  </a:cubicBezTo>
                  <a:cubicBezTo>
                    <a:pt x="64404" y="6187"/>
                    <a:pt x="77312" y="6928"/>
                    <a:pt x="78244" y="6928"/>
                  </a:cubicBezTo>
                  <a:cubicBezTo>
                    <a:pt x="78269" y="6928"/>
                    <a:pt x="78286" y="6927"/>
                    <a:pt x="78293" y="6926"/>
                  </a:cubicBezTo>
                  <a:cubicBezTo>
                    <a:pt x="78514" y="6890"/>
                    <a:pt x="78887" y="6874"/>
                    <a:pt x="79344" y="6874"/>
                  </a:cubicBezTo>
                  <a:cubicBezTo>
                    <a:pt x="81068" y="6874"/>
                    <a:pt x="83994" y="7100"/>
                    <a:pt x="84513" y="7325"/>
                  </a:cubicBezTo>
                  <a:cubicBezTo>
                    <a:pt x="85064" y="7569"/>
                    <a:pt x="85773" y="7632"/>
                    <a:pt x="86478" y="7632"/>
                  </a:cubicBezTo>
                  <a:cubicBezTo>
                    <a:pt x="87224" y="7632"/>
                    <a:pt x="87966" y="7562"/>
                    <a:pt x="88514" y="7562"/>
                  </a:cubicBezTo>
                  <a:cubicBezTo>
                    <a:pt x="88843" y="7562"/>
                    <a:pt x="89102" y="7587"/>
                    <a:pt x="89249" y="7668"/>
                  </a:cubicBezTo>
                  <a:cubicBezTo>
                    <a:pt x="92689" y="7609"/>
                    <a:pt x="94471" y="7592"/>
                    <a:pt x="95538" y="7592"/>
                  </a:cubicBezTo>
                  <a:cubicBezTo>
                    <a:pt x="96975" y="7592"/>
                    <a:pt x="97113" y="7623"/>
                    <a:pt x="98257" y="7623"/>
                  </a:cubicBezTo>
                  <a:cubicBezTo>
                    <a:pt x="99969" y="7623"/>
                    <a:pt x="103932" y="7554"/>
                    <a:pt x="117867" y="7211"/>
                  </a:cubicBezTo>
                  <a:cubicBezTo>
                    <a:pt x="120007" y="7183"/>
                    <a:pt x="120235" y="7183"/>
                    <a:pt x="122004" y="7126"/>
                  </a:cubicBezTo>
                  <a:cubicBezTo>
                    <a:pt x="123053" y="6999"/>
                    <a:pt x="124139" y="6949"/>
                    <a:pt x="125211" y="6949"/>
                  </a:cubicBezTo>
                  <a:cubicBezTo>
                    <a:pt x="127990" y="6949"/>
                    <a:pt x="130673" y="7283"/>
                    <a:pt x="132362" y="7468"/>
                  </a:cubicBezTo>
                  <a:cubicBezTo>
                    <a:pt x="133038" y="7543"/>
                    <a:pt x="133810" y="7618"/>
                    <a:pt x="134472" y="7618"/>
                  </a:cubicBezTo>
                  <a:cubicBezTo>
                    <a:pt x="135067" y="7618"/>
                    <a:pt x="135573" y="7558"/>
                    <a:pt x="135843" y="7382"/>
                  </a:cubicBezTo>
                  <a:cubicBezTo>
                    <a:pt x="137069" y="6641"/>
                    <a:pt x="139352" y="2960"/>
                    <a:pt x="138981" y="1961"/>
                  </a:cubicBezTo>
                  <a:cubicBezTo>
                    <a:pt x="138896" y="1704"/>
                    <a:pt x="135472" y="1362"/>
                    <a:pt x="135215" y="1334"/>
                  </a:cubicBezTo>
                  <a:cubicBezTo>
                    <a:pt x="133931" y="1191"/>
                    <a:pt x="134416" y="1248"/>
                    <a:pt x="133075" y="1134"/>
                  </a:cubicBezTo>
                  <a:cubicBezTo>
                    <a:pt x="131638" y="1034"/>
                    <a:pt x="129897" y="992"/>
                    <a:pt x="128627" y="992"/>
                  </a:cubicBezTo>
                  <a:cubicBezTo>
                    <a:pt x="127728" y="992"/>
                    <a:pt x="127066" y="1013"/>
                    <a:pt x="126912" y="1048"/>
                  </a:cubicBezTo>
                  <a:cubicBezTo>
                    <a:pt x="126828" y="1064"/>
                    <a:pt x="126744" y="1071"/>
                    <a:pt x="126664" y="1071"/>
                  </a:cubicBezTo>
                  <a:cubicBezTo>
                    <a:pt x="126446" y="1071"/>
                    <a:pt x="126261" y="1018"/>
                    <a:pt x="126199" y="934"/>
                  </a:cubicBezTo>
                  <a:cubicBezTo>
                    <a:pt x="126199" y="906"/>
                    <a:pt x="124572" y="820"/>
                    <a:pt x="124515" y="820"/>
                  </a:cubicBezTo>
                  <a:cubicBezTo>
                    <a:pt x="122938" y="768"/>
                    <a:pt x="122052" y="752"/>
                    <a:pt x="121218" y="752"/>
                  </a:cubicBezTo>
                  <a:cubicBezTo>
                    <a:pt x="120211" y="752"/>
                    <a:pt x="119278" y="776"/>
                    <a:pt x="117297" y="791"/>
                  </a:cubicBezTo>
                  <a:lnTo>
                    <a:pt x="115642" y="791"/>
                  </a:lnTo>
                  <a:cubicBezTo>
                    <a:pt x="115642" y="727"/>
                    <a:pt x="115552" y="690"/>
                    <a:pt x="115397" y="690"/>
                  </a:cubicBezTo>
                  <a:cubicBezTo>
                    <a:pt x="115276" y="690"/>
                    <a:pt x="115116" y="713"/>
                    <a:pt x="114928" y="763"/>
                  </a:cubicBezTo>
                  <a:cubicBezTo>
                    <a:pt x="114072" y="963"/>
                    <a:pt x="110021" y="1248"/>
                    <a:pt x="105827" y="1419"/>
                  </a:cubicBezTo>
                  <a:cubicBezTo>
                    <a:pt x="103914" y="1511"/>
                    <a:pt x="101983" y="1548"/>
                    <a:pt x="100324" y="1548"/>
                  </a:cubicBezTo>
                  <a:cubicBezTo>
                    <a:pt x="98370" y="1548"/>
                    <a:pt x="96794" y="1496"/>
                    <a:pt x="96069" y="1419"/>
                  </a:cubicBezTo>
                  <a:cubicBezTo>
                    <a:pt x="94354" y="1235"/>
                    <a:pt x="93497" y="1170"/>
                    <a:pt x="92359" y="1170"/>
                  </a:cubicBezTo>
                  <a:cubicBezTo>
                    <a:pt x="91736" y="1170"/>
                    <a:pt x="91028" y="1189"/>
                    <a:pt x="90048" y="1219"/>
                  </a:cubicBezTo>
                  <a:cubicBezTo>
                    <a:pt x="89919" y="1222"/>
                    <a:pt x="89780" y="1223"/>
                    <a:pt x="89634" y="1223"/>
                  </a:cubicBezTo>
                  <a:cubicBezTo>
                    <a:pt x="87785" y="1223"/>
                    <a:pt x="84653" y="1060"/>
                    <a:pt x="81375" y="849"/>
                  </a:cubicBezTo>
                  <a:cubicBezTo>
                    <a:pt x="79577" y="763"/>
                    <a:pt x="77808" y="649"/>
                    <a:pt x="76125" y="563"/>
                  </a:cubicBezTo>
                  <a:cubicBezTo>
                    <a:pt x="74441" y="506"/>
                    <a:pt x="72958" y="478"/>
                    <a:pt x="71788" y="478"/>
                  </a:cubicBezTo>
                  <a:cubicBezTo>
                    <a:pt x="69562" y="478"/>
                    <a:pt x="71074" y="221"/>
                    <a:pt x="69220" y="192"/>
                  </a:cubicBezTo>
                  <a:cubicBezTo>
                    <a:pt x="68820" y="192"/>
                    <a:pt x="67936" y="135"/>
                    <a:pt x="66652" y="107"/>
                  </a:cubicBezTo>
                  <a:cubicBezTo>
                    <a:pt x="64664" y="67"/>
                    <a:pt x="60693" y="1"/>
                    <a:pt x="55733"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41" name="Google Shape;2541;p61"/>
            <p:cNvSpPr/>
            <p:nvPr/>
          </p:nvSpPr>
          <p:spPr>
            <a:xfrm>
              <a:off x="653650" y="3948150"/>
              <a:ext cx="3547288" cy="199575"/>
            </a:xfrm>
            <a:custGeom>
              <a:avLst/>
              <a:gdLst/>
              <a:ahLst/>
              <a:cxnLst/>
              <a:rect l="l" t="t" r="r" b="b"/>
              <a:pathLst>
                <a:path w="116812" h="7983" extrusionOk="0">
                  <a:moveTo>
                    <a:pt x="76448" y="61"/>
                  </a:moveTo>
                  <a:cubicBezTo>
                    <a:pt x="76092" y="61"/>
                    <a:pt x="75755" y="69"/>
                    <a:pt x="75440" y="86"/>
                  </a:cubicBezTo>
                  <a:cubicBezTo>
                    <a:pt x="73385" y="172"/>
                    <a:pt x="67165" y="1"/>
                    <a:pt x="59690" y="1114"/>
                  </a:cubicBezTo>
                  <a:cubicBezTo>
                    <a:pt x="59224" y="1179"/>
                    <a:pt x="58953" y="1202"/>
                    <a:pt x="58784" y="1202"/>
                  </a:cubicBezTo>
                  <a:cubicBezTo>
                    <a:pt x="58394" y="1202"/>
                    <a:pt x="58537" y="1082"/>
                    <a:pt x="58081" y="1082"/>
                  </a:cubicBezTo>
                  <a:cubicBezTo>
                    <a:pt x="57956" y="1082"/>
                    <a:pt x="57787" y="1091"/>
                    <a:pt x="57550" y="1114"/>
                  </a:cubicBezTo>
                  <a:cubicBezTo>
                    <a:pt x="55753" y="1285"/>
                    <a:pt x="53498" y="1399"/>
                    <a:pt x="51644" y="1399"/>
                  </a:cubicBezTo>
                  <a:cubicBezTo>
                    <a:pt x="46759" y="1375"/>
                    <a:pt x="44949" y="307"/>
                    <a:pt x="35978" y="307"/>
                  </a:cubicBezTo>
                  <a:cubicBezTo>
                    <a:pt x="34154" y="307"/>
                    <a:pt x="32034" y="351"/>
                    <a:pt x="29531" y="457"/>
                  </a:cubicBezTo>
                  <a:cubicBezTo>
                    <a:pt x="27392" y="559"/>
                    <a:pt x="25761" y="647"/>
                    <a:pt x="24973" y="647"/>
                  </a:cubicBezTo>
                  <a:cubicBezTo>
                    <a:pt x="24658" y="647"/>
                    <a:pt x="24477" y="633"/>
                    <a:pt x="24453" y="600"/>
                  </a:cubicBezTo>
                  <a:cubicBezTo>
                    <a:pt x="24434" y="577"/>
                    <a:pt x="24405" y="568"/>
                    <a:pt x="24368" y="568"/>
                  </a:cubicBezTo>
                  <a:cubicBezTo>
                    <a:pt x="24160" y="568"/>
                    <a:pt x="23705" y="880"/>
                    <a:pt x="23443" y="880"/>
                  </a:cubicBezTo>
                  <a:cubicBezTo>
                    <a:pt x="23404" y="880"/>
                    <a:pt x="23369" y="873"/>
                    <a:pt x="23340" y="857"/>
                  </a:cubicBezTo>
                  <a:cubicBezTo>
                    <a:pt x="20911" y="1110"/>
                    <a:pt x="17272" y="1475"/>
                    <a:pt x="14390" y="1475"/>
                  </a:cubicBezTo>
                  <a:cubicBezTo>
                    <a:pt x="14021" y="1475"/>
                    <a:pt x="13665" y="1469"/>
                    <a:pt x="13325" y="1456"/>
                  </a:cubicBezTo>
                  <a:cubicBezTo>
                    <a:pt x="10244" y="1370"/>
                    <a:pt x="4195" y="486"/>
                    <a:pt x="3824" y="429"/>
                  </a:cubicBezTo>
                  <a:cubicBezTo>
                    <a:pt x="3428" y="345"/>
                    <a:pt x="3103" y="296"/>
                    <a:pt x="2825" y="296"/>
                  </a:cubicBezTo>
                  <a:cubicBezTo>
                    <a:pt x="2063" y="296"/>
                    <a:pt x="1657" y="667"/>
                    <a:pt x="1113" y="1713"/>
                  </a:cubicBezTo>
                  <a:cubicBezTo>
                    <a:pt x="828" y="2283"/>
                    <a:pt x="543" y="2997"/>
                    <a:pt x="372" y="3710"/>
                  </a:cubicBezTo>
                  <a:cubicBezTo>
                    <a:pt x="1" y="5108"/>
                    <a:pt x="1" y="6421"/>
                    <a:pt x="429" y="6563"/>
                  </a:cubicBezTo>
                  <a:cubicBezTo>
                    <a:pt x="685" y="6592"/>
                    <a:pt x="1827" y="6563"/>
                    <a:pt x="3567" y="6677"/>
                  </a:cubicBezTo>
                  <a:cubicBezTo>
                    <a:pt x="5850" y="6820"/>
                    <a:pt x="9245" y="7305"/>
                    <a:pt x="12127" y="7505"/>
                  </a:cubicBezTo>
                  <a:cubicBezTo>
                    <a:pt x="12814" y="7548"/>
                    <a:pt x="13600" y="7563"/>
                    <a:pt x="14421" y="7563"/>
                  </a:cubicBezTo>
                  <a:cubicBezTo>
                    <a:pt x="16421" y="7563"/>
                    <a:pt x="18634" y="7473"/>
                    <a:pt x="20164" y="7473"/>
                  </a:cubicBezTo>
                  <a:cubicBezTo>
                    <a:pt x="20924" y="7473"/>
                    <a:pt x="21515" y="7495"/>
                    <a:pt x="21828" y="7562"/>
                  </a:cubicBezTo>
                  <a:cubicBezTo>
                    <a:pt x="25880" y="7065"/>
                    <a:pt x="31167" y="6372"/>
                    <a:pt x="36462" y="6372"/>
                  </a:cubicBezTo>
                  <a:cubicBezTo>
                    <a:pt x="37244" y="6372"/>
                    <a:pt x="38026" y="6388"/>
                    <a:pt x="38804" y="6421"/>
                  </a:cubicBezTo>
                  <a:cubicBezTo>
                    <a:pt x="40659" y="6506"/>
                    <a:pt x="42200" y="6706"/>
                    <a:pt x="43027" y="6934"/>
                  </a:cubicBezTo>
                  <a:cubicBezTo>
                    <a:pt x="43190" y="6880"/>
                    <a:pt x="43445" y="6860"/>
                    <a:pt x="43791" y="6860"/>
                  </a:cubicBezTo>
                  <a:cubicBezTo>
                    <a:pt x="43991" y="6860"/>
                    <a:pt x="44221" y="6867"/>
                    <a:pt x="44482" y="6877"/>
                  </a:cubicBezTo>
                  <a:cubicBezTo>
                    <a:pt x="44853" y="6934"/>
                    <a:pt x="45224" y="6963"/>
                    <a:pt x="45652" y="6991"/>
                  </a:cubicBezTo>
                  <a:cubicBezTo>
                    <a:pt x="46137" y="7077"/>
                    <a:pt x="46622" y="7105"/>
                    <a:pt x="47193" y="7162"/>
                  </a:cubicBezTo>
                  <a:cubicBezTo>
                    <a:pt x="48925" y="7366"/>
                    <a:pt x="51065" y="7468"/>
                    <a:pt x="52999" y="7468"/>
                  </a:cubicBezTo>
                  <a:cubicBezTo>
                    <a:pt x="53773" y="7468"/>
                    <a:pt x="54513" y="7452"/>
                    <a:pt x="55182" y="7419"/>
                  </a:cubicBezTo>
                  <a:cubicBezTo>
                    <a:pt x="58035" y="7305"/>
                    <a:pt x="65710" y="6706"/>
                    <a:pt x="66053" y="6563"/>
                  </a:cubicBezTo>
                  <a:cubicBezTo>
                    <a:pt x="66452" y="6421"/>
                    <a:pt x="67593" y="6249"/>
                    <a:pt x="68706" y="6221"/>
                  </a:cubicBezTo>
                  <a:cubicBezTo>
                    <a:pt x="68917" y="6196"/>
                    <a:pt x="69332" y="6177"/>
                    <a:pt x="69765" y="6177"/>
                  </a:cubicBezTo>
                  <a:cubicBezTo>
                    <a:pt x="70328" y="6177"/>
                    <a:pt x="70922" y="6210"/>
                    <a:pt x="71131" y="6306"/>
                  </a:cubicBezTo>
                  <a:cubicBezTo>
                    <a:pt x="71478" y="6472"/>
                    <a:pt x="71899" y="6524"/>
                    <a:pt x="72335" y="6524"/>
                  </a:cubicBezTo>
                  <a:cubicBezTo>
                    <a:pt x="73110" y="6524"/>
                    <a:pt x="73934" y="6358"/>
                    <a:pt x="74476" y="6358"/>
                  </a:cubicBezTo>
                  <a:cubicBezTo>
                    <a:pt x="74682" y="6358"/>
                    <a:pt x="74848" y="6382"/>
                    <a:pt x="74955" y="6449"/>
                  </a:cubicBezTo>
                  <a:cubicBezTo>
                    <a:pt x="76464" y="6381"/>
                    <a:pt x="77550" y="6350"/>
                    <a:pt x="78441" y="6350"/>
                  </a:cubicBezTo>
                  <a:cubicBezTo>
                    <a:pt x="80178" y="6350"/>
                    <a:pt x="81173" y="6470"/>
                    <a:pt x="83115" y="6677"/>
                  </a:cubicBezTo>
                  <a:cubicBezTo>
                    <a:pt x="90208" y="7440"/>
                    <a:pt x="91883" y="7982"/>
                    <a:pt x="94579" y="7982"/>
                  </a:cubicBezTo>
                  <a:cubicBezTo>
                    <a:pt x="96318" y="7982"/>
                    <a:pt x="98483" y="7757"/>
                    <a:pt x="102802" y="7220"/>
                  </a:cubicBezTo>
                  <a:cubicBezTo>
                    <a:pt x="103943" y="6934"/>
                    <a:pt x="105113" y="6792"/>
                    <a:pt x="106255" y="6792"/>
                  </a:cubicBezTo>
                  <a:cubicBezTo>
                    <a:pt x="106351" y="6790"/>
                    <a:pt x="106448" y="6789"/>
                    <a:pt x="106546" y="6789"/>
                  </a:cubicBezTo>
                  <a:cubicBezTo>
                    <a:pt x="108655" y="6789"/>
                    <a:pt x="111075" y="7178"/>
                    <a:pt x="112697" y="7178"/>
                  </a:cubicBezTo>
                  <a:cubicBezTo>
                    <a:pt x="113450" y="7178"/>
                    <a:pt x="114031" y="7094"/>
                    <a:pt x="114329" y="6849"/>
                  </a:cubicBezTo>
                  <a:cubicBezTo>
                    <a:pt x="115528" y="5850"/>
                    <a:pt x="116811" y="2027"/>
                    <a:pt x="116383" y="1085"/>
                  </a:cubicBezTo>
                  <a:cubicBezTo>
                    <a:pt x="116355" y="971"/>
                    <a:pt x="115784" y="942"/>
                    <a:pt x="114928" y="885"/>
                  </a:cubicBezTo>
                  <a:cubicBezTo>
                    <a:pt x="114632" y="866"/>
                    <a:pt x="111250" y="709"/>
                    <a:pt x="108797" y="709"/>
                  </a:cubicBezTo>
                  <a:cubicBezTo>
                    <a:pt x="107704" y="709"/>
                    <a:pt x="106795" y="740"/>
                    <a:pt x="106426" y="828"/>
                  </a:cubicBezTo>
                  <a:cubicBezTo>
                    <a:pt x="106331" y="847"/>
                    <a:pt x="106236" y="857"/>
                    <a:pt x="106149" y="857"/>
                  </a:cubicBezTo>
                  <a:cubicBezTo>
                    <a:pt x="105976" y="857"/>
                    <a:pt x="105836" y="819"/>
                    <a:pt x="105798" y="743"/>
                  </a:cubicBezTo>
                  <a:cubicBezTo>
                    <a:pt x="105798" y="714"/>
                    <a:pt x="105655" y="714"/>
                    <a:pt x="105370" y="714"/>
                  </a:cubicBezTo>
                  <a:cubicBezTo>
                    <a:pt x="104428" y="714"/>
                    <a:pt x="103287" y="743"/>
                    <a:pt x="101090" y="1000"/>
                  </a:cubicBezTo>
                  <a:cubicBezTo>
                    <a:pt x="100691" y="1028"/>
                    <a:pt x="97267" y="1427"/>
                    <a:pt x="96839" y="1427"/>
                  </a:cubicBezTo>
                  <a:cubicBezTo>
                    <a:pt x="96825" y="1370"/>
                    <a:pt x="96760" y="1342"/>
                    <a:pt x="96661" y="1342"/>
                  </a:cubicBezTo>
                  <a:cubicBezTo>
                    <a:pt x="96561" y="1342"/>
                    <a:pt x="96425" y="1370"/>
                    <a:pt x="96268" y="1427"/>
                  </a:cubicBezTo>
                  <a:cubicBezTo>
                    <a:pt x="95741" y="1625"/>
                    <a:pt x="94521" y="1705"/>
                    <a:pt x="93635" y="1705"/>
                  </a:cubicBezTo>
                  <a:cubicBezTo>
                    <a:pt x="93371" y="1705"/>
                    <a:pt x="93136" y="1697"/>
                    <a:pt x="92959" y="1684"/>
                  </a:cubicBezTo>
                  <a:cubicBezTo>
                    <a:pt x="88180" y="1288"/>
                    <a:pt x="80860" y="61"/>
                    <a:pt x="76448" y="6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42" name="Google Shape;2542;p61"/>
            <p:cNvSpPr/>
            <p:nvPr/>
          </p:nvSpPr>
          <p:spPr>
            <a:xfrm rot="-5400000">
              <a:off x="-802560" y="2461340"/>
              <a:ext cx="3045120" cy="269050"/>
            </a:xfrm>
            <a:custGeom>
              <a:avLst/>
              <a:gdLst/>
              <a:ahLst/>
              <a:cxnLst/>
              <a:rect l="l" t="t" r="r" b="b"/>
              <a:pathLst>
                <a:path w="142662" h="10762" extrusionOk="0">
                  <a:moveTo>
                    <a:pt x="94943" y="0"/>
                  </a:moveTo>
                  <a:cubicBezTo>
                    <a:pt x="94257" y="0"/>
                    <a:pt x="93334" y="33"/>
                    <a:pt x="91845" y="117"/>
                  </a:cubicBezTo>
                  <a:cubicBezTo>
                    <a:pt x="90961" y="202"/>
                    <a:pt x="89591" y="145"/>
                    <a:pt x="88022" y="202"/>
                  </a:cubicBezTo>
                  <a:cubicBezTo>
                    <a:pt x="87608" y="207"/>
                    <a:pt x="87062" y="208"/>
                    <a:pt x="86418" y="208"/>
                  </a:cubicBezTo>
                  <a:cubicBezTo>
                    <a:pt x="85910" y="208"/>
                    <a:pt x="85341" y="207"/>
                    <a:pt x="84728" y="207"/>
                  </a:cubicBezTo>
                  <a:cubicBezTo>
                    <a:pt x="81133" y="207"/>
                    <a:pt x="76024" y="228"/>
                    <a:pt x="72814" y="516"/>
                  </a:cubicBezTo>
                  <a:cubicBezTo>
                    <a:pt x="72357" y="551"/>
                    <a:pt x="72057" y="565"/>
                    <a:pt x="71851" y="565"/>
                  </a:cubicBezTo>
                  <a:cubicBezTo>
                    <a:pt x="71170" y="565"/>
                    <a:pt x="71530" y="416"/>
                    <a:pt x="70694" y="416"/>
                  </a:cubicBezTo>
                  <a:cubicBezTo>
                    <a:pt x="70554" y="416"/>
                    <a:pt x="70380" y="421"/>
                    <a:pt x="70161" y="430"/>
                  </a:cubicBezTo>
                  <a:cubicBezTo>
                    <a:pt x="65168" y="716"/>
                    <a:pt x="60945" y="1087"/>
                    <a:pt x="54097" y="2085"/>
                  </a:cubicBezTo>
                  <a:cubicBezTo>
                    <a:pt x="43170" y="3683"/>
                    <a:pt x="35232" y="4120"/>
                    <a:pt x="31756" y="4120"/>
                  </a:cubicBezTo>
                  <a:cubicBezTo>
                    <a:pt x="30576" y="4120"/>
                    <a:pt x="29910" y="4069"/>
                    <a:pt x="29816" y="3997"/>
                  </a:cubicBezTo>
                  <a:cubicBezTo>
                    <a:pt x="29789" y="3965"/>
                    <a:pt x="29744" y="3952"/>
                    <a:pt x="29686" y="3952"/>
                  </a:cubicBezTo>
                  <a:cubicBezTo>
                    <a:pt x="29423" y="3952"/>
                    <a:pt x="28896" y="4221"/>
                    <a:pt x="28600" y="4221"/>
                  </a:cubicBezTo>
                  <a:cubicBezTo>
                    <a:pt x="28552" y="4221"/>
                    <a:pt x="28509" y="4214"/>
                    <a:pt x="28475" y="4197"/>
                  </a:cubicBezTo>
                  <a:cubicBezTo>
                    <a:pt x="27792" y="4213"/>
                    <a:pt x="27137" y="4220"/>
                    <a:pt x="26507" y="4220"/>
                  </a:cubicBezTo>
                  <a:cubicBezTo>
                    <a:pt x="19258" y="4220"/>
                    <a:pt x="15207" y="3244"/>
                    <a:pt x="8645" y="3112"/>
                  </a:cubicBezTo>
                  <a:cubicBezTo>
                    <a:pt x="8363" y="3109"/>
                    <a:pt x="8089" y="3108"/>
                    <a:pt x="7824" y="3108"/>
                  </a:cubicBezTo>
                  <a:cubicBezTo>
                    <a:pt x="5705" y="3108"/>
                    <a:pt x="4166" y="3198"/>
                    <a:pt x="3709" y="3198"/>
                  </a:cubicBezTo>
                  <a:cubicBezTo>
                    <a:pt x="3110" y="3198"/>
                    <a:pt x="2682" y="3198"/>
                    <a:pt x="2311" y="3255"/>
                  </a:cubicBezTo>
                  <a:cubicBezTo>
                    <a:pt x="1997" y="3341"/>
                    <a:pt x="1741" y="3426"/>
                    <a:pt x="1541" y="3626"/>
                  </a:cubicBezTo>
                  <a:cubicBezTo>
                    <a:pt x="1256" y="3854"/>
                    <a:pt x="942" y="4368"/>
                    <a:pt x="685" y="4996"/>
                  </a:cubicBezTo>
                  <a:cubicBezTo>
                    <a:pt x="457" y="5652"/>
                    <a:pt x="257" y="6422"/>
                    <a:pt x="171" y="7135"/>
                  </a:cubicBezTo>
                  <a:cubicBezTo>
                    <a:pt x="0" y="8619"/>
                    <a:pt x="228" y="9903"/>
                    <a:pt x="799" y="9932"/>
                  </a:cubicBezTo>
                  <a:cubicBezTo>
                    <a:pt x="1141" y="9903"/>
                    <a:pt x="2511" y="9532"/>
                    <a:pt x="4565" y="9361"/>
                  </a:cubicBezTo>
                  <a:cubicBezTo>
                    <a:pt x="5533" y="9267"/>
                    <a:pt x="6605" y="9227"/>
                    <a:pt x="7743" y="9227"/>
                  </a:cubicBezTo>
                  <a:cubicBezTo>
                    <a:pt x="14763" y="9227"/>
                    <a:pt x="24255" y="10762"/>
                    <a:pt x="26772" y="10762"/>
                  </a:cubicBezTo>
                  <a:cubicBezTo>
                    <a:pt x="26830" y="10762"/>
                    <a:pt x="26884" y="10761"/>
                    <a:pt x="26935" y="10759"/>
                  </a:cubicBezTo>
                  <a:cubicBezTo>
                    <a:pt x="28504" y="10673"/>
                    <a:pt x="29959" y="10616"/>
                    <a:pt x="31357" y="10531"/>
                  </a:cubicBezTo>
                  <a:cubicBezTo>
                    <a:pt x="33725" y="10388"/>
                    <a:pt x="36550" y="10188"/>
                    <a:pt x="39375" y="9932"/>
                  </a:cubicBezTo>
                  <a:cubicBezTo>
                    <a:pt x="44995" y="9389"/>
                    <a:pt x="50616" y="8648"/>
                    <a:pt x="52842" y="8648"/>
                  </a:cubicBezTo>
                  <a:cubicBezTo>
                    <a:pt x="53184" y="8534"/>
                    <a:pt x="53812" y="8391"/>
                    <a:pt x="54696" y="8220"/>
                  </a:cubicBezTo>
                  <a:cubicBezTo>
                    <a:pt x="64055" y="6422"/>
                    <a:pt x="80005" y="6394"/>
                    <a:pt x="80005" y="6394"/>
                  </a:cubicBezTo>
                  <a:cubicBezTo>
                    <a:pt x="80493" y="6244"/>
                    <a:pt x="81812" y="6179"/>
                    <a:pt x="83129" y="6179"/>
                  </a:cubicBezTo>
                  <a:cubicBezTo>
                    <a:pt x="84585" y="6179"/>
                    <a:pt x="86038" y="6259"/>
                    <a:pt x="86367" y="6394"/>
                  </a:cubicBezTo>
                  <a:cubicBezTo>
                    <a:pt x="86815" y="6554"/>
                    <a:pt x="87335" y="6606"/>
                    <a:pt x="87871" y="6606"/>
                  </a:cubicBezTo>
                  <a:cubicBezTo>
                    <a:pt x="88291" y="6606"/>
                    <a:pt x="88721" y="6574"/>
                    <a:pt x="89135" y="6536"/>
                  </a:cubicBezTo>
                  <a:cubicBezTo>
                    <a:pt x="89707" y="6502"/>
                    <a:pt x="90237" y="6446"/>
                    <a:pt x="90635" y="6446"/>
                  </a:cubicBezTo>
                  <a:cubicBezTo>
                    <a:pt x="90892" y="6446"/>
                    <a:pt x="91095" y="6469"/>
                    <a:pt x="91218" y="6536"/>
                  </a:cubicBezTo>
                  <a:cubicBezTo>
                    <a:pt x="93346" y="6449"/>
                    <a:pt x="94769" y="6326"/>
                    <a:pt x="97497" y="6326"/>
                  </a:cubicBezTo>
                  <a:cubicBezTo>
                    <a:pt x="100144" y="6326"/>
                    <a:pt x="104020" y="6442"/>
                    <a:pt x="110962" y="6822"/>
                  </a:cubicBezTo>
                  <a:cubicBezTo>
                    <a:pt x="117011" y="7135"/>
                    <a:pt x="115014" y="7050"/>
                    <a:pt x="120435" y="7364"/>
                  </a:cubicBezTo>
                  <a:cubicBezTo>
                    <a:pt x="122689" y="7506"/>
                    <a:pt x="122945" y="7506"/>
                    <a:pt x="124743" y="7649"/>
                  </a:cubicBezTo>
                  <a:cubicBezTo>
                    <a:pt x="125023" y="7641"/>
                    <a:pt x="125305" y="7637"/>
                    <a:pt x="125590" y="7637"/>
                  </a:cubicBezTo>
                  <a:cubicBezTo>
                    <a:pt x="130170" y="7637"/>
                    <a:pt x="135287" y="8611"/>
                    <a:pt x="137916" y="8611"/>
                  </a:cubicBezTo>
                  <a:cubicBezTo>
                    <a:pt x="138622" y="8611"/>
                    <a:pt x="139149" y="8541"/>
                    <a:pt x="139437" y="8362"/>
                  </a:cubicBezTo>
                  <a:cubicBezTo>
                    <a:pt x="140664" y="7620"/>
                    <a:pt x="142661" y="4339"/>
                    <a:pt x="142119" y="2770"/>
                  </a:cubicBezTo>
                  <a:cubicBezTo>
                    <a:pt x="142041" y="2407"/>
                    <a:pt x="132815" y="1927"/>
                    <a:pt x="130647" y="1927"/>
                  </a:cubicBezTo>
                  <a:cubicBezTo>
                    <a:pt x="130426" y="1927"/>
                    <a:pt x="130279" y="1932"/>
                    <a:pt x="130221" y="1943"/>
                  </a:cubicBezTo>
                  <a:cubicBezTo>
                    <a:pt x="130167" y="1947"/>
                    <a:pt x="130113" y="1950"/>
                    <a:pt x="130059" y="1950"/>
                  </a:cubicBezTo>
                  <a:cubicBezTo>
                    <a:pt x="129798" y="1950"/>
                    <a:pt x="129555" y="1894"/>
                    <a:pt x="129508" y="1800"/>
                  </a:cubicBezTo>
                  <a:cubicBezTo>
                    <a:pt x="129479" y="1686"/>
                    <a:pt x="120549" y="973"/>
                    <a:pt x="120435" y="973"/>
                  </a:cubicBezTo>
                  <a:cubicBezTo>
                    <a:pt x="119579" y="915"/>
                    <a:pt x="119065" y="858"/>
                    <a:pt x="118780" y="830"/>
                  </a:cubicBezTo>
                  <a:cubicBezTo>
                    <a:pt x="118780" y="746"/>
                    <a:pt x="118596" y="693"/>
                    <a:pt x="118330" y="693"/>
                  </a:cubicBezTo>
                  <a:cubicBezTo>
                    <a:pt x="118233" y="693"/>
                    <a:pt x="118124" y="700"/>
                    <a:pt x="118009" y="716"/>
                  </a:cubicBezTo>
                  <a:cubicBezTo>
                    <a:pt x="117718" y="763"/>
                    <a:pt x="117031" y="783"/>
                    <a:pt x="116070" y="783"/>
                  </a:cubicBezTo>
                  <a:cubicBezTo>
                    <a:pt x="112979" y="783"/>
                    <a:pt x="107047" y="576"/>
                    <a:pt x="102260" y="402"/>
                  </a:cubicBezTo>
                  <a:cubicBezTo>
                    <a:pt x="96932" y="255"/>
                    <a:pt x="96847" y="0"/>
                    <a:pt x="94943"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grpSp>
      <p:grpSp>
        <p:nvGrpSpPr>
          <p:cNvPr id="2543" name="Google Shape;2543;p61"/>
          <p:cNvGrpSpPr/>
          <p:nvPr/>
        </p:nvGrpSpPr>
        <p:grpSpPr>
          <a:xfrm>
            <a:off x="5447201" y="598800"/>
            <a:ext cx="663700" cy="1835467"/>
            <a:chOff x="5198250" y="2005175"/>
            <a:chExt cx="497775" cy="1376600"/>
          </a:xfrm>
        </p:grpSpPr>
        <p:sp>
          <p:nvSpPr>
            <p:cNvPr id="2544" name="Google Shape;2544;p61"/>
            <p:cNvSpPr/>
            <p:nvPr/>
          </p:nvSpPr>
          <p:spPr>
            <a:xfrm>
              <a:off x="5374250" y="2005850"/>
              <a:ext cx="314075" cy="246375"/>
            </a:xfrm>
            <a:custGeom>
              <a:avLst/>
              <a:gdLst/>
              <a:ahLst/>
              <a:cxnLst/>
              <a:rect l="l" t="t" r="r" b="b"/>
              <a:pathLst>
                <a:path w="12563" h="9855" extrusionOk="0">
                  <a:moveTo>
                    <a:pt x="158" y="0"/>
                  </a:moveTo>
                  <a:cubicBezTo>
                    <a:pt x="73" y="0"/>
                    <a:pt x="0" y="115"/>
                    <a:pt x="65" y="180"/>
                  </a:cubicBezTo>
                  <a:cubicBezTo>
                    <a:pt x="1781" y="2314"/>
                    <a:pt x="4019" y="3758"/>
                    <a:pt x="6300" y="5223"/>
                  </a:cubicBezTo>
                  <a:cubicBezTo>
                    <a:pt x="7346" y="5892"/>
                    <a:pt x="8225" y="6792"/>
                    <a:pt x="9167" y="7608"/>
                  </a:cubicBezTo>
                  <a:cubicBezTo>
                    <a:pt x="10108" y="8403"/>
                    <a:pt x="11217" y="9010"/>
                    <a:pt x="12159" y="9805"/>
                  </a:cubicBezTo>
                  <a:cubicBezTo>
                    <a:pt x="12203" y="9839"/>
                    <a:pt x="12249" y="9854"/>
                    <a:pt x="12293" y="9854"/>
                  </a:cubicBezTo>
                  <a:cubicBezTo>
                    <a:pt x="12438" y="9854"/>
                    <a:pt x="12563" y="9694"/>
                    <a:pt x="12514" y="9533"/>
                  </a:cubicBezTo>
                  <a:cubicBezTo>
                    <a:pt x="12305" y="8717"/>
                    <a:pt x="11405" y="8278"/>
                    <a:pt x="10715" y="7880"/>
                  </a:cubicBezTo>
                  <a:cubicBezTo>
                    <a:pt x="9606" y="7211"/>
                    <a:pt x="8685" y="6311"/>
                    <a:pt x="7681" y="5495"/>
                  </a:cubicBezTo>
                  <a:cubicBezTo>
                    <a:pt x="5275" y="3549"/>
                    <a:pt x="2346" y="2419"/>
                    <a:pt x="232" y="34"/>
                  </a:cubicBezTo>
                  <a:cubicBezTo>
                    <a:pt x="209" y="10"/>
                    <a:pt x="183" y="0"/>
                    <a:pt x="158"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45" name="Google Shape;2545;p61"/>
            <p:cNvSpPr/>
            <p:nvPr/>
          </p:nvSpPr>
          <p:spPr>
            <a:xfrm>
              <a:off x="5198250" y="2005175"/>
              <a:ext cx="178175" cy="349750"/>
            </a:xfrm>
            <a:custGeom>
              <a:avLst/>
              <a:gdLst/>
              <a:ahLst/>
              <a:cxnLst/>
              <a:rect l="l" t="t" r="r" b="b"/>
              <a:pathLst>
                <a:path w="7127" h="13990" extrusionOk="0">
                  <a:moveTo>
                    <a:pt x="6986" y="0"/>
                  </a:moveTo>
                  <a:cubicBezTo>
                    <a:pt x="6917" y="0"/>
                    <a:pt x="6843" y="42"/>
                    <a:pt x="6833" y="124"/>
                  </a:cubicBezTo>
                  <a:cubicBezTo>
                    <a:pt x="6665" y="1212"/>
                    <a:pt x="6121" y="2258"/>
                    <a:pt x="5598" y="3199"/>
                  </a:cubicBezTo>
                  <a:cubicBezTo>
                    <a:pt x="5012" y="4245"/>
                    <a:pt x="4489" y="5354"/>
                    <a:pt x="3862" y="6380"/>
                  </a:cubicBezTo>
                  <a:cubicBezTo>
                    <a:pt x="3192" y="7489"/>
                    <a:pt x="2564" y="8639"/>
                    <a:pt x="1937" y="9790"/>
                  </a:cubicBezTo>
                  <a:cubicBezTo>
                    <a:pt x="1246" y="11046"/>
                    <a:pt x="367" y="12238"/>
                    <a:pt x="54" y="13640"/>
                  </a:cubicBezTo>
                  <a:cubicBezTo>
                    <a:pt x="0" y="13841"/>
                    <a:pt x="168" y="13990"/>
                    <a:pt x="319" y="13990"/>
                  </a:cubicBezTo>
                  <a:cubicBezTo>
                    <a:pt x="404" y="13990"/>
                    <a:pt x="484" y="13942"/>
                    <a:pt x="514" y="13828"/>
                  </a:cubicBezTo>
                  <a:cubicBezTo>
                    <a:pt x="911" y="12448"/>
                    <a:pt x="1644" y="11255"/>
                    <a:pt x="2355" y="9999"/>
                  </a:cubicBezTo>
                  <a:cubicBezTo>
                    <a:pt x="3046" y="8702"/>
                    <a:pt x="3757" y="7426"/>
                    <a:pt x="4510" y="6129"/>
                  </a:cubicBezTo>
                  <a:cubicBezTo>
                    <a:pt x="5201" y="5041"/>
                    <a:pt x="5745" y="3806"/>
                    <a:pt x="6331" y="2655"/>
                  </a:cubicBezTo>
                  <a:cubicBezTo>
                    <a:pt x="6707" y="1860"/>
                    <a:pt x="7063" y="1044"/>
                    <a:pt x="7105" y="144"/>
                  </a:cubicBezTo>
                  <a:cubicBezTo>
                    <a:pt x="7126" y="48"/>
                    <a:pt x="7059" y="0"/>
                    <a:pt x="6986"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46" name="Google Shape;2546;p61"/>
            <p:cNvSpPr/>
            <p:nvPr/>
          </p:nvSpPr>
          <p:spPr>
            <a:xfrm>
              <a:off x="5200625" y="2338175"/>
              <a:ext cx="375075" cy="400250"/>
            </a:xfrm>
            <a:custGeom>
              <a:avLst/>
              <a:gdLst/>
              <a:ahLst/>
              <a:cxnLst/>
              <a:rect l="l" t="t" r="r" b="b"/>
              <a:pathLst>
                <a:path w="15003" h="16010" extrusionOk="0">
                  <a:moveTo>
                    <a:pt x="199" y="1"/>
                  </a:moveTo>
                  <a:cubicBezTo>
                    <a:pt x="98" y="1"/>
                    <a:pt x="0" y="64"/>
                    <a:pt x="0" y="174"/>
                  </a:cubicBezTo>
                  <a:cubicBezTo>
                    <a:pt x="42" y="822"/>
                    <a:pt x="231" y="1283"/>
                    <a:pt x="691" y="1764"/>
                  </a:cubicBezTo>
                  <a:cubicBezTo>
                    <a:pt x="1632" y="2747"/>
                    <a:pt x="2574" y="3731"/>
                    <a:pt x="3516" y="4714"/>
                  </a:cubicBezTo>
                  <a:cubicBezTo>
                    <a:pt x="5273" y="6555"/>
                    <a:pt x="6780" y="8564"/>
                    <a:pt x="8558" y="10343"/>
                  </a:cubicBezTo>
                  <a:cubicBezTo>
                    <a:pt x="9835" y="11640"/>
                    <a:pt x="11111" y="12937"/>
                    <a:pt x="12345" y="14297"/>
                  </a:cubicBezTo>
                  <a:cubicBezTo>
                    <a:pt x="12738" y="14729"/>
                    <a:pt x="13592" y="16009"/>
                    <a:pt x="14352" y="16009"/>
                  </a:cubicBezTo>
                  <a:cubicBezTo>
                    <a:pt x="14402" y="16009"/>
                    <a:pt x="14452" y="16004"/>
                    <a:pt x="14501" y="15992"/>
                  </a:cubicBezTo>
                  <a:cubicBezTo>
                    <a:pt x="15003" y="15876"/>
                    <a:pt x="14845" y="15118"/>
                    <a:pt x="14389" y="15118"/>
                  </a:cubicBezTo>
                  <a:cubicBezTo>
                    <a:pt x="14352" y="15118"/>
                    <a:pt x="14312" y="15123"/>
                    <a:pt x="14270" y="15134"/>
                  </a:cubicBezTo>
                  <a:cubicBezTo>
                    <a:pt x="14501" y="15071"/>
                    <a:pt x="13705" y="14444"/>
                    <a:pt x="13538" y="14255"/>
                  </a:cubicBezTo>
                  <a:cubicBezTo>
                    <a:pt x="13120" y="13837"/>
                    <a:pt x="12722" y="13418"/>
                    <a:pt x="12345" y="13000"/>
                  </a:cubicBezTo>
                  <a:cubicBezTo>
                    <a:pt x="11195" y="11786"/>
                    <a:pt x="9939" y="10636"/>
                    <a:pt x="8767" y="9443"/>
                  </a:cubicBezTo>
                  <a:cubicBezTo>
                    <a:pt x="7219" y="7915"/>
                    <a:pt x="5922" y="6158"/>
                    <a:pt x="4394" y="4610"/>
                  </a:cubicBezTo>
                  <a:cubicBezTo>
                    <a:pt x="3662" y="3856"/>
                    <a:pt x="2930" y="3124"/>
                    <a:pt x="2197" y="2371"/>
                  </a:cubicBezTo>
                  <a:cubicBezTo>
                    <a:pt x="1549" y="1680"/>
                    <a:pt x="586" y="1178"/>
                    <a:pt x="419" y="174"/>
                  </a:cubicBezTo>
                  <a:cubicBezTo>
                    <a:pt x="389" y="54"/>
                    <a:pt x="292" y="1"/>
                    <a:pt x="199"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47" name="Google Shape;2547;p61"/>
            <p:cNvSpPr/>
            <p:nvPr/>
          </p:nvSpPr>
          <p:spPr>
            <a:xfrm>
              <a:off x="5557925" y="2236525"/>
              <a:ext cx="138100" cy="476875"/>
            </a:xfrm>
            <a:custGeom>
              <a:avLst/>
              <a:gdLst/>
              <a:ahLst/>
              <a:cxnLst/>
              <a:rect l="l" t="t" r="r" b="b"/>
              <a:pathLst>
                <a:path w="5524" h="19075" extrusionOk="0">
                  <a:moveTo>
                    <a:pt x="4933" y="1"/>
                  </a:moveTo>
                  <a:cubicBezTo>
                    <a:pt x="4818" y="1"/>
                    <a:pt x="4703" y="103"/>
                    <a:pt x="4728" y="264"/>
                  </a:cubicBezTo>
                  <a:cubicBezTo>
                    <a:pt x="5021" y="1729"/>
                    <a:pt x="4268" y="3633"/>
                    <a:pt x="3954" y="5035"/>
                  </a:cubicBezTo>
                  <a:cubicBezTo>
                    <a:pt x="3598" y="6562"/>
                    <a:pt x="3263" y="8069"/>
                    <a:pt x="2803" y="9596"/>
                  </a:cubicBezTo>
                  <a:cubicBezTo>
                    <a:pt x="1882" y="12651"/>
                    <a:pt x="983" y="15685"/>
                    <a:pt x="41" y="18740"/>
                  </a:cubicBezTo>
                  <a:cubicBezTo>
                    <a:pt x="1" y="18929"/>
                    <a:pt x="144" y="19075"/>
                    <a:pt x="290" y="19075"/>
                  </a:cubicBezTo>
                  <a:cubicBezTo>
                    <a:pt x="369" y="19075"/>
                    <a:pt x="450" y="19032"/>
                    <a:pt x="501" y="18928"/>
                  </a:cubicBezTo>
                  <a:cubicBezTo>
                    <a:pt x="1171" y="17526"/>
                    <a:pt x="1380" y="15915"/>
                    <a:pt x="1966" y="14450"/>
                  </a:cubicBezTo>
                  <a:cubicBezTo>
                    <a:pt x="2615" y="12818"/>
                    <a:pt x="2929" y="10977"/>
                    <a:pt x="3452" y="9303"/>
                  </a:cubicBezTo>
                  <a:cubicBezTo>
                    <a:pt x="3975" y="7650"/>
                    <a:pt x="4372" y="5935"/>
                    <a:pt x="4707" y="4240"/>
                  </a:cubicBezTo>
                  <a:cubicBezTo>
                    <a:pt x="4958" y="2984"/>
                    <a:pt x="5523" y="1457"/>
                    <a:pt x="5126" y="160"/>
                  </a:cubicBezTo>
                  <a:cubicBezTo>
                    <a:pt x="5091" y="49"/>
                    <a:pt x="5012" y="1"/>
                    <a:pt x="4933"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48" name="Google Shape;2548;p61"/>
            <p:cNvSpPr/>
            <p:nvPr/>
          </p:nvSpPr>
          <p:spPr>
            <a:xfrm>
              <a:off x="5370100" y="2016600"/>
              <a:ext cx="187300" cy="687125"/>
            </a:xfrm>
            <a:custGeom>
              <a:avLst/>
              <a:gdLst/>
              <a:ahLst/>
              <a:cxnLst/>
              <a:rect l="l" t="t" r="r" b="b"/>
              <a:pathLst>
                <a:path w="7492" h="27485" extrusionOk="0">
                  <a:moveTo>
                    <a:pt x="110" y="1"/>
                  </a:moveTo>
                  <a:cubicBezTo>
                    <a:pt x="56" y="1"/>
                    <a:pt x="1" y="38"/>
                    <a:pt x="1" y="106"/>
                  </a:cubicBezTo>
                  <a:cubicBezTo>
                    <a:pt x="63" y="922"/>
                    <a:pt x="440" y="1633"/>
                    <a:pt x="712" y="2387"/>
                  </a:cubicBezTo>
                  <a:cubicBezTo>
                    <a:pt x="1068" y="3433"/>
                    <a:pt x="1486" y="4416"/>
                    <a:pt x="1988" y="5379"/>
                  </a:cubicBezTo>
                  <a:cubicBezTo>
                    <a:pt x="3118" y="7576"/>
                    <a:pt x="3892" y="9731"/>
                    <a:pt x="4583" y="12116"/>
                  </a:cubicBezTo>
                  <a:cubicBezTo>
                    <a:pt x="5294" y="14564"/>
                    <a:pt x="5420" y="17180"/>
                    <a:pt x="5755" y="19732"/>
                  </a:cubicBezTo>
                  <a:cubicBezTo>
                    <a:pt x="6089" y="22201"/>
                    <a:pt x="6864" y="24670"/>
                    <a:pt x="6905" y="27202"/>
                  </a:cubicBezTo>
                  <a:cubicBezTo>
                    <a:pt x="6905" y="27390"/>
                    <a:pt x="7052" y="27484"/>
                    <a:pt x="7198" y="27484"/>
                  </a:cubicBezTo>
                  <a:cubicBezTo>
                    <a:pt x="7345" y="27484"/>
                    <a:pt x="7491" y="27390"/>
                    <a:pt x="7491" y="27202"/>
                  </a:cubicBezTo>
                  <a:cubicBezTo>
                    <a:pt x="7408" y="25131"/>
                    <a:pt x="6926" y="23017"/>
                    <a:pt x="6550" y="21009"/>
                  </a:cubicBezTo>
                  <a:cubicBezTo>
                    <a:pt x="6048" y="18498"/>
                    <a:pt x="5713" y="15966"/>
                    <a:pt x="5190" y="13476"/>
                  </a:cubicBezTo>
                  <a:cubicBezTo>
                    <a:pt x="4688" y="11091"/>
                    <a:pt x="3809" y="8789"/>
                    <a:pt x="2888" y="6571"/>
                  </a:cubicBezTo>
                  <a:cubicBezTo>
                    <a:pt x="2407" y="5421"/>
                    <a:pt x="1884" y="4312"/>
                    <a:pt x="1444" y="3140"/>
                  </a:cubicBezTo>
                  <a:cubicBezTo>
                    <a:pt x="1068" y="2156"/>
                    <a:pt x="398" y="1110"/>
                    <a:pt x="210" y="85"/>
                  </a:cubicBezTo>
                  <a:cubicBezTo>
                    <a:pt x="200" y="27"/>
                    <a:pt x="156" y="1"/>
                    <a:pt x="110"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49" name="Google Shape;2549;p61"/>
            <p:cNvSpPr/>
            <p:nvPr/>
          </p:nvSpPr>
          <p:spPr>
            <a:xfrm>
              <a:off x="5199100" y="2245600"/>
              <a:ext cx="495350" cy="108525"/>
            </a:xfrm>
            <a:custGeom>
              <a:avLst/>
              <a:gdLst/>
              <a:ahLst/>
              <a:cxnLst/>
              <a:rect l="l" t="t" r="r" b="b"/>
              <a:pathLst>
                <a:path w="19814" h="4341" extrusionOk="0">
                  <a:moveTo>
                    <a:pt x="19049" y="1"/>
                  </a:moveTo>
                  <a:cubicBezTo>
                    <a:pt x="15617" y="1"/>
                    <a:pt x="12365" y="895"/>
                    <a:pt x="9017" y="1617"/>
                  </a:cubicBezTo>
                  <a:cubicBezTo>
                    <a:pt x="7657" y="1910"/>
                    <a:pt x="6276" y="2307"/>
                    <a:pt x="4937" y="2663"/>
                  </a:cubicBezTo>
                  <a:cubicBezTo>
                    <a:pt x="3326" y="3103"/>
                    <a:pt x="1484" y="3458"/>
                    <a:pt x="20" y="4232"/>
                  </a:cubicBezTo>
                  <a:cubicBezTo>
                    <a:pt x="1" y="4270"/>
                    <a:pt x="32" y="4340"/>
                    <a:pt x="84" y="4340"/>
                  </a:cubicBezTo>
                  <a:cubicBezTo>
                    <a:pt x="90" y="4340"/>
                    <a:pt x="96" y="4339"/>
                    <a:pt x="103" y="4337"/>
                  </a:cubicBezTo>
                  <a:cubicBezTo>
                    <a:pt x="1421" y="3626"/>
                    <a:pt x="3095" y="3354"/>
                    <a:pt x="4539" y="2956"/>
                  </a:cubicBezTo>
                  <a:cubicBezTo>
                    <a:pt x="6339" y="2454"/>
                    <a:pt x="8180" y="2119"/>
                    <a:pt x="10042" y="1742"/>
                  </a:cubicBezTo>
                  <a:cubicBezTo>
                    <a:pt x="11758" y="1408"/>
                    <a:pt x="13432" y="926"/>
                    <a:pt x="15189" y="738"/>
                  </a:cubicBezTo>
                  <a:cubicBezTo>
                    <a:pt x="16633" y="571"/>
                    <a:pt x="18098" y="571"/>
                    <a:pt x="19520" y="487"/>
                  </a:cubicBezTo>
                  <a:cubicBezTo>
                    <a:pt x="19813" y="466"/>
                    <a:pt x="19792" y="6"/>
                    <a:pt x="19499" y="6"/>
                  </a:cubicBezTo>
                  <a:cubicBezTo>
                    <a:pt x="19349" y="2"/>
                    <a:pt x="19199" y="1"/>
                    <a:pt x="19049"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50" name="Google Shape;2550;p61"/>
            <p:cNvSpPr/>
            <p:nvPr/>
          </p:nvSpPr>
          <p:spPr>
            <a:xfrm>
              <a:off x="5321025" y="2211900"/>
              <a:ext cx="40650" cy="22725"/>
            </a:xfrm>
            <a:custGeom>
              <a:avLst/>
              <a:gdLst/>
              <a:ahLst/>
              <a:cxnLst/>
              <a:rect l="l" t="t" r="r" b="b"/>
              <a:pathLst>
                <a:path w="1626" h="909" extrusionOk="0">
                  <a:moveTo>
                    <a:pt x="227" y="1"/>
                  </a:moveTo>
                  <a:cubicBezTo>
                    <a:pt x="77" y="1"/>
                    <a:pt x="0" y="255"/>
                    <a:pt x="185" y="329"/>
                  </a:cubicBezTo>
                  <a:cubicBezTo>
                    <a:pt x="604" y="517"/>
                    <a:pt x="1022" y="580"/>
                    <a:pt x="1357" y="873"/>
                  </a:cubicBezTo>
                  <a:cubicBezTo>
                    <a:pt x="1392" y="897"/>
                    <a:pt x="1426" y="908"/>
                    <a:pt x="1457" y="908"/>
                  </a:cubicBezTo>
                  <a:cubicBezTo>
                    <a:pt x="1559" y="908"/>
                    <a:pt x="1625" y="796"/>
                    <a:pt x="1545" y="684"/>
                  </a:cubicBezTo>
                  <a:cubicBezTo>
                    <a:pt x="1210" y="308"/>
                    <a:pt x="771" y="245"/>
                    <a:pt x="290" y="15"/>
                  </a:cubicBezTo>
                  <a:cubicBezTo>
                    <a:pt x="268" y="5"/>
                    <a:pt x="247" y="1"/>
                    <a:pt x="227"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51" name="Google Shape;2551;p61"/>
            <p:cNvSpPr/>
            <p:nvPr/>
          </p:nvSpPr>
          <p:spPr>
            <a:xfrm>
              <a:off x="5357225" y="2181850"/>
              <a:ext cx="34800" cy="47650"/>
            </a:xfrm>
            <a:custGeom>
              <a:avLst/>
              <a:gdLst/>
              <a:ahLst/>
              <a:cxnLst/>
              <a:rect l="l" t="t" r="r" b="b"/>
              <a:pathLst>
                <a:path w="1392" h="1906" extrusionOk="0">
                  <a:moveTo>
                    <a:pt x="218" y="1"/>
                  </a:moveTo>
                  <a:cubicBezTo>
                    <a:pt x="111" y="1"/>
                    <a:pt x="0" y="133"/>
                    <a:pt x="76" y="254"/>
                  </a:cubicBezTo>
                  <a:cubicBezTo>
                    <a:pt x="411" y="777"/>
                    <a:pt x="809" y="1238"/>
                    <a:pt x="1102" y="1824"/>
                  </a:cubicBezTo>
                  <a:cubicBezTo>
                    <a:pt x="1126" y="1880"/>
                    <a:pt x="1178" y="1906"/>
                    <a:pt x="1230" y="1906"/>
                  </a:cubicBezTo>
                  <a:cubicBezTo>
                    <a:pt x="1312" y="1906"/>
                    <a:pt x="1391" y="1842"/>
                    <a:pt x="1353" y="1740"/>
                  </a:cubicBezTo>
                  <a:cubicBezTo>
                    <a:pt x="1185" y="1070"/>
                    <a:pt x="725" y="610"/>
                    <a:pt x="327" y="66"/>
                  </a:cubicBezTo>
                  <a:cubicBezTo>
                    <a:pt x="299" y="20"/>
                    <a:pt x="259" y="1"/>
                    <a:pt x="218"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52" name="Google Shape;2552;p61"/>
            <p:cNvSpPr/>
            <p:nvPr/>
          </p:nvSpPr>
          <p:spPr>
            <a:xfrm>
              <a:off x="5373375" y="2343375"/>
              <a:ext cx="56475" cy="124225"/>
            </a:xfrm>
            <a:custGeom>
              <a:avLst/>
              <a:gdLst/>
              <a:ahLst/>
              <a:cxnLst/>
              <a:rect l="l" t="t" r="r" b="b"/>
              <a:pathLst>
                <a:path w="2259" h="4969" extrusionOk="0">
                  <a:moveTo>
                    <a:pt x="1991" y="1"/>
                  </a:moveTo>
                  <a:cubicBezTo>
                    <a:pt x="1932" y="1"/>
                    <a:pt x="1875" y="27"/>
                    <a:pt x="1837" y="91"/>
                  </a:cubicBezTo>
                  <a:cubicBezTo>
                    <a:pt x="1418" y="761"/>
                    <a:pt x="1125" y="1451"/>
                    <a:pt x="895" y="2205"/>
                  </a:cubicBezTo>
                  <a:cubicBezTo>
                    <a:pt x="623" y="3021"/>
                    <a:pt x="602" y="4046"/>
                    <a:pt x="79" y="4736"/>
                  </a:cubicBezTo>
                  <a:cubicBezTo>
                    <a:pt x="0" y="4847"/>
                    <a:pt x="87" y="4969"/>
                    <a:pt x="180" y="4969"/>
                  </a:cubicBezTo>
                  <a:cubicBezTo>
                    <a:pt x="210" y="4969"/>
                    <a:pt x="241" y="4956"/>
                    <a:pt x="267" y="4925"/>
                  </a:cubicBezTo>
                  <a:cubicBezTo>
                    <a:pt x="728" y="4381"/>
                    <a:pt x="916" y="3585"/>
                    <a:pt x="1104" y="2916"/>
                  </a:cubicBezTo>
                  <a:cubicBezTo>
                    <a:pt x="1334" y="1995"/>
                    <a:pt x="1732" y="1137"/>
                    <a:pt x="2171" y="300"/>
                  </a:cubicBezTo>
                  <a:cubicBezTo>
                    <a:pt x="2259" y="140"/>
                    <a:pt x="2123" y="1"/>
                    <a:pt x="1991"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53" name="Google Shape;2553;p61"/>
            <p:cNvSpPr/>
            <p:nvPr/>
          </p:nvSpPr>
          <p:spPr>
            <a:xfrm>
              <a:off x="5416450" y="2405050"/>
              <a:ext cx="32225" cy="53925"/>
            </a:xfrm>
            <a:custGeom>
              <a:avLst/>
              <a:gdLst/>
              <a:ahLst/>
              <a:cxnLst/>
              <a:rect l="l" t="t" r="r" b="b"/>
              <a:pathLst>
                <a:path w="1289" h="2157" extrusionOk="0">
                  <a:moveTo>
                    <a:pt x="1081" y="0"/>
                  </a:moveTo>
                  <a:cubicBezTo>
                    <a:pt x="1041" y="0"/>
                    <a:pt x="1001" y="16"/>
                    <a:pt x="971" y="51"/>
                  </a:cubicBezTo>
                  <a:cubicBezTo>
                    <a:pt x="532" y="595"/>
                    <a:pt x="469" y="1286"/>
                    <a:pt x="114" y="1893"/>
                  </a:cubicBezTo>
                  <a:cubicBezTo>
                    <a:pt x="0" y="2034"/>
                    <a:pt x="136" y="2156"/>
                    <a:pt x="274" y="2156"/>
                  </a:cubicBezTo>
                  <a:cubicBezTo>
                    <a:pt x="340" y="2156"/>
                    <a:pt x="408" y="2128"/>
                    <a:pt x="448" y="2060"/>
                  </a:cubicBezTo>
                  <a:cubicBezTo>
                    <a:pt x="825" y="1495"/>
                    <a:pt x="950" y="805"/>
                    <a:pt x="1243" y="219"/>
                  </a:cubicBezTo>
                  <a:cubicBezTo>
                    <a:pt x="1288" y="99"/>
                    <a:pt x="1183" y="0"/>
                    <a:pt x="1081"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54" name="Google Shape;2554;p61"/>
            <p:cNvSpPr/>
            <p:nvPr/>
          </p:nvSpPr>
          <p:spPr>
            <a:xfrm>
              <a:off x="5558425" y="2301150"/>
              <a:ext cx="13100" cy="32550"/>
            </a:xfrm>
            <a:custGeom>
              <a:avLst/>
              <a:gdLst/>
              <a:ahLst/>
              <a:cxnLst/>
              <a:rect l="l" t="t" r="r" b="b"/>
              <a:pathLst>
                <a:path w="524" h="1302" extrusionOk="0">
                  <a:moveTo>
                    <a:pt x="237" y="1"/>
                  </a:moveTo>
                  <a:cubicBezTo>
                    <a:pt x="115" y="1"/>
                    <a:pt x="0" y="75"/>
                    <a:pt x="0" y="232"/>
                  </a:cubicBezTo>
                  <a:cubicBezTo>
                    <a:pt x="0" y="525"/>
                    <a:pt x="0" y="797"/>
                    <a:pt x="21" y="1090"/>
                  </a:cubicBezTo>
                  <a:cubicBezTo>
                    <a:pt x="42" y="1228"/>
                    <a:pt x="161" y="1302"/>
                    <a:pt x="276" y="1302"/>
                  </a:cubicBezTo>
                  <a:cubicBezTo>
                    <a:pt x="386" y="1302"/>
                    <a:pt x="492" y="1234"/>
                    <a:pt x="502" y="1090"/>
                  </a:cubicBezTo>
                  <a:cubicBezTo>
                    <a:pt x="523" y="839"/>
                    <a:pt x="523" y="546"/>
                    <a:pt x="523" y="274"/>
                  </a:cubicBezTo>
                  <a:cubicBezTo>
                    <a:pt x="523" y="96"/>
                    <a:pt x="376" y="1"/>
                    <a:pt x="237"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55" name="Google Shape;2555;p61"/>
            <p:cNvSpPr/>
            <p:nvPr/>
          </p:nvSpPr>
          <p:spPr>
            <a:xfrm>
              <a:off x="5466350" y="2710025"/>
              <a:ext cx="189375" cy="671750"/>
            </a:xfrm>
            <a:custGeom>
              <a:avLst/>
              <a:gdLst/>
              <a:ahLst/>
              <a:cxnLst/>
              <a:rect l="l" t="t" r="r" b="b"/>
              <a:pathLst>
                <a:path w="7575" h="26870" extrusionOk="0">
                  <a:moveTo>
                    <a:pt x="3181" y="22711"/>
                  </a:moveTo>
                  <a:cubicBezTo>
                    <a:pt x="3348" y="22941"/>
                    <a:pt x="3474" y="23192"/>
                    <a:pt x="3558" y="23464"/>
                  </a:cubicBezTo>
                  <a:cubicBezTo>
                    <a:pt x="3375" y="23998"/>
                    <a:pt x="3183" y="24267"/>
                    <a:pt x="2989" y="24267"/>
                  </a:cubicBezTo>
                  <a:cubicBezTo>
                    <a:pt x="2893" y="24267"/>
                    <a:pt x="2796" y="24202"/>
                    <a:pt x="2700" y="24071"/>
                  </a:cubicBezTo>
                  <a:cubicBezTo>
                    <a:pt x="2428" y="23862"/>
                    <a:pt x="2239" y="23548"/>
                    <a:pt x="2072" y="23255"/>
                  </a:cubicBezTo>
                  <a:cubicBezTo>
                    <a:pt x="1997" y="23128"/>
                    <a:pt x="1931" y="23003"/>
                    <a:pt x="1874" y="22881"/>
                  </a:cubicBezTo>
                  <a:lnTo>
                    <a:pt x="1874" y="22881"/>
                  </a:lnTo>
                  <a:cubicBezTo>
                    <a:pt x="2308" y="22823"/>
                    <a:pt x="2740" y="22763"/>
                    <a:pt x="3181" y="22711"/>
                  </a:cubicBezTo>
                  <a:close/>
                  <a:moveTo>
                    <a:pt x="3926" y="1"/>
                  </a:moveTo>
                  <a:cubicBezTo>
                    <a:pt x="3583" y="1"/>
                    <a:pt x="3239" y="411"/>
                    <a:pt x="3516" y="720"/>
                  </a:cubicBezTo>
                  <a:cubicBezTo>
                    <a:pt x="5148" y="2541"/>
                    <a:pt x="6382" y="4905"/>
                    <a:pt x="6131" y="7416"/>
                  </a:cubicBezTo>
                  <a:cubicBezTo>
                    <a:pt x="6027" y="8420"/>
                    <a:pt x="5273" y="9069"/>
                    <a:pt x="4416" y="9425"/>
                  </a:cubicBezTo>
                  <a:cubicBezTo>
                    <a:pt x="3934" y="9613"/>
                    <a:pt x="3662" y="9466"/>
                    <a:pt x="3202" y="9655"/>
                  </a:cubicBezTo>
                  <a:cubicBezTo>
                    <a:pt x="2763" y="9906"/>
                    <a:pt x="2344" y="10283"/>
                    <a:pt x="2302" y="10806"/>
                  </a:cubicBezTo>
                  <a:cubicBezTo>
                    <a:pt x="2135" y="13086"/>
                    <a:pt x="5504" y="14718"/>
                    <a:pt x="4541" y="16936"/>
                  </a:cubicBezTo>
                  <a:cubicBezTo>
                    <a:pt x="3725" y="18798"/>
                    <a:pt x="1403" y="19259"/>
                    <a:pt x="1068" y="21435"/>
                  </a:cubicBezTo>
                  <a:cubicBezTo>
                    <a:pt x="1028" y="21684"/>
                    <a:pt x="1046" y="21958"/>
                    <a:pt x="1108" y="22239"/>
                  </a:cubicBezTo>
                  <a:lnTo>
                    <a:pt x="1108" y="22239"/>
                  </a:lnTo>
                  <a:cubicBezTo>
                    <a:pt x="1043" y="22305"/>
                    <a:pt x="980" y="22379"/>
                    <a:pt x="921" y="22460"/>
                  </a:cubicBezTo>
                  <a:cubicBezTo>
                    <a:pt x="1" y="23715"/>
                    <a:pt x="503" y="25724"/>
                    <a:pt x="1403" y="26791"/>
                  </a:cubicBezTo>
                  <a:cubicBezTo>
                    <a:pt x="1443" y="26848"/>
                    <a:pt x="1483" y="26870"/>
                    <a:pt x="1515" y="26870"/>
                  </a:cubicBezTo>
                  <a:cubicBezTo>
                    <a:pt x="1566" y="26870"/>
                    <a:pt x="1596" y="26814"/>
                    <a:pt x="1570" y="26749"/>
                  </a:cubicBezTo>
                  <a:cubicBezTo>
                    <a:pt x="1089" y="25912"/>
                    <a:pt x="879" y="25117"/>
                    <a:pt x="859" y="24176"/>
                  </a:cubicBezTo>
                  <a:cubicBezTo>
                    <a:pt x="859" y="23757"/>
                    <a:pt x="942" y="23381"/>
                    <a:pt x="1068" y="22983"/>
                  </a:cubicBezTo>
                  <a:cubicBezTo>
                    <a:pt x="1164" y="22972"/>
                    <a:pt x="1259" y="22960"/>
                    <a:pt x="1355" y="22948"/>
                  </a:cubicBezTo>
                  <a:lnTo>
                    <a:pt x="1355" y="22948"/>
                  </a:lnTo>
                  <a:cubicBezTo>
                    <a:pt x="1742" y="23773"/>
                    <a:pt x="2446" y="24518"/>
                    <a:pt x="3181" y="24699"/>
                  </a:cubicBezTo>
                  <a:cubicBezTo>
                    <a:pt x="3272" y="24722"/>
                    <a:pt x="3352" y="24733"/>
                    <a:pt x="3423" y="24733"/>
                  </a:cubicBezTo>
                  <a:cubicBezTo>
                    <a:pt x="4255" y="24733"/>
                    <a:pt x="3815" y="23261"/>
                    <a:pt x="3641" y="22837"/>
                  </a:cubicBezTo>
                  <a:cubicBezTo>
                    <a:pt x="3318" y="22178"/>
                    <a:pt x="2720" y="21807"/>
                    <a:pt x="2126" y="21807"/>
                  </a:cubicBezTo>
                  <a:cubicBezTo>
                    <a:pt x="1944" y="21807"/>
                    <a:pt x="1763" y="21841"/>
                    <a:pt x="1590" y="21913"/>
                  </a:cubicBezTo>
                  <a:lnTo>
                    <a:pt x="1590" y="21913"/>
                  </a:lnTo>
                  <a:cubicBezTo>
                    <a:pt x="1516" y="21168"/>
                    <a:pt x="1808" y="20482"/>
                    <a:pt x="2449" y="19761"/>
                  </a:cubicBezTo>
                  <a:cubicBezTo>
                    <a:pt x="3976" y="18150"/>
                    <a:pt x="6194" y="17062"/>
                    <a:pt x="4708" y="14614"/>
                  </a:cubicBezTo>
                  <a:cubicBezTo>
                    <a:pt x="3892" y="13296"/>
                    <a:pt x="838" y="10303"/>
                    <a:pt x="4520" y="10031"/>
                  </a:cubicBezTo>
                  <a:cubicBezTo>
                    <a:pt x="5796" y="9948"/>
                    <a:pt x="6696" y="8692"/>
                    <a:pt x="6947" y="7604"/>
                  </a:cubicBezTo>
                  <a:cubicBezTo>
                    <a:pt x="7575" y="4989"/>
                    <a:pt x="5985" y="1934"/>
                    <a:pt x="4206" y="114"/>
                  </a:cubicBezTo>
                  <a:cubicBezTo>
                    <a:pt x="4123" y="35"/>
                    <a:pt x="4024" y="1"/>
                    <a:pt x="3926"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56" name="Google Shape;2556;p61"/>
            <p:cNvSpPr/>
            <p:nvPr/>
          </p:nvSpPr>
          <p:spPr>
            <a:xfrm>
              <a:off x="5555275" y="2794875"/>
              <a:ext cx="71700" cy="46175"/>
            </a:xfrm>
            <a:custGeom>
              <a:avLst/>
              <a:gdLst/>
              <a:ahLst/>
              <a:cxnLst/>
              <a:rect l="l" t="t" r="r" b="b"/>
              <a:pathLst>
                <a:path w="2868" h="1847" extrusionOk="0">
                  <a:moveTo>
                    <a:pt x="1759" y="1"/>
                  </a:moveTo>
                  <a:cubicBezTo>
                    <a:pt x="1399" y="1"/>
                    <a:pt x="1051" y="47"/>
                    <a:pt x="712" y="256"/>
                  </a:cubicBezTo>
                  <a:cubicBezTo>
                    <a:pt x="315" y="486"/>
                    <a:pt x="1" y="1176"/>
                    <a:pt x="210" y="1595"/>
                  </a:cubicBezTo>
                  <a:cubicBezTo>
                    <a:pt x="310" y="1786"/>
                    <a:pt x="483" y="1846"/>
                    <a:pt x="670" y="1846"/>
                  </a:cubicBezTo>
                  <a:cubicBezTo>
                    <a:pt x="873" y="1846"/>
                    <a:pt x="1093" y="1775"/>
                    <a:pt x="1256" y="1720"/>
                  </a:cubicBezTo>
                  <a:cubicBezTo>
                    <a:pt x="1716" y="1574"/>
                    <a:pt x="2198" y="1302"/>
                    <a:pt x="2658" y="1114"/>
                  </a:cubicBezTo>
                  <a:cubicBezTo>
                    <a:pt x="2867" y="1051"/>
                    <a:pt x="2867" y="758"/>
                    <a:pt x="2637" y="695"/>
                  </a:cubicBezTo>
                  <a:cubicBezTo>
                    <a:pt x="2579" y="683"/>
                    <a:pt x="2521" y="678"/>
                    <a:pt x="2462" y="678"/>
                  </a:cubicBezTo>
                  <a:cubicBezTo>
                    <a:pt x="1907" y="678"/>
                    <a:pt x="1326" y="1171"/>
                    <a:pt x="796" y="1323"/>
                  </a:cubicBezTo>
                  <a:cubicBezTo>
                    <a:pt x="744" y="1341"/>
                    <a:pt x="703" y="1349"/>
                    <a:pt x="669" y="1349"/>
                  </a:cubicBezTo>
                  <a:cubicBezTo>
                    <a:pt x="388" y="1349"/>
                    <a:pt x="688" y="782"/>
                    <a:pt x="838" y="632"/>
                  </a:cubicBezTo>
                  <a:cubicBezTo>
                    <a:pt x="1172" y="256"/>
                    <a:pt x="1905" y="235"/>
                    <a:pt x="2344" y="193"/>
                  </a:cubicBezTo>
                  <a:cubicBezTo>
                    <a:pt x="2363" y="197"/>
                    <a:pt x="2380" y="199"/>
                    <a:pt x="2395" y="199"/>
                  </a:cubicBezTo>
                  <a:cubicBezTo>
                    <a:pt x="2535" y="199"/>
                    <a:pt x="2541" y="44"/>
                    <a:pt x="2428" y="26"/>
                  </a:cubicBezTo>
                  <a:cubicBezTo>
                    <a:pt x="2199" y="18"/>
                    <a:pt x="1977" y="1"/>
                    <a:pt x="1759"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57" name="Google Shape;2557;p61"/>
            <p:cNvSpPr/>
            <p:nvPr/>
          </p:nvSpPr>
          <p:spPr>
            <a:xfrm>
              <a:off x="5616600" y="2741075"/>
              <a:ext cx="63825" cy="72875"/>
            </a:xfrm>
            <a:custGeom>
              <a:avLst/>
              <a:gdLst/>
              <a:ahLst/>
              <a:cxnLst/>
              <a:rect l="l" t="t" r="r" b="b"/>
              <a:pathLst>
                <a:path w="2553" h="2915" extrusionOk="0">
                  <a:moveTo>
                    <a:pt x="1461" y="0"/>
                  </a:moveTo>
                  <a:cubicBezTo>
                    <a:pt x="846" y="0"/>
                    <a:pt x="196" y="1158"/>
                    <a:pt x="38" y="1634"/>
                  </a:cubicBezTo>
                  <a:cubicBezTo>
                    <a:pt x="0" y="1732"/>
                    <a:pt x="80" y="1795"/>
                    <a:pt x="160" y="1795"/>
                  </a:cubicBezTo>
                  <a:cubicBezTo>
                    <a:pt x="216" y="1795"/>
                    <a:pt x="272" y="1765"/>
                    <a:pt x="289" y="1696"/>
                  </a:cubicBezTo>
                  <a:cubicBezTo>
                    <a:pt x="419" y="1403"/>
                    <a:pt x="930" y="412"/>
                    <a:pt x="1347" y="412"/>
                  </a:cubicBezTo>
                  <a:cubicBezTo>
                    <a:pt x="1466" y="412"/>
                    <a:pt x="1577" y="493"/>
                    <a:pt x="1670" y="692"/>
                  </a:cubicBezTo>
                  <a:cubicBezTo>
                    <a:pt x="2004" y="1445"/>
                    <a:pt x="1188" y="2324"/>
                    <a:pt x="498" y="2470"/>
                  </a:cubicBezTo>
                  <a:cubicBezTo>
                    <a:pt x="289" y="2512"/>
                    <a:pt x="310" y="2889"/>
                    <a:pt x="519" y="2910"/>
                  </a:cubicBezTo>
                  <a:cubicBezTo>
                    <a:pt x="553" y="2913"/>
                    <a:pt x="587" y="2915"/>
                    <a:pt x="621" y="2915"/>
                  </a:cubicBezTo>
                  <a:cubicBezTo>
                    <a:pt x="1703" y="2915"/>
                    <a:pt x="2553" y="1333"/>
                    <a:pt x="2025" y="420"/>
                  </a:cubicBezTo>
                  <a:cubicBezTo>
                    <a:pt x="1852" y="120"/>
                    <a:pt x="1658" y="0"/>
                    <a:pt x="1461"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58" name="Google Shape;2558;p61"/>
            <p:cNvSpPr/>
            <p:nvPr/>
          </p:nvSpPr>
          <p:spPr>
            <a:xfrm>
              <a:off x="5567825" y="2892925"/>
              <a:ext cx="47625" cy="46525"/>
            </a:xfrm>
            <a:custGeom>
              <a:avLst/>
              <a:gdLst/>
              <a:ahLst/>
              <a:cxnLst/>
              <a:rect l="l" t="t" r="r" b="b"/>
              <a:pathLst>
                <a:path w="1905" h="1861" extrusionOk="0">
                  <a:moveTo>
                    <a:pt x="297" y="1"/>
                  </a:moveTo>
                  <a:cubicBezTo>
                    <a:pt x="210" y="1"/>
                    <a:pt x="128" y="28"/>
                    <a:pt x="64" y="100"/>
                  </a:cubicBezTo>
                  <a:cubicBezTo>
                    <a:pt x="1" y="205"/>
                    <a:pt x="22" y="330"/>
                    <a:pt x="43" y="435"/>
                  </a:cubicBezTo>
                  <a:cubicBezTo>
                    <a:pt x="126" y="686"/>
                    <a:pt x="231" y="916"/>
                    <a:pt x="357" y="1125"/>
                  </a:cubicBezTo>
                  <a:cubicBezTo>
                    <a:pt x="612" y="1509"/>
                    <a:pt x="1075" y="1860"/>
                    <a:pt x="1536" y="1860"/>
                  </a:cubicBezTo>
                  <a:cubicBezTo>
                    <a:pt x="1603" y="1860"/>
                    <a:pt x="1671" y="1853"/>
                    <a:pt x="1737" y="1837"/>
                  </a:cubicBezTo>
                  <a:cubicBezTo>
                    <a:pt x="1905" y="1795"/>
                    <a:pt x="1842" y="1565"/>
                    <a:pt x="1717" y="1544"/>
                  </a:cubicBezTo>
                  <a:cubicBezTo>
                    <a:pt x="1319" y="1439"/>
                    <a:pt x="963" y="1376"/>
                    <a:pt x="649" y="1062"/>
                  </a:cubicBezTo>
                  <a:cubicBezTo>
                    <a:pt x="587" y="1021"/>
                    <a:pt x="168" y="309"/>
                    <a:pt x="252" y="288"/>
                  </a:cubicBezTo>
                  <a:cubicBezTo>
                    <a:pt x="268" y="280"/>
                    <a:pt x="287" y="277"/>
                    <a:pt x="307" y="277"/>
                  </a:cubicBezTo>
                  <a:cubicBezTo>
                    <a:pt x="449" y="277"/>
                    <a:pt x="681" y="445"/>
                    <a:pt x="754" y="518"/>
                  </a:cubicBezTo>
                  <a:cubicBezTo>
                    <a:pt x="963" y="686"/>
                    <a:pt x="1110" y="874"/>
                    <a:pt x="1193" y="1125"/>
                  </a:cubicBezTo>
                  <a:cubicBezTo>
                    <a:pt x="1202" y="1175"/>
                    <a:pt x="1246" y="1198"/>
                    <a:pt x="1294" y="1198"/>
                  </a:cubicBezTo>
                  <a:cubicBezTo>
                    <a:pt x="1367" y="1198"/>
                    <a:pt x="1449" y="1143"/>
                    <a:pt x="1424" y="1042"/>
                  </a:cubicBezTo>
                  <a:cubicBezTo>
                    <a:pt x="1319" y="686"/>
                    <a:pt x="1089" y="393"/>
                    <a:pt x="775" y="184"/>
                  </a:cubicBezTo>
                  <a:cubicBezTo>
                    <a:pt x="651" y="101"/>
                    <a:pt x="464" y="1"/>
                    <a:pt x="297"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59" name="Google Shape;2559;p61"/>
            <p:cNvSpPr/>
            <p:nvPr/>
          </p:nvSpPr>
          <p:spPr>
            <a:xfrm>
              <a:off x="5600050" y="2920600"/>
              <a:ext cx="53075" cy="44550"/>
            </a:xfrm>
            <a:custGeom>
              <a:avLst/>
              <a:gdLst/>
              <a:ahLst/>
              <a:cxnLst/>
              <a:rect l="l" t="t" r="r" b="b"/>
              <a:pathLst>
                <a:path w="2123" h="1782" extrusionOk="0">
                  <a:moveTo>
                    <a:pt x="628" y="0"/>
                  </a:moveTo>
                  <a:cubicBezTo>
                    <a:pt x="529" y="0"/>
                    <a:pt x="433" y="18"/>
                    <a:pt x="344" y="60"/>
                  </a:cubicBezTo>
                  <a:cubicBezTo>
                    <a:pt x="287" y="117"/>
                    <a:pt x="316" y="275"/>
                    <a:pt x="399" y="275"/>
                  </a:cubicBezTo>
                  <a:cubicBezTo>
                    <a:pt x="408" y="275"/>
                    <a:pt x="417" y="273"/>
                    <a:pt x="428" y="269"/>
                  </a:cubicBezTo>
                  <a:cubicBezTo>
                    <a:pt x="476" y="253"/>
                    <a:pt x="527" y="246"/>
                    <a:pt x="578" y="246"/>
                  </a:cubicBezTo>
                  <a:cubicBezTo>
                    <a:pt x="987" y="246"/>
                    <a:pt x="1450" y="727"/>
                    <a:pt x="1599" y="1043"/>
                  </a:cubicBezTo>
                  <a:cubicBezTo>
                    <a:pt x="1597" y="1039"/>
                    <a:pt x="1595" y="1037"/>
                    <a:pt x="1593" y="1037"/>
                  </a:cubicBezTo>
                  <a:cubicBezTo>
                    <a:pt x="1574" y="1037"/>
                    <a:pt x="1555" y="1192"/>
                    <a:pt x="1537" y="1211"/>
                  </a:cubicBezTo>
                  <a:cubicBezTo>
                    <a:pt x="1475" y="1335"/>
                    <a:pt x="1333" y="1367"/>
                    <a:pt x="1204" y="1367"/>
                  </a:cubicBezTo>
                  <a:cubicBezTo>
                    <a:pt x="1158" y="1367"/>
                    <a:pt x="1114" y="1363"/>
                    <a:pt x="1076" y="1357"/>
                  </a:cubicBezTo>
                  <a:cubicBezTo>
                    <a:pt x="741" y="1295"/>
                    <a:pt x="511" y="918"/>
                    <a:pt x="323" y="667"/>
                  </a:cubicBezTo>
                  <a:cubicBezTo>
                    <a:pt x="292" y="618"/>
                    <a:pt x="251" y="598"/>
                    <a:pt x="209" y="598"/>
                  </a:cubicBezTo>
                  <a:cubicBezTo>
                    <a:pt x="107" y="598"/>
                    <a:pt x="0" y="716"/>
                    <a:pt x="30" y="834"/>
                  </a:cubicBezTo>
                  <a:cubicBezTo>
                    <a:pt x="218" y="1253"/>
                    <a:pt x="616" y="1713"/>
                    <a:pt x="1118" y="1776"/>
                  </a:cubicBezTo>
                  <a:cubicBezTo>
                    <a:pt x="1155" y="1779"/>
                    <a:pt x="1191" y="1781"/>
                    <a:pt x="1226" y="1781"/>
                  </a:cubicBezTo>
                  <a:cubicBezTo>
                    <a:pt x="1612" y="1781"/>
                    <a:pt x="1903" y="1572"/>
                    <a:pt x="2018" y="1169"/>
                  </a:cubicBezTo>
                  <a:cubicBezTo>
                    <a:pt x="2122" y="751"/>
                    <a:pt x="1662" y="437"/>
                    <a:pt x="1348" y="248"/>
                  </a:cubicBezTo>
                  <a:cubicBezTo>
                    <a:pt x="1139" y="114"/>
                    <a:pt x="876" y="0"/>
                    <a:pt x="628"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60" name="Google Shape;2560;p61"/>
            <p:cNvSpPr/>
            <p:nvPr/>
          </p:nvSpPr>
          <p:spPr>
            <a:xfrm>
              <a:off x="5556325" y="3005325"/>
              <a:ext cx="36650" cy="34725"/>
            </a:xfrm>
            <a:custGeom>
              <a:avLst/>
              <a:gdLst/>
              <a:ahLst/>
              <a:cxnLst/>
              <a:rect l="l" t="t" r="r" b="b"/>
              <a:pathLst>
                <a:path w="1466" h="1389" extrusionOk="0">
                  <a:moveTo>
                    <a:pt x="673" y="0"/>
                  </a:moveTo>
                  <a:cubicBezTo>
                    <a:pt x="544" y="0"/>
                    <a:pt x="415" y="31"/>
                    <a:pt x="314" y="82"/>
                  </a:cubicBezTo>
                  <a:cubicBezTo>
                    <a:pt x="63" y="207"/>
                    <a:pt x="0" y="584"/>
                    <a:pt x="42" y="835"/>
                  </a:cubicBezTo>
                  <a:cubicBezTo>
                    <a:pt x="21" y="921"/>
                    <a:pt x="82" y="968"/>
                    <a:pt x="150" y="968"/>
                  </a:cubicBezTo>
                  <a:cubicBezTo>
                    <a:pt x="214" y="968"/>
                    <a:pt x="283" y="926"/>
                    <a:pt x="293" y="835"/>
                  </a:cubicBezTo>
                  <a:cubicBezTo>
                    <a:pt x="313" y="661"/>
                    <a:pt x="386" y="433"/>
                    <a:pt x="562" y="433"/>
                  </a:cubicBezTo>
                  <a:cubicBezTo>
                    <a:pt x="577" y="433"/>
                    <a:pt x="592" y="434"/>
                    <a:pt x="607" y="437"/>
                  </a:cubicBezTo>
                  <a:cubicBezTo>
                    <a:pt x="625" y="437"/>
                    <a:pt x="689" y="483"/>
                    <a:pt x="707" y="483"/>
                  </a:cubicBezTo>
                  <a:cubicBezTo>
                    <a:pt x="708" y="483"/>
                    <a:pt x="709" y="483"/>
                    <a:pt x="710" y="483"/>
                  </a:cubicBezTo>
                  <a:lnTo>
                    <a:pt x="710" y="483"/>
                  </a:lnTo>
                  <a:cubicBezTo>
                    <a:pt x="710" y="483"/>
                    <a:pt x="710" y="484"/>
                    <a:pt x="711" y="484"/>
                  </a:cubicBezTo>
                  <a:cubicBezTo>
                    <a:pt x="711" y="484"/>
                    <a:pt x="712" y="482"/>
                    <a:pt x="712" y="479"/>
                  </a:cubicBezTo>
                  <a:lnTo>
                    <a:pt x="712" y="542"/>
                  </a:lnTo>
                  <a:cubicBezTo>
                    <a:pt x="691" y="730"/>
                    <a:pt x="524" y="939"/>
                    <a:pt x="419" y="1128"/>
                  </a:cubicBezTo>
                  <a:cubicBezTo>
                    <a:pt x="369" y="1245"/>
                    <a:pt x="439" y="1388"/>
                    <a:pt x="565" y="1388"/>
                  </a:cubicBezTo>
                  <a:cubicBezTo>
                    <a:pt x="597" y="1388"/>
                    <a:pt x="632" y="1379"/>
                    <a:pt x="670" y="1358"/>
                  </a:cubicBezTo>
                  <a:cubicBezTo>
                    <a:pt x="1026" y="1128"/>
                    <a:pt x="1465" y="521"/>
                    <a:pt x="1047" y="123"/>
                  </a:cubicBezTo>
                  <a:cubicBezTo>
                    <a:pt x="949" y="37"/>
                    <a:pt x="812" y="0"/>
                    <a:pt x="673"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61" name="Google Shape;2561;p61"/>
            <p:cNvSpPr/>
            <p:nvPr/>
          </p:nvSpPr>
          <p:spPr>
            <a:xfrm>
              <a:off x="5529650" y="3027550"/>
              <a:ext cx="31925" cy="24300"/>
            </a:xfrm>
            <a:custGeom>
              <a:avLst/>
              <a:gdLst/>
              <a:ahLst/>
              <a:cxnLst/>
              <a:rect l="l" t="t" r="r" b="b"/>
              <a:pathLst>
                <a:path w="1277" h="972" extrusionOk="0">
                  <a:moveTo>
                    <a:pt x="514" y="0"/>
                  </a:moveTo>
                  <a:cubicBezTo>
                    <a:pt x="435" y="0"/>
                    <a:pt x="360" y="13"/>
                    <a:pt x="293" y="50"/>
                  </a:cubicBezTo>
                  <a:cubicBezTo>
                    <a:pt x="126" y="134"/>
                    <a:pt x="84" y="281"/>
                    <a:pt x="63" y="448"/>
                  </a:cubicBezTo>
                  <a:cubicBezTo>
                    <a:pt x="0" y="908"/>
                    <a:pt x="712" y="971"/>
                    <a:pt x="1026" y="971"/>
                  </a:cubicBezTo>
                  <a:cubicBezTo>
                    <a:pt x="1277" y="971"/>
                    <a:pt x="1277" y="553"/>
                    <a:pt x="1026" y="553"/>
                  </a:cubicBezTo>
                  <a:cubicBezTo>
                    <a:pt x="949" y="553"/>
                    <a:pt x="865" y="557"/>
                    <a:pt x="781" y="557"/>
                  </a:cubicBezTo>
                  <a:cubicBezTo>
                    <a:pt x="646" y="557"/>
                    <a:pt x="508" y="545"/>
                    <a:pt x="395" y="483"/>
                  </a:cubicBezTo>
                  <a:lnTo>
                    <a:pt x="395" y="483"/>
                  </a:lnTo>
                  <a:cubicBezTo>
                    <a:pt x="395" y="429"/>
                    <a:pt x="403" y="368"/>
                    <a:pt x="440" y="343"/>
                  </a:cubicBezTo>
                  <a:cubicBezTo>
                    <a:pt x="544" y="281"/>
                    <a:pt x="712" y="281"/>
                    <a:pt x="837" y="260"/>
                  </a:cubicBezTo>
                  <a:cubicBezTo>
                    <a:pt x="942" y="239"/>
                    <a:pt x="963" y="30"/>
                    <a:pt x="816" y="30"/>
                  </a:cubicBezTo>
                  <a:cubicBezTo>
                    <a:pt x="713" y="18"/>
                    <a:pt x="610" y="0"/>
                    <a:pt x="514"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62" name="Google Shape;2562;p61"/>
            <p:cNvSpPr/>
            <p:nvPr/>
          </p:nvSpPr>
          <p:spPr>
            <a:xfrm>
              <a:off x="5575200" y="3116500"/>
              <a:ext cx="48950" cy="33250"/>
            </a:xfrm>
            <a:custGeom>
              <a:avLst/>
              <a:gdLst/>
              <a:ahLst/>
              <a:cxnLst/>
              <a:rect l="l" t="t" r="r" b="b"/>
              <a:pathLst>
                <a:path w="1958" h="1330" extrusionOk="0">
                  <a:moveTo>
                    <a:pt x="635" y="0"/>
                  </a:moveTo>
                  <a:cubicBezTo>
                    <a:pt x="387" y="0"/>
                    <a:pt x="169" y="92"/>
                    <a:pt x="62" y="322"/>
                  </a:cubicBezTo>
                  <a:cubicBezTo>
                    <a:pt x="1" y="473"/>
                    <a:pt x="116" y="581"/>
                    <a:pt x="224" y="581"/>
                  </a:cubicBezTo>
                  <a:cubicBezTo>
                    <a:pt x="265" y="581"/>
                    <a:pt x="305" y="565"/>
                    <a:pt x="334" y="531"/>
                  </a:cubicBezTo>
                  <a:cubicBezTo>
                    <a:pt x="380" y="469"/>
                    <a:pt x="451" y="447"/>
                    <a:pt x="530" y="447"/>
                  </a:cubicBezTo>
                  <a:cubicBezTo>
                    <a:pt x="665" y="447"/>
                    <a:pt x="819" y="512"/>
                    <a:pt x="898" y="552"/>
                  </a:cubicBezTo>
                  <a:cubicBezTo>
                    <a:pt x="1078" y="623"/>
                    <a:pt x="1257" y="726"/>
                    <a:pt x="1371" y="886"/>
                  </a:cubicBezTo>
                  <a:lnTo>
                    <a:pt x="1371" y="886"/>
                  </a:lnTo>
                  <a:cubicBezTo>
                    <a:pt x="1352" y="975"/>
                    <a:pt x="1303" y="1023"/>
                    <a:pt x="1202" y="1023"/>
                  </a:cubicBezTo>
                  <a:cubicBezTo>
                    <a:pt x="1174" y="1023"/>
                    <a:pt x="1143" y="1019"/>
                    <a:pt x="1108" y="1012"/>
                  </a:cubicBezTo>
                  <a:cubicBezTo>
                    <a:pt x="919" y="991"/>
                    <a:pt x="773" y="886"/>
                    <a:pt x="668" y="740"/>
                  </a:cubicBezTo>
                  <a:cubicBezTo>
                    <a:pt x="644" y="709"/>
                    <a:pt x="616" y="697"/>
                    <a:pt x="589" y="697"/>
                  </a:cubicBezTo>
                  <a:cubicBezTo>
                    <a:pt x="525" y="697"/>
                    <a:pt x="471" y="771"/>
                    <a:pt x="501" y="845"/>
                  </a:cubicBezTo>
                  <a:cubicBezTo>
                    <a:pt x="626" y="1117"/>
                    <a:pt x="919" y="1305"/>
                    <a:pt x="1233" y="1326"/>
                  </a:cubicBezTo>
                  <a:cubicBezTo>
                    <a:pt x="1253" y="1329"/>
                    <a:pt x="1274" y="1330"/>
                    <a:pt x="1295" y="1330"/>
                  </a:cubicBezTo>
                  <a:cubicBezTo>
                    <a:pt x="1598" y="1330"/>
                    <a:pt x="1958" y="1051"/>
                    <a:pt x="1840" y="698"/>
                  </a:cubicBezTo>
                  <a:cubicBezTo>
                    <a:pt x="1702" y="340"/>
                    <a:pt x="1112" y="0"/>
                    <a:pt x="635"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63" name="Google Shape;2563;p61"/>
            <p:cNvSpPr/>
            <p:nvPr/>
          </p:nvSpPr>
          <p:spPr>
            <a:xfrm>
              <a:off x="5553700" y="3114950"/>
              <a:ext cx="37800" cy="37950"/>
            </a:xfrm>
            <a:custGeom>
              <a:avLst/>
              <a:gdLst/>
              <a:ahLst/>
              <a:cxnLst/>
              <a:rect l="l" t="t" r="r" b="b"/>
              <a:pathLst>
                <a:path w="1512" h="1518" extrusionOk="0">
                  <a:moveTo>
                    <a:pt x="441" y="1"/>
                  </a:moveTo>
                  <a:cubicBezTo>
                    <a:pt x="346" y="1"/>
                    <a:pt x="253" y="23"/>
                    <a:pt x="168" y="70"/>
                  </a:cubicBezTo>
                  <a:cubicBezTo>
                    <a:pt x="64" y="112"/>
                    <a:pt x="1" y="216"/>
                    <a:pt x="1" y="321"/>
                  </a:cubicBezTo>
                  <a:cubicBezTo>
                    <a:pt x="43" y="844"/>
                    <a:pt x="587" y="1220"/>
                    <a:pt x="942" y="1472"/>
                  </a:cubicBezTo>
                  <a:cubicBezTo>
                    <a:pt x="983" y="1504"/>
                    <a:pt x="1022" y="1517"/>
                    <a:pt x="1058" y="1517"/>
                  </a:cubicBezTo>
                  <a:cubicBezTo>
                    <a:pt x="1212" y="1517"/>
                    <a:pt x="1312" y="1276"/>
                    <a:pt x="1194" y="1158"/>
                  </a:cubicBezTo>
                  <a:cubicBezTo>
                    <a:pt x="1047" y="990"/>
                    <a:pt x="922" y="907"/>
                    <a:pt x="796" y="760"/>
                  </a:cubicBezTo>
                  <a:cubicBezTo>
                    <a:pt x="731" y="696"/>
                    <a:pt x="656" y="620"/>
                    <a:pt x="595" y="536"/>
                  </a:cubicBezTo>
                  <a:lnTo>
                    <a:pt x="595" y="536"/>
                  </a:lnTo>
                  <a:cubicBezTo>
                    <a:pt x="775" y="599"/>
                    <a:pt x="954" y="740"/>
                    <a:pt x="1128" y="740"/>
                  </a:cubicBezTo>
                  <a:cubicBezTo>
                    <a:pt x="1207" y="740"/>
                    <a:pt x="1284" y="711"/>
                    <a:pt x="1361" y="635"/>
                  </a:cubicBezTo>
                  <a:cubicBezTo>
                    <a:pt x="1512" y="484"/>
                    <a:pt x="1394" y="306"/>
                    <a:pt x="1244" y="306"/>
                  </a:cubicBezTo>
                  <a:cubicBezTo>
                    <a:pt x="1213" y="306"/>
                    <a:pt x="1181" y="313"/>
                    <a:pt x="1150" y="330"/>
                  </a:cubicBezTo>
                  <a:lnTo>
                    <a:pt x="1150" y="330"/>
                  </a:lnTo>
                  <a:cubicBezTo>
                    <a:pt x="1157" y="313"/>
                    <a:pt x="1078" y="296"/>
                    <a:pt x="1026" y="279"/>
                  </a:cubicBezTo>
                  <a:cubicBezTo>
                    <a:pt x="942" y="216"/>
                    <a:pt x="838" y="132"/>
                    <a:pt x="775" y="91"/>
                  </a:cubicBezTo>
                  <a:cubicBezTo>
                    <a:pt x="672" y="33"/>
                    <a:pt x="555" y="1"/>
                    <a:pt x="441"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64" name="Google Shape;2564;p61"/>
            <p:cNvSpPr/>
            <p:nvPr/>
          </p:nvSpPr>
          <p:spPr>
            <a:xfrm>
              <a:off x="5533450" y="3193350"/>
              <a:ext cx="51150" cy="31500"/>
            </a:xfrm>
            <a:custGeom>
              <a:avLst/>
              <a:gdLst/>
              <a:ahLst/>
              <a:cxnLst/>
              <a:rect l="l" t="t" r="r" b="b"/>
              <a:pathLst>
                <a:path w="2046" h="1260" extrusionOk="0">
                  <a:moveTo>
                    <a:pt x="1397" y="686"/>
                  </a:moveTo>
                  <a:cubicBezTo>
                    <a:pt x="1401" y="686"/>
                    <a:pt x="1402" y="690"/>
                    <a:pt x="1397" y="700"/>
                  </a:cubicBezTo>
                  <a:cubicBezTo>
                    <a:pt x="1388" y="701"/>
                    <a:pt x="1378" y="703"/>
                    <a:pt x="1369" y="704"/>
                  </a:cubicBezTo>
                  <a:lnTo>
                    <a:pt x="1369" y="704"/>
                  </a:lnTo>
                  <a:cubicBezTo>
                    <a:pt x="1380" y="693"/>
                    <a:pt x="1391" y="686"/>
                    <a:pt x="1397" y="686"/>
                  </a:cubicBezTo>
                  <a:close/>
                  <a:moveTo>
                    <a:pt x="961" y="456"/>
                  </a:moveTo>
                  <a:cubicBezTo>
                    <a:pt x="1101" y="456"/>
                    <a:pt x="1231" y="483"/>
                    <a:pt x="1271" y="553"/>
                  </a:cubicBezTo>
                  <a:cubicBezTo>
                    <a:pt x="1285" y="609"/>
                    <a:pt x="1308" y="664"/>
                    <a:pt x="1322" y="707"/>
                  </a:cubicBezTo>
                  <a:lnTo>
                    <a:pt x="1322" y="707"/>
                  </a:lnTo>
                  <a:cubicBezTo>
                    <a:pt x="1311" y="708"/>
                    <a:pt x="1300" y="708"/>
                    <a:pt x="1288" y="708"/>
                  </a:cubicBezTo>
                  <a:cubicBezTo>
                    <a:pt x="1184" y="708"/>
                    <a:pt x="1070" y="689"/>
                    <a:pt x="978" y="658"/>
                  </a:cubicBezTo>
                  <a:cubicBezTo>
                    <a:pt x="835" y="629"/>
                    <a:pt x="682" y="611"/>
                    <a:pt x="539" y="554"/>
                  </a:cubicBezTo>
                  <a:lnTo>
                    <a:pt x="539" y="554"/>
                  </a:lnTo>
                  <a:cubicBezTo>
                    <a:pt x="553" y="549"/>
                    <a:pt x="567" y="542"/>
                    <a:pt x="581" y="533"/>
                  </a:cubicBezTo>
                  <a:cubicBezTo>
                    <a:pt x="646" y="489"/>
                    <a:pt x="809" y="456"/>
                    <a:pt x="961" y="456"/>
                  </a:cubicBezTo>
                  <a:close/>
                  <a:moveTo>
                    <a:pt x="1079" y="0"/>
                  </a:moveTo>
                  <a:cubicBezTo>
                    <a:pt x="794" y="0"/>
                    <a:pt x="491" y="90"/>
                    <a:pt x="330" y="240"/>
                  </a:cubicBezTo>
                  <a:cubicBezTo>
                    <a:pt x="270" y="299"/>
                    <a:pt x="255" y="362"/>
                    <a:pt x="267" y="417"/>
                  </a:cubicBezTo>
                  <a:lnTo>
                    <a:pt x="267" y="417"/>
                  </a:lnTo>
                  <a:cubicBezTo>
                    <a:pt x="262" y="417"/>
                    <a:pt x="256" y="417"/>
                    <a:pt x="251" y="417"/>
                  </a:cubicBezTo>
                  <a:cubicBezTo>
                    <a:pt x="106" y="417"/>
                    <a:pt x="0" y="621"/>
                    <a:pt x="120" y="742"/>
                  </a:cubicBezTo>
                  <a:cubicBezTo>
                    <a:pt x="341" y="1022"/>
                    <a:pt x="832" y="1260"/>
                    <a:pt x="1256" y="1260"/>
                  </a:cubicBezTo>
                  <a:cubicBezTo>
                    <a:pt x="1434" y="1260"/>
                    <a:pt x="1601" y="1218"/>
                    <a:pt x="1732" y="1118"/>
                  </a:cubicBezTo>
                  <a:cubicBezTo>
                    <a:pt x="2045" y="867"/>
                    <a:pt x="1815" y="323"/>
                    <a:pt x="1585" y="135"/>
                  </a:cubicBezTo>
                  <a:cubicBezTo>
                    <a:pt x="1458" y="42"/>
                    <a:pt x="1273" y="0"/>
                    <a:pt x="1079"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65" name="Google Shape;2565;p61"/>
            <p:cNvSpPr/>
            <p:nvPr/>
          </p:nvSpPr>
          <p:spPr>
            <a:xfrm>
              <a:off x="5502450" y="3171675"/>
              <a:ext cx="51275" cy="37650"/>
            </a:xfrm>
            <a:custGeom>
              <a:avLst/>
              <a:gdLst/>
              <a:ahLst/>
              <a:cxnLst/>
              <a:rect l="l" t="t" r="r" b="b"/>
              <a:pathLst>
                <a:path w="2051" h="1506" extrusionOk="0">
                  <a:moveTo>
                    <a:pt x="668" y="447"/>
                  </a:moveTo>
                  <a:cubicBezTo>
                    <a:pt x="880" y="447"/>
                    <a:pt x="1119" y="718"/>
                    <a:pt x="1285" y="886"/>
                  </a:cubicBezTo>
                  <a:lnTo>
                    <a:pt x="1285" y="886"/>
                  </a:lnTo>
                  <a:cubicBezTo>
                    <a:pt x="1186" y="854"/>
                    <a:pt x="1090" y="814"/>
                    <a:pt x="1005" y="772"/>
                  </a:cubicBezTo>
                  <a:cubicBezTo>
                    <a:pt x="885" y="738"/>
                    <a:pt x="653" y="619"/>
                    <a:pt x="561" y="474"/>
                  </a:cubicBezTo>
                  <a:lnTo>
                    <a:pt x="561" y="474"/>
                  </a:lnTo>
                  <a:cubicBezTo>
                    <a:pt x="595" y="456"/>
                    <a:pt x="631" y="447"/>
                    <a:pt x="668" y="447"/>
                  </a:cubicBezTo>
                  <a:close/>
                  <a:moveTo>
                    <a:pt x="662" y="1"/>
                  </a:moveTo>
                  <a:cubicBezTo>
                    <a:pt x="389" y="1"/>
                    <a:pt x="88" y="142"/>
                    <a:pt x="42" y="416"/>
                  </a:cubicBezTo>
                  <a:cubicBezTo>
                    <a:pt x="0" y="751"/>
                    <a:pt x="356" y="1002"/>
                    <a:pt x="586" y="1169"/>
                  </a:cubicBezTo>
                  <a:cubicBezTo>
                    <a:pt x="882" y="1347"/>
                    <a:pt x="1253" y="1506"/>
                    <a:pt x="1610" y="1506"/>
                  </a:cubicBezTo>
                  <a:cubicBezTo>
                    <a:pt x="1631" y="1506"/>
                    <a:pt x="1653" y="1505"/>
                    <a:pt x="1674" y="1504"/>
                  </a:cubicBezTo>
                  <a:cubicBezTo>
                    <a:pt x="1988" y="1504"/>
                    <a:pt x="2051" y="1044"/>
                    <a:pt x="1716" y="981"/>
                  </a:cubicBezTo>
                  <a:cubicBezTo>
                    <a:pt x="1688" y="979"/>
                    <a:pt x="1660" y="975"/>
                    <a:pt x="1631" y="971"/>
                  </a:cubicBezTo>
                  <a:lnTo>
                    <a:pt x="1631" y="971"/>
                  </a:lnTo>
                  <a:cubicBezTo>
                    <a:pt x="1692" y="901"/>
                    <a:pt x="1712" y="788"/>
                    <a:pt x="1632" y="688"/>
                  </a:cubicBezTo>
                  <a:cubicBezTo>
                    <a:pt x="1423" y="458"/>
                    <a:pt x="1214" y="228"/>
                    <a:pt x="942" y="60"/>
                  </a:cubicBezTo>
                  <a:cubicBezTo>
                    <a:pt x="862" y="21"/>
                    <a:pt x="764" y="1"/>
                    <a:pt x="662"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grpSp>
      <p:grpSp>
        <p:nvGrpSpPr>
          <p:cNvPr id="2566" name="Google Shape;2566;p61"/>
          <p:cNvGrpSpPr/>
          <p:nvPr/>
        </p:nvGrpSpPr>
        <p:grpSpPr>
          <a:xfrm rot="2959149">
            <a:off x="4809916" y="1824096"/>
            <a:ext cx="506801" cy="346053"/>
            <a:chOff x="3395374" y="1873351"/>
            <a:chExt cx="380127" cy="259558"/>
          </a:xfrm>
        </p:grpSpPr>
        <p:grpSp>
          <p:nvGrpSpPr>
            <p:cNvPr id="2567" name="Google Shape;2567;p61"/>
            <p:cNvGrpSpPr/>
            <p:nvPr/>
          </p:nvGrpSpPr>
          <p:grpSpPr>
            <a:xfrm>
              <a:off x="3395374" y="1873351"/>
              <a:ext cx="252719" cy="187484"/>
              <a:chOff x="2406574" y="1419776"/>
              <a:chExt cx="252719" cy="187484"/>
            </a:xfrm>
          </p:grpSpPr>
          <p:sp>
            <p:nvSpPr>
              <p:cNvPr id="2568" name="Google Shape;2568;p61"/>
              <p:cNvSpPr/>
              <p:nvPr/>
            </p:nvSpPr>
            <p:spPr>
              <a:xfrm rot="-1543354">
                <a:off x="2435355" y="1428178"/>
                <a:ext cx="72795" cy="149248"/>
              </a:xfrm>
              <a:custGeom>
                <a:avLst/>
                <a:gdLst/>
                <a:ahLst/>
                <a:cxnLst/>
                <a:rect l="l" t="t" r="r" b="b"/>
                <a:pathLst>
                  <a:path w="2526" h="5970" extrusionOk="0">
                    <a:moveTo>
                      <a:pt x="1338" y="0"/>
                    </a:moveTo>
                    <a:cubicBezTo>
                      <a:pt x="954" y="0"/>
                      <a:pt x="583" y="214"/>
                      <a:pt x="464" y="709"/>
                    </a:cubicBezTo>
                    <a:cubicBezTo>
                      <a:pt x="106" y="2128"/>
                      <a:pt x="1" y="3576"/>
                      <a:pt x="150" y="5040"/>
                    </a:cubicBezTo>
                    <a:cubicBezTo>
                      <a:pt x="218" y="5656"/>
                      <a:pt x="747" y="5970"/>
                      <a:pt x="1238" y="5970"/>
                    </a:cubicBezTo>
                    <a:cubicBezTo>
                      <a:pt x="1724" y="5970"/>
                      <a:pt x="2174" y="5664"/>
                      <a:pt x="2107" y="5040"/>
                    </a:cubicBezTo>
                    <a:cubicBezTo>
                      <a:pt x="1972" y="3756"/>
                      <a:pt x="2047" y="2486"/>
                      <a:pt x="2346" y="1231"/>
                    </a:cubicBezTo>
                    <a:cubicBezTo>
                      <a:pt x="2525" y="486"/>
                      <a:pt x="1917" y="0"/>
                      <a:pt x="1338"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69" name="Google Shape;2569;p61"/>
              <p:cNvSpPr/>
              <p:nvPr/>
            </p:nvSpPr>
            <p:spPr>
              <a:xfrm rot="1639413">
                <a:off x="2560973" y="1443350"/>
                <a:ext cx="65823" cy="157595"/>
              </a:xfrm>
              <a:custGeom>
                <a:avLst/>
                <a:gdLst/>
                <a:ahLst/>
                <a:cxnLst/>
                <a:rect l="l" t="t" r="r" b="b"/>
                <a:pathLst>
                  <a:path w="2633" h="6304" extrusionOk="0">
                    <a:moveTo>
                      <a:pt x="1092" y="0"/>
                    </a:moveTo>
                    <a:cubicBezTo>
                      <a:pt x="601" y="0"/>
                      <a:pt x="97" y="314"/>
                      <a:pt x="75" y="941"/>
                    </a:cubicBezTo>
                    <a:cubicBezTo>
                      <a:pt x="0" y="2510"/>
                      <a:pt x="164" y="4078"/>
                      <a:pt x="553" y="5616"/>
                    </a:cubicBezTo>
                    <a:cubicBezTo>
                      <a:pt x="677" y="6096"/>
                      <a:pt x="1051" y="6303"/>
                      <a:pt x="1435" y="6303"/>
                    </a:cubicBezTo>
                    <a:cubicBezTo>
                      <a:pt x="2021" y="6303"/>
                      <a:pt x="2633" y="5823"/>
                      <a:pt x="2435" y="5093"/>
                    </a:cubicBezTo>
                    <a:cubicBezTo>
                      <a:pt x="2106" y="3719"/>
                      <a:pt x="1972" y="2360"/>
                      <a:pt x="2031" y="941"/>
                    </a:cubicBezTo>
                    <a:cubicBezTo>
                      <a:pt x="2061" y="314"/>
                      <a:pt x="1583" y="0"/>
                      <a:pt x="1092"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grpSp>
        <p:sp>
          <p:nvSpPr>
            <p:cNvPr id="2570" name="Google Shape;2570;p61"/>
            <p:cNvSpPr/>
            <p:nvPr/>
          </p:nvSpPr>
          <p:spPr>
            <a:xfrm rot="4047039">
              <a:off x="3648745" y="1980124"/>
              <a:ext cx="64579" cy="177760"/>
            </a:xfrm>
            <a:custGeom>
              <a:avLst/>
              <a:gdLst/>
              <a:ahLst/>
              <a:cxnLst/>
              <a:rect l="l" t="t" r="r" b="b"/>
              <a:pathLst>
                <a:path w="2583" h="7110" extrusionOk="0">
                  <a:moveTo>
                    <a:pt x="1037" y="0"/>
                  </a:moveTo>
                  <a:cubicBezTo>
                    <a:pt x="546" y="0"/>
                    <a:pt x="45" y="310"/>
                    <a:pt x="30" y="930"/>
                  </a:cubicBezTo>
                  <a:cubicBezTo>
                    <a:pt x="1" y="2782"/>
                    <a:pt x="165" y="4589"/>
                    <a:pt x="538" y="6411"/>
                  </a:cubicBezTo>
                  <a:cubicBezTo>
                    <a:pt x="639" y="6899"/>
                    <a:pt x="1000" y="7109"/>
                    <a:pt x="1381" y="7109"/>
                  </a:cubicBezTo>
                  <a:cubicBezTo>
                    <a:pt x="1958" y="7109"/>
                    <a:pt x="2582" y="6626"/>
                    <a:pt x="2420" y="5889"/>
                  </a:cubicBezTo>
                  <a:cubicBezTo>
                    <a:pt x="2092" y="4231"/>
                    <a:pt x="1942" y="2603"/>
                    <a:pt x="1987" y="930"/>
                  </a:cubicBezTo>
                  <a:cubicBezTo>
                    <a:pt x="2009" y="310"/>
                    <a:pt x="1528" y="0"/>
                    <a:pt x="1037"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grpSp>
      <p:grpSp>
        <p:nvGrpSpPr>
          <p:cNvPr id="2571" name="Google Shape;2571;p61"/>
          <p:cNvGrpSpPr/>
          <p:nvPr/>
        </p:nvGrpSpPr>
        <p:grpSpPr>
          <a:xfrm rot="2961312">
            <a:off x="2690001" y="2591359"/>
            <a:ext cx="447156" cy="331059"/>
            <a:chOff x="1693687" y="1182083"/>
            <a:chExt cx="335351" cy="248281"/>
          </a:xfrm>
        </p:grpSpPr>
        <p:sp>
          <p:nvSpPr>
            <p:cNvPr id="2572" name="Google Shape;2572;p61"/>
            <p:cNvSpPr/>
            <p:nvPr/>
          </p:nvSpPr>
          <p:spPr>
            <a:xfrm rot="-3738138">
              <a:off x="1739675" y="1306648"/>
              <a:ext cx="53799" cy="136398"/>
            </a:xfrm>
            <a:custGeom>
              <a:avLst/>
              <a:gdLst/>
              <a:ahLst/>
              <a:cxnLst/>
              <a:rect l="l" t="t" r="r" b="b"/>
              <a:pathLst>
                <a:path w="2152" h="5456" extrusionOk="0">
                  <a:moveTo>
                    <a:pt x="1203" y="0"/>
                  </a:moveTo>
                  <a:cubicBezTo>
                    <a:pt x="714" y="0"/>
                    <a:pt x="195" y="314"/>
                    <a:pt x="135" y="941"/>
                  </a:cubicBezTo>
                  <a:cubicBezTo>
                    <a:pt x="45" y="2136"/>
                    <a:pt x="1" y="3331"/>
                    <a:pt x="75" y="4526"/>
                  </a:cubicBezTo>
                  <a:cubicBezTo>
                    <a:pt x="105" y="5146"/>
                    <a:pt x="609" y="5456"/>
                    <a:pt x="1098" y="5456"/>
                  </a:cubicBezTo>
                  <a:cubicBezTo>
                    <a:pt x="1588" y="5456"/>
                    <a:pt x="2062" y="5146"/>
                    <a:pt x="2032" y="4526"/>
                  </a:cubicBezTo>
                  <a:cubicBezTo>
                    <a:pt x="1972" y="3331"/>
                    <a:pt x="1987" y="2136"/>
                    <a:pt x="2092" y="941"/>
                  </a:cubicBezTo>
                  <a:cubicBezTo>
                    <a:pt x="2151" y="314"/>
                    <a:pt x="1692" y="0"/>
                    <a:pt x="1203"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73" name="Google Shape;2573;p61"/>
            <p:cNvSpPr/>
            <p:nvPr/>
          </p:nvSpPr>
          <p:spPr>
            <a:xfrm rot="-1115446">
              <a:off x="1814273" y="1187664"/>
              <a:ext cx="61499" cy="161822"/>
            </a:xfrm>
            <a:custGeom>
              <a:avLst/>
              <a:gdLst/>
              <a:ahLst/>
              <a:cxnLst/>
              <a:rect l="l" t="t" r="r" b="b"/>
              <a:pathLst>
                <a:path w="2460" h="6473" extrusionOk="0">
                  <a:moveTo>
                    <a:pt x="1262" y="0"/>
                  </a:moveTo>
                  <a:cubicBezTo>
                    <a:pt x="884" y="0"/>
                    <a:pt x="529" y="211"/>
                    <a:pt x="434" y="698"/>
                  </a:cubicBezTo>
                  <a:cubicBezTo>
                    <a:pt x="120" y="2311"/>
                    <a:pt x="1" y="3909"/>
                    <a:pt x="165" y="5537"/>
                  </a:cubicBezTo>
                  <a:cubicBezTo>
                    <a:pt x="225" y="6159"/>
                    <a:pt x="747" y="6473"/>
                    <a:pt x="1239" y="6473"/>
                  </a:cubicBezTo>
                  <a:cubicBezTo>
                    <a:pt x="1729" y="6473"/>
                    <a:pt x="2189" y="6163"/>
                    <a:pt x="2136" y="5537"/>
                  </a:cubicBezTo>
                  <a:cubicBezTo>
                    <a:pt x="1987" y="4089"/>
                    <a:pt x="2032" y="2670"/>
                    <a:pt x="2316" y="1221"/>
                  </a:cubicBezTo>
                  <a:cubicBezTo>
                    <a:pt x="2460" y="483"/>
                    <a:pt x="1834" y="0"/>
                    <a:pt x="1262"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sp>
          <p:nvSpPr>
            <p:cNvPr id="2574" name="Google Shape;2574;p61"/>
            <p:cNvSpPr/>
            <p:nvPr/>
          </p:nvSpPr>
          <p:spPr>
            <a:xfrm rot="1169263">
              <a:off x="1954028" y="1213600"/>
              <a:ext cx="53799" cy="136398"/>
            </a:xfrm>
            <a:custGeom>
              <a:avLst/>
              <a:gdLst/>
              <a:ahLst/>
              <a:cxnLst/>
              <a:rect l="l" t="t" r="r" b="b"/>
              <a:pathLst>
                <a:path w="2152" h="5456" extrusionOk="0">
                  <a:moveTo>
                    <a:pt x="1197" y="0"/>
                  </a:moveTo>
                  <a:cubicBezTo>
                    <a:pt x="706" y="0"/>
                    <a:pt x="187" y="314"/>
                    <a:pt x="135" y="941"/>
                  </a:cubicBezTo>
                  <a:cubicBezTo>
                    <a:pt x="16" y="2136"/>
                    <a:pt x="1" y="3331"/>
                    <a:pt x="75" y="4526"/>
                  </a:cubicBezTo>
                  <a:cubicBezTo>
                    <a:pt x="113" y="5145"/>
                    <a:pt x="617" y="5455"/>
                    <a:pt x="1104" y="5455"/>
                  </a:cubicBezTo>
                  <a:cubicBezTo>
                    <a:pt x="1591" y="5455"/>
                    <a:pt x="2062" y="5145"/>
                    <a:pt x="2032" y="4526"/>
                  </a:cubicBezTo>
                  <a:cubicBezTo>
                    <a:pt x="1957" y="3331"/>
                    <a:pt x="1987" y="2136"/>
                    <a:pt x="2092" y="941"/>
                  </a:cubicBezTo>
                  <a:cubicBezTo>
                    <a:pt x="2151" y="314"/>
                    <a:pt x="1688" y="0"/>
                    <a:pt x="1197"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grpSp>
      <p:sp>
        <p:nvSpPr>
          <p:cNvPr id="2575" name="Google Shape;2575;p61"/>
          <p:cNvSpPr/>
          <p:nvPr/>
        </p:nvSpPr>
        <p:spPr>
          <a:xfrm>
            <a:off x="374967" y="5670501"/>
            <a:ext cx="2382437" cy="209233"/>
          </a:xfrm>
          <a:custGeom>
            <a:avLst/>
            <a:gdLst/>
            <a:ahLst/>
            <a:cxnLst/>
            <a:rect l="l" t="t" r="r" b="b"/>
            <a:pathLst>
              <a:path w="54282" h="6277" extrusionOk="0">
                <a:moveTo>
                  <a:pt x="50310" y="0"/>
                </a:moveTo>
                <a:cubicBezTo>
                  <a:pt x="50001" y="0"/>
                  <a:pt x="49686" y="52"/>
                  <a:pt x="49378" y="148"/>
                </a:cubicBezTo>
                <a:cubicBezTo>
                  <a:pt x="47561" y="726"/>
                  <a:pt x="46015" y="3603"/>
                  <a:pt x="44099" y="3603"/>
                </a:cubicBezTo>
                <a:cubicBezTo>
                  <a:pt x="43638" y="3603"/>
                  <a:pt x="43155" y="3436"/>
                  <a:pt x="42642" y="3030"/>
                </a:cubicBezTo>
                <a:cubicBezTo>
                  <a:pt x="41776" y="2358"/>
                  <a:pt x="41238" y="1507"/>
                  <a:pt x="40133" y="1163"/>
                </a:cubicBezTo>
                <a:cubicBezTo>
                  <a:pt x="39697" y="1025"/>
                  <a:pt x="39239" y="958"/>
                  <a:pt x="38781" y="958"/>
                </a:cubicBezTo>
                <a:cubicBezTo>
                  <a:pt x="38298" y="958"/>
                  <a:pt x="37815" y="1033"/>
                  <a:pt x="37355" y="1178"/>
                </a:cubicBezTo>
                <a:cubicBezTo>
                  <a:pt x="36504" y="1462"/>
                  <a:pt x="35727" y="1985"/>
                  <a:pt x="35204" y="2717"/>
                </a:cubicBezTo>
                <a:cubicBezTo>
                  <a:pt x="34576" y="3604"/>
                  <a:pt x="34090" y="5193"/>
                  <a:pt x="32932" y="5193"/>
                </a:cubicBezTo>
                <a:cubicBezTo>
                  <a:pt x="32687" y="5193"/>
                  <a:pt x="32411" y="5122"/>
                  <a:pt x="32098" y="4957"/>
                </a:cubicBezTo>
                <a:cubicBezTo>
                  <a:pt x="31052" y="4404"/>
                  <a:pt x="31172" y="2956"/>
                  <a:pt x="30529" y="2089"/>
                </a:cubicBezTo>
                <a:cubicBezTo>
                  <a:pt x="29921" y="1301"/>
                  <a:pt x="28901" y="948"/>
                  <a:pt x="27923" y="948"/>
                </a:cubicBezTo>
                <a:cubicBezTo>
                  <a:pt x="27846" y="948"/>
                  <a:pt x="27768" y="950"/>
                  <a:pt x="27692" y="954"/>
                </a:cubicBezTo>
                <a:cubicBezTo>
                  <a:pt x="26586" y="1014"/>
                  <a:pt x="25496" y="1417"/>
                  <a:pt x="24630" y="2089"/>
                </a:cubicBezTo>
                <a:cubicBezTo>
                  <a:pt x="24227" y="2388"/>
                  <a:pt x="23883" y="2732"/>
                  <a:pt x="23554" y="3135"/>
                </a:cubicBezTo>
                <a:cubicBezTo>
                  <a:pt x="23106" y="3703"/>
                  <a:pt x="22838" y="4404"/>
                  <a:pt x="22180" y="4778"/>
                </a:cubicBezTo>
                <a:cubicBezTo>
                  <a:pt x="21648" y="5098"/>
                  <a:pt x="21029" y="5235"/>
                  <a:pt x="20404" y="5235"/>
                </a:cubicBezTo>
                <a:cubicBezTo>
                  <a:pt x="19660" y="5235"/>
                  <a:pt x="18907" y="5041"/>
                  <a:pt x="18282" y="4733"/>
                </a:cubicBezTo>
                <a:cubicBezTo>
                  <a:pt x="17730" y="4449"/>
                  <a:pt x="17237" y="4061"/>
                  <a:pt x="16833" y="3583"/>
                </a:cubicBezTo>
                <a:cubicBezTo>
                  <a:pt x="16430" y="3090"/>
                  <a:pt x="16236" y="2388"/>
                  <a:pt x="15683" y="2000"/>
                </a:cubicBezTo>
                <a:cubicBezTo>
                  <a:pt x="15378" y="1789"/>
                  <a:pt x="15007" y="1718"/>
                  <a:pt x="14621" y="1718"/>
                </a:cubicBezTo>
                <a:cubicBezTo>
                  <a:pt x="14158" y="1718"/>
                  <a:pt x="13672" y="1821"/>
                  <a:pt x="13249" y="1910"/>
                </a:cubicBezTo>
                <a:cubicBezTo>
                  <a:pt x="12233" y="2134"/>
                  <a:pt x="11352" y="2612"/>
                  <a:pt x="10919" y="3613"/>
                </a:cubicBezTo>
                <a:cubicBezTo>
                  <a:pt x="10605" y="4390"/>
                  <a:pt x="10411" y="5226"/>
                  <a:pt x="9380" y="5271"/>
                </a:cubicBezTo>
                <a:cubicBezTo>
                  <a:pt x="9364" y="5271"/>
                  <a:pt x="9348" y="5272"/>
                  <a:pt x="9332" y="5272"/>
                </a:cubicBezTo>
                <a:cubicBezTo>
                  <a:pt x="8453" y="5272"/>
                  <a:pt x="8013" y="4483"/>
                  <a:pt x="7573" y="3852"/>
                </a:cubicBezTo>
                <a:cubicBezTo>
                  <a:pt x="7021" y="3030"/>
                  <a:pt x="6423" y="2358"/>
                  <a:pt x="5452" y="2000"/>
                </a:cubicBezTo>
                <a:cubicBezTo>
                  <a:pt x="4975" y="1828"/>
                  <a:pt x="4473" y="1745"/>
                  <a:pt x="3972" y="1745"/>
                </a:cubicBezTo>
                <a:cubicBezTo>
                  <a:pt x="2467" y="1745"/>
                  <a:pt x="976" y="2496"/>
                  <a:pt x="225" y="3852"/>
                </a:cubicBezTo>
                <a:cubicBezTo>
                  <a:pt x="0" y="4250"/>
                  <a:pt x="340" y="4606"/>
                  <a:pt x="679" y="4606"/>
                </a:cubicBezTo>
                <a:cubicBezTo>
                  <a:pt x="835" y="4606"/>
                  <a:pt x="992" y="4529"/>
                  <a:pt x="1091" y="4345"/>
                </a:cubicBezTo>
                <a:cubicBezTo>
                  <a:pt x="1689" y="3288"/>
                  <a:pt x="2784" y="2761"/>
                  <a:pt x="3881" y="2761"/>
                </a:cubicBezTo>
                <a:cubicBezTo>
                  <a:pt x="4892" y="2761"/>
                  <a:pt x="5904" y="3210"/>
                  <a:pt x="6528" y="4106"/>
                </a:cubicBezTo>
                <a:cubicBezTo>
                  <a:pt x="7050" y="4853"/>
                  <a:pt x="7484" y="5734"/>
                  <a:pt x="8380" y="6107"/>
                </a:cubicBezTo>
                <a:cubicBezTo>
                  <a:pt x="8669" y="6222"/>
                  <a:pt x="8975" y="6277"/>
                  <a:pt x="9279" y="6277"/>
                </a:cubicBezTo>
                <a:cubicBezTo>
                  <a:pt x="9808" y="6277"/>
                  <a:pt x="10334" y="6112"/>
                  <a:pt x="10769" y="5808"/>
                </a:cubicBezTo>
                <a:cubicBezTo>
                  <a:pt x="11695" y="5136"/>
                  <a:pt x="11576" y="3732"/>
                  <a:pt x="12562" y="3195"/>
                </a:cubicBezTo>
                <a:cubicBezTo>
                  <a:pt x="13010" y="2956"/>
                  <a:pt x="13562" y="2851"/>
                  <a:pt x="14070" y="2776"/>
                </a:cubicBezTo>
                <a:cubicBezTo>
                  <a:pt x="14249" y="2754"/>
                  <a:pt x="14447" y="2717"/>
                  <a:pt x="14638" y="2717"/>
                </a:cubicBezTo>
                <a:cubicBezTo>
                  <a:pt x="14828" y="2717"/>
                  <a:pt x="15011" y="2754"/>
                  <a:pt x="15161" y="2881"/>
                </a:cubicBezTo>
                <a:cubicBezTo>
                  <a:pt x="15429" y="3105"/>
                  <a:pt x="15624" y="3658"/>
                  <a:pt x="15848" y="3956"/>
                </a:cubicBezTo>
                <a:cubicBezTo>
                  <a:pt x="16878" y="5383"/>
                  <a:pt x="18598" y="6226"/>
                  <a:pt x="20325" y="6226"/>
                </a:cubicBezTo>
                <a:cubicBezTo>
                  <a:pt x="20550" y="6226"/>
                  <a:pt x="20776" y="6211"/>
                  <a:pt x="21000" y="6182"/>
                </a:cubicBezTo>
                <a:cubicBezTo>
                  <a:pt x="21912" y="6062"/>
                  <a:pt x="22838" y="5689"/>
                  <a:pt x="23450" y="4987"/>
                </a:cubicBezTo>
                <a:cubicBezTo>
                  <a:pt x="23838" y="4524"/>
                  <a:pt x="24107" y="3956"/>
                  <a:pt x="24510" y="3508"/>
                </a:cubicBezTo>
                <a:cubicBezTo>
                  <a:pt x="25078" y="2896"/>
                  <a:pt x="25795" y="2433"/>
                  <a:pt x="26586" y="2164"/>
                </a:cubicBezTo>
                <a:cubicBezTo>
                  <a:pt x="26987" y="2035"/>
                  <a:pt x="27405" y="1962"/>
                  <a:pt x="27810" y="1962"/>
                </a:cubicBezTo>
                <a:cubicBezTo>
                  <a:pt x="28766" y="1962"/>
                  <a:pt x="29644" y="2370"/>
                  <a:pt x="30022" y="3419"/>
                </a:cubicBezTo>
                <a:cubicBezTo>
                  <a:pt x="30380" y="4390"/>
                  <a:pt x="30574" y="5301"/>
                  <a:pt x="31545" y="5823"/>
                </a:cubicBezTo>
                <a:cubicBezTo>
                  <a:pt x="31960" y="6040"/>
                  <a:pt x="32431" y="6151"/>
                  <a:pt x="32898" y="6151"/>
                </a:cubicBezTo>
                <a:cubicBezTo>
                  <a:pt x="33238" y="6151"/>
                  <a:pt x="33576" y="6092"/>
                  <a:pt x="33890" y="5973"/>
                </a:cubicBezTo>
                <a:cubicBezTo>
                  <a:pt x="35055" y="5510"/>
                  <a:pt x="35279" y="4390"/>
                  <a:pt x="35921" y="3434"/>
                </a:cubicBezTo>
                <a:cubicBezTo>
                  <a:pt x="36534" y="2508"/>
                  <a:pt x="37624" y="1985"/>
                  <a:pt x="38714" y="1985"/>
                </a:cubicBezTo>
                <a:cubicBezTo>
                  <a:pt x="38738" y="1984"/>
                  <a:pt x="38761" y="1984"/>
                  <a:pt x="38784" y="1984"/>
                </a:cubicBezTo>
                <a:cubicBezTo>
                  <a:pt x="40214" y="1984"/>
                  <a:pt x="40867" y="2895"/>
                  <a:pt x="41896" y="3747"/>
                </a:cubicBezTo>
                <a:cubicBezTo>
                  <a:pt x="42534" y="4301"/>
                  <a:pt x="43332" y="4596"/>
                  <a:pt x="44143" y="4596"/>
                </a:cubicBezTo>
                <a:cubicBezTo>
                  <a:pt x="44470" y="4596"/>
                  <a:pt x="44800" y="4548"/>
                  <a:pt x="45122" y="4449"/>
                </a:cubicBezTo>
                <a:cubicBezTo>
                  <a:pt x="46302" y="4091"/>
                  <a:pt x="47078" y="3120"/>
                  <a:pt x="47900" y="2284"/>
                </a:cubicBezTo>
                <a:cubicBezTo>
                  <a:pt x="48531" y="1652"/>
                  <a:pt x="49421" y="1038"/>
                  <a:pt x="50231" y="1038"/>
                </a:cubicBezTo>
                <a:cubicBezTo>
                  <a:pt x="50744" y="1038"/>
                  <a:pt x="51225" y="1283"/>
                  <a:pt x="51589" y="1925"/>
                </a:cubicBezTo>
                <a:cubicBezTo>
                  <a:pt x="52037" y="2732"/>
                  <a:pt x="52366" y="3658"/>
                  <a:pt x="53381" y="3867"/>
                </a:cubicBezTo>
                <a:cubicBezTo>
                  <a:pt x="53426" y="3875"/>
                  <a:pt x="53468" y="3880"/>
                  <a:pt x="53509" y="3880"/>
                </a:cubicBezTo>
                <a:cubicBezTo>
                  <a:pt x="54097" y="3880"/>
                  <a:pt x="54282" y="3022"/>
                  <a:pt x="53695" y="2896"/>
                </a:cubicBezTo>
                <a:cubicBezTo>
                  <a:pt x="52814" y="2717"/>
                  <a:pt x="52605" y="1373"/>
                  <a:pt x="52052" y="745"/>
                </a:cubicBezTo>
                <a:cubicBezTo>
                  <a:pt x="51586" y="228"/>
                  <a:pt x="50962" y="0"/>
                  <a:pt x="50310"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313131"/>
              </a:solidFill>
              <a:effectLst/>
              <a:uLnTx/>
              <a:uFillTx/>
              <a:latin typeface="Arial"/>
              <a:ea typeface="+mn-ea"/>
              <a:cs typeface="+mn-cs"/>
            </a:endParaRPr>
          </a:p>
        </p:txBody>
      </p:sp>
      <p:pic>
        <p:nvPicPr>
          <p:cNvPr id="43" name="Google Shape;2866;p68">
            <a:extLst>
              <a:ext uri="{FF2B5EF4-FFF2-40B4-BE49-F238E27FC236}">
                <a16:creationId xmlns:a16="http://schemas.microsoft.com/office/drawing/2014/main" id="{A038ABB3-AA8E-48C0-B7F7-7CC3D649CCA2}"/>
              </a:ext>
            </a:extLst>
          </p:cNvPr>
          <p:cNvPicPr preferRelativeResize="0"/>
          <p:nvPr/>
        </p:nvPicPr>
        <p:blipFill rotWithShape="1">
          <a:blip r:embed="rId3">
            <a:alphaModFix/>
          </a:blip>
          <a:srcRect l="5610" t="5650" r="5619" b="5641"/>
          <a:stretch/>
        </p:blipFill>
        <p:spPr>
          <a:xfrm>
            <a:off x="1230575" y="1970535"/>
            <a:ext cx="3703364" cy="2438627"/>
          </a:xfrm>
          <a:prstGeom prst="rect">
            <a:avLst/>
          </a:prstGeom>
          <a:ln>
            <a:noFill/>
          </a:ln>
          <a:effectLst>
            <a:outerShdw blurRad="292100" dist="139700" dir="2700000" algn="tl" rotWithShape="0">
              <a:srgbClr val="333333">
                <a:alpha val="65000"/>
              </a:srgbClr>
            </a:outerShdw>
          </a:effectLst>
        </p:spPr>
      </p:pic>
      <p:grpSp>
        <p:nvGrpSpPr>
          <p:cNvPr id="44" name="Google Shape;2882;p68">
            <a:extLst>
              <a:ext uri="{FF2B5EF4-FFF2-40B4-BE49-F238E27FC236}">
                <a16:creationId xmlns:a16="http://schemas.microsoft.com/office/drawing/2014/main" id="{18F50903-726B-4DC3-A93E-6FF86E4F2FC1}"/>
              </a:ext>
            </a:extLst>
          </p:cNvPr>
          <p:cNvGrpSpPr/>
          <p:nvPr/>
        </p:nvGrpSpPr>
        <p:grpSpPr>
          <a:xfrm>
            <a:off x="10855706" y="2434267"/>
            <a:ext cx="703840" cy="2146447"/>
            <a:chOff x="3688375" y="3264875"/>
            <a:chExt cx="450400" cy="1373550"/>
          </a:xfrm>
        </p:grpSpPr>
        <p:sp>
          <p:nvSpPr>
            <p:cNvPr id="45" name="Google Shape;2883;p68">
              <a:extLst>
                <a:ext uri="{FF2B5EF4-FFF2-40B4-BE49-F238E27FC236}">
                  <a16:creationId xmlns:a16="http://schemas.microsoft.com/office/drawing/2014/main" id="{7DB09F0B-9AEC-4D1A-9581-E1FEA6AC1A5C}"/>
                </a:ext>
              </a:extLst>
            </p:cNvPr>
            <p:cNvSpPr/>
            <p:nvPr/>
          </p:nvSpPr>
          <p:spPr>
            <a:xfrm>
              <a:off x="3688375" y="3264875"/>
              <a:ext cx="450400" cy="510450"/>
            </a:xfrm>
            <a:custGeom>
              <a:avLst/>
              <a:gdLst/>
              <a:ahLst/>
              <a:cxnLst/>
              <a:rect l="l" t="t" r="r" b="b"/>
              <a:pathLst>
                <a:path w="18016" h="20418" extrusionOk="0">
                  <a:moveTo>
                    <a:pt x="7998" y="542"/>
                  </a:moveTo>
                  <a:cubicBezTo>
                    <a:pt x="8551" y="542"/>
                    <a:pt x="9099" y="586"/>
                    <a:pt x="9625" y="664"/>
                  </a:cubicBezTo>
                  <a:cubicBezTo>
                    <a:pt x="14103" y="1291"/>
                    <a:pt x="17764" y="4702"/>
                    <a:pt x="17283" y="9410"/>
                  </a:cubicBezTo>
                  <a:cubicBezTo>
                    <a:pt x="17179" y="10519"/>
                    <a:pt x="17220" y="11565"/>
                    <a:pt x="17032" y="12653"/>
                  </a:cubicBezTo>
                  <a:cubicBezTo>
                    <a:pt x="16802" y="13992"/>
                    <a:pt x="16174" y="15394"/>
                    <a:pt x="15379" y="16524"/>
                  </a:cubicBezTo>
                  <a:cubicBezTo>
                    <a:pt x="14117" y="18381"/>
                    <a:pt x="12062" y="19865"/>
                    <a:pt x="9845" y="19865"/>
                  </a:cubicBezTo>
                  <a:cubicBezTo>
                    <a:pt x="9489" y="19865"/>
                    <a:pt x="9129" y="19827"/>
                    <a:pt x="8767" y="19746"/>
                  </a:cubicBezTo>
                  <a:cubicBezTo>
                    <a:pt x="8743" y="19740"/>
                    <a:pt x="8719" y="19737"/>
                    <a:pt x="8696" y="19737"/>
                  </a:cubicBezTo>
                  <a:cubicBezTo>
                    <a:pt x="8610" y="19737"/>
                    <a:pt x="8538" y="19779"/>
                    <a:pt x="8489" y="19839"/>
                  </a:cubicBezTo>
                  <a:lnTo>
                    <a:pt x="8489" y="19839"/>
                  </a:lnTo>
                  <a:cubicBezTo>
                    <a:pt x="6384" y="19067"/>
                    <a:pt x="5163" y="17366"/>
                    <a:pt x="3767" y="15645"/>
                  </a:cubicBezTo>
                  <a:cubicBezTo>
                    <a:pt x="2009" y="13469"/>
                    <a:pt x="963" y="11230"/>
                    <a:pt x="921" y="8363"/>
                  </a:cubicBezTo>
                  <a:cubicBezTo>
                    <a:pt x="858" y="6041"/>
                    <a:pt x="1758" y="3216"/>
                    <a:pt x="3683" y="1773"/>
                  </a:cubicBezTo>
                  <a:cubicBezTo>
                    <a:pt x="4898" y="880"/>
                    <a:pt x="6464" y="542"/>
                    <a:pt x="7998" y="542"/>
                  </a:cubicBezTo>
                  <a:close/>
                  <a:moveTo>
                    <a:pt x="8193" y="0"/>
                  </a:moveTo>
                  <a:cubicBezTo>
                    <a:pt x="6889" y="0"/>
                    <a:pt x="5587" y="267"/>
                    <a:pt x="4394" y="810"/>
                  </a:cubicBezTo>
                  <a:cubicBezTo>
                    <a:pt x="1967" y="1940"/>
                    <a:pt x="837" y="4472"/>
                    <a:pt x="482" y="7003"/>
                  </a:cubicBezTo>
                  <a:cubicBezTo>
                    <a:pt x="0" y="10100"/>
                    <a:pt x="1067" y="12883"/>
                    <a:pt x="2846" y="15331"/>
                  </a:cubicBezTo>
                  <a:cubicBezTo>
                    <a:pt x="4342" y="17353"/>
                    <a:pt x="5936" y="19394"/>
                    <a:pt x="8420" y="20077"/>
                  </a:cubicBezTo>
                  <a:lnTo>
                    <a:pt x="8420" y="20077"/>
                  </a:lnTo>
                  <a:cubicBezTo>
                    <a:pt x="8432" y="20164"/>
                    <a:pt x="8488" y="20241"/>
                    <a:pt x="8600" y="20269"/>
                  </a:cubicBezTo>
                  <a:cubicBezTo>
                    <a:pt x="9056" y="20370"/>
                    <a:pt x="9486" y="20417"/>
                    <a:pt x="9896" y="20417"/>
                  </a:cubicBezTo>
                  <a:cubicBezTo>
                    <a:pt x="11614" y="20417"/>
                    <a:pt x="12985" y="19589"/>
                    <a:pt x="14438" y="18407"/>
                  </a:cubicBezTo>
                  <a:cubicBezTo>
                    <a:pt x="16823" y="16440"/>
                    <a:pt x="17764" y="13448"/>
                    <a:pt x="17890" y="10477"/>
                  </a:cubicBezTo>
                  <a:cubicBezTo>
                    <a:pt x="18015" y="7966"/>
                    <a:pt x="18015" y="5602"/>
                    <a:pt x="16279" y="3614"/>
                  </a:cubicBezTo>
                  <a:cubicBezTo>
                    <a:pt x="14751" y="1877"/>
                    <a:pt x="12659" y="789"/>
                    <a:pt x="10441" y="266"/>
                  </a:cubicBezTo>
                  <a:cubicBezTo>
                    <a:pt x="9705" y="90"/>
                    <a:pt x="8949" y="0"/>
                    <a:pt x="8193"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46" name="Google Shape;2884;p68">
              <a:extLst>
                <a:ext uri="{FF2B5EF4-FFF2-40B4-BE49-F238E27FC236}">
                  <a16:creationId xmlns:a16="http://schemas.microsoft.com/office/drawing/2014/main" id="{199EEC70-97DB-4DC2-8F23-8FDB28D65D71}"/>
                </a:ext>
              </a:extLst>
            </p:cNvPr>
            <p:cNvSpPr/>
            <p:nvPr/>
          </p:nvSpPr>
          <p:spPr>
            <a:xfrm>
              <a:off x="3830625" y="3744325"/>
              <a:ext cx="132400" cy="78875"/>
            </a:xfrm>
            <a:custGeom>
              <a:avLst/>
              <a:gdLst/>
              <a:ahLst/>
              <a:cxnLst/>
              <a:rect l="l" t="t" r="r" b="b"/>
              <a:pathLst>
                <a:path w="5296" h="3155" extrusionOk="0">
                  <a:moveTo>
                    <a:pt x="985" y="1"/>
                  </a:moveTo>
                  <a:cubicBezTo>
                    <a:pt x="352" y="1"/>
                    <a:pt x="0" y="1045"/>
                    <a:pt x="169" y="1551"/>
                  </a:cubicBezTo>
                  <a:cubicBezTo>
                    <a:pt x="282" y="1909"/>
                    <a:pt x="548" y="2081"/>
                    <a:pt x="905" y="2081"/>
                  </a:cubicBezTo>
                  <a:cubicBezTo>
                    <a:pt x="945" y="2081"/>
                    <a:pt x="985" y="2079"/>
                    <a:pt x="1027" y="2074"/>
                  </a:cubicBezTo>
                  <a:cubicBezTo>
                    <a:pt x="1403" y="2054"/>
                    <a:pt x="1738" y="1823"/>
                    <a:pt x="2052" y="1656"/>
                  </a:cubicBezTo>
                  <a:cubicBezTo>
                    <a:pt x="2159" y="1613"/>
                    <a:pt x="2274" y="1570"/>
                    <a:pt x="2381" y="1517"/>
                  </a:cubicBezTo>
                  <a:lnTo>
                    <a:pt x="2381" y="1517"/>
                  </a:lnTo>
                  <a:cubicBezTo>
                    <a:pt x="2453" y="2241"/>
                    <a:pt x="2659" y="3155"/>
                    <a:pt x="3430" y="3155"/>
                  </a:cubicBezTo>
                  <a:cubicBezTo>
                    <a:pt x="3515" y="3155"/>
                    <a:pt x="3606" y="3144"/>
                    <a:pt x="3705" y="3121"/>
                  </a:cubicBezTo>
                  <a:cubicBezTo>
                    <a:pt x="4584" y="2932"/>
                    <a:pt x="5274" y="1886"/>
                    <a:pt x="5295" y="986"/>
                  </a:cubicBezTo>
                  <a:cubicBezTo>
                    <a:pt x="5295" y="798"/>
                    <a:pt x="5164" y="704"/>
                    <a:pt x="5026" y="704"/>
                  </a:cubicBezTo>
                  <a:cubicBezTo>
                    <a:pt x="4887" y="704"/>
                    <a:pt x="4741" y="798"/>
                    <a:pt x="4709" y="986"/>
                  </a:cubicBezTo>
                  <a:cubicBezTo>
                    <a:pt x="4667" y="1509"/>
                    <a:pt x="4375" y="2033"/>
                    <a:pt x="3977" y="2367"/>
                  </a:cubicBezTo>
                  <a:cubicBezTo>
                    <a:pt x="3811" y="2530"/>
                    <a:pt x="3661" y="2598"/>
                    <a:pt x="3528" y="2598"/>
                  </a:cubicBezTo>
                  <a:cubicBezTo>
                    <a:pt x="3035" y="2598"/>
                    <a:pt x="2776" y="1659"/>
                    <a:pt x="2778" y="1132"/>
                  </a:cubicBezTo>
                  <a:lnTo>
                    <a:pt x="2778" y="1132"/>
                  </a:lnTo>
                  <a:cubicBezTo>
                    <a:pt x="2790" y="1100"/>
                    <a:pt x="2799" y="1065"/>
                    <a:pt x="2805" y="1028"/>
                  </a:cubicBezTo>
                  <a:cubicBezTo>
                    <a:pt x="2798" y="1028"/>
                    <a:pt x="2790" y="1028"/>
                    <a:pt x="2782" y="1028"/>
                  </a:cubicBezTo>
                  <a:lnTo>
                    <a:pt x="2782" y="1028"/>
                  </a:lnTo>
                  <a:cubicBezTo>
                    <a:pt x="2783" y="1021"/>
                    <a:pt x="2784" y="1014"/>
                    <a:pt x="2784" y="1007"/>
                  </a:cubicBezTo>
                  <a:cubicBezTo>
                    <a:pt x="2797" y="853"/>
                    <a:pt x="2676" y="754"/>
                    <a:pt x="2551" y="754"/>
                  </a:cubicBezTo>
                  <a:cubicBezTo>
                    <a:pt x="2473" y="754"/>
                    <a:pt x="2393" y="793"/>
                    <a:pt x="2345" y="882"/>
                  </a:cubicBezTo>
                  <a:cubicBezTo>
                    <a:pt x="2222" y="1096"/>
                    <a:pt x="1393" y="1524"/>
                    <a:pt x="917" y="1524"/>
                  </a:cubicBezTo>
                  <a:cubicBezTo>
                    <a:pt x="742" y="1524"/>
                    <a:pt x="615" y="1467"/>
                    <a:pt x="587" y="1321"/>
                  </a:cubicBezTo>
                  <a:cubicBezTo>
                    <a:pt x="504" y="986"/>
                    <a:pt x="755" y="359"/>
                    <a:pt x="1131" y="338"/>
                  </a:cubicBezTo>
                  <a:cubicBezTo>
                    <a:pt x="1140" y="339"/>
                    <a:pt x="1148" y="339"/>
                    <a:pt x="1156" y="339"/>
                  </a:cubicBezTo>
                  <a:cubicBezTo>
                    <a:pt x="1344" y="339"/>
                    <a:pt x="1376" y="105"/>
                    <a:pt x="1215" y="45"/>
                  </a:cubicBezTo>
                  <a:cubicBezTo>
                    <a:pt x="1135" y="14"/>
                    <a:pt x="1058" y="1"/>
                    <a:pt x="985"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47" name="Google Shape;2885;p68">
              <a:extLst>
                <a:ext uri="{FF2B5EF4-FFF2-40B4-BE49-F238E27FC236}">
                  <a16:creationId xmlns:a16="http://schemas.microsoft.com/office/drawing/2014/main" id="{76B55CF9-63DD-47DC-BCB8-117F1ADC33F6}"/>
                </a:ext>
              </a:extLst>
            </p:cNvPr>
            <p:cNvSpPr/>
            <p:nvPr/>
          </p:nvSpPr>
          <p:spPr>
            <a:xfrm>
              <a:off x="3944925" y="3750150"/>
              <a:ext cx="108575" cy="62300"/>
            </a:xfrm>
            <a:custGeom>
              <a:avLst/>
              <a:gdLst/>
              <a:ahLst/>
              <a:cxnLst/>
              <a:rect l="l" t="t" r="r" b="b"/>
              <a:pathLst>
                <a:path w="4343" h="2492" extrusionOk="0">
                  <a:moveTo>
                    <a:pt x="3273" y="1"/>
                  </a:moveTo>
                  <a:cubicBezTo>
                    <a:pt x="3131" y="1"/>
                    <a:pt x="3000" y="157"/>
                    <a:pt x="3088" y="314"/>
                  </a:cubicBezTo>
                  <a:cubicBezTo>
                    <a:pt x="3443" y="858"/>
                    <a:pt x="3360" y="1465"/>
                    <a:pt x="2774" y="1821"/>
                  </a:cubicBezTo>
                  <a:cubicBezTo>
                    <a:pt x="2579" y="1936"/>
                    <a:pt x="2384" y="1984"/>
                    <a:pt x="2192" y="1984"/>
                  </a:cubicBezTo>
                  <a:cubicBezTo>
                    <a:pt x="1477" y="1984"/>
                    <a:pt x="800" y="1308"/>
                    <a:pt x="305" y="879"/>
                  </a:cubicBezTo>
                  <a:cubicBezTo>
                    <a:pt x="280" y="844"/>
                    <a:pt x="247" y="829"/>
                    <a:pt x="214" y="829"/>
                  </a:cubicBezTo>
                  <a:cubicBezTo>
                    <a:pt x="110" y="829"/>
                    <a:pt x="0" y="977"/>
                    <a:pt x="95" y="1088"/>
                  </a:cubicBezTo>
                  <a:cubicBezTo>
                    <a:pt x="514" y="1569"/>
                    <a:pt x="891" y="2072"/>
                    <a:pt x="1476" y="2344"/>
                  </a:cubicBezTo>
                  <a:cubicBezTo>
                    <a:pt x="1719" y="2443"/>
                    <a:pt x="1978" y="2491"/>
                    <a:pt x="2234" y="2491"/>
                  </a:cubicBezTo>
                  <a:cubicBezTo>
                    <a:pt x="2572" y="2491"/>
                    <a:pt x="2906" y="2406"/>
                    <a:pt x="3192" y="2239"/>
                  </a:cubicBezTo>
                  <a:cubicBezTo>
                    <a:pt x="3945" y="1800"/>
                    <a:pt x="4343" y="460"/>
                    <a:pt x="3360" y="21"/>
                  </a:cubicBezTo>
                  <a:cubicBezTo>
                    <a:pt x="3331" y="7"/>
                    <a:pt x="3302" y="1"/>
                    <a:pt x="3273"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48" name="Google Shape;2886;p68">
              <a:extLst>
                <a:ext uri="{FF2B5EF4-FFF2-40B4-BE49-F238E27FC236}">
                  <a16:creationId xmlns:a16="http://schemas.microsoft.com/office/drawing/2014/main" id="{FBCC5D61-E5C3-45EF-AB82-01CAE341C7A6}"/>
                </a:ext>
              </a:extLst>
            </p:cNvPr>
            <p:cNvSpPr/>
            <p:nvPr/>
          </p:nvSpPr>
          <p:spPr>
            <a:xfrm>
              <a:off x="3866750" y="3797900"/>
              <a:ext cx="171075" cy="840525"/>
            </a:xfrm>
            <a:custGeom>
              <a:avLst/>
              <a:gdLst/>
              <a:ahLst/>
              <a:cxnLst/>
              <a:rect l="l" t="t" r="r" b="b"/>
              <a:pathLst>
                <a:path w="6843" h="33621" extrusionOk="0">
                  <a:moveTo>
                    <a:pt x="2984" y="1"/>
                  </a:moveTo>
                  <a:cubicBezTo>
                    <a:pt x="2937" y="1"/>
                    <a:pt x="2888" y="33"/>
                    <a:pt x="2888" y="99"/>
                  </a:cubicBezTo>
                  <a:cubicBezTo>
                    <a:pt x="2888" y="1543"/>
                    <a:pt x="3453" y="2882"/>
                    <a:pt x="3766" y="4263"/>
                  </a:cubicBezTo>
                  <a:cubicBezTo>
                    <a:pt x="4164" y="5978"/>
                    <a:pt x="4080" y="7820"/>
                    <a:pt x="3662" y="9514"/>
                  </a:cubicBezTo>
                  <a:cubicBezTo>
                    <a:pt x="3306" y="10958"/>
                    <a:pt x="2093" y="12067"/>
                    <a:pt x="1402" y="13364"/>
                  </a:cubicBezTo>
                  <a:cubicBezTo>
                    <a:pt x="774" y="14515"/>
                    <a:pt x="398" y="15812"/>
                    <a:pt x="189" y="17131"/>
                  </a:cubicBezTo>
                  <a:cubicBezTo>
                    <a:pt x="0" y="18407"/>
                    <a:pt x="84" y="19746"/>
                    <a:pt x="628" y="20918"/>
                  </a:cubicBezTo>
                  <a:cubicBezTo>
                    <a:pt x="1235" y="22236"/>
                    <a:pt x="2365" y="23219"/>
                    <a:pt x="3076" y="24475"/>
                  </a:cubicBezTo>
                  <a:cubicBezTo>
                    <a:pt x="4269" y="26735"/>
                    <a:pt x="6842" y="31296"/>
                    <a:pt x="3411" y="32949"/>
                  </a:cubicBezTo>
                  <a:cubicBezTo>
                    <a:pt x="3074" y="33117"/>
                    <a:pt x="3239" y="33620"/>
                    <a:pt x="3532" y="33620"/>
                  </a:cubicBezTo>
                  <a:cubicBezTo>
                    <a:pt x="3567" y="33620"/>
                    <a:pt x="3603" y="33613"/>
                    <a:pt x="3641" y="33598"/>
                  </a:cubicBezTo>
                  <a:cubicBezTo>
                    <a:pt x="6047" y="32823"/>
                    <a:pt x="6005" y="29559"/>
                    <a:pt x="5378" y="27551"/>
                  </a:cubicBezTo>
                  <a:cubicBezTo>
                    <a:pt x="4792" y="25793"/>
                    <a:pt x="3662" y="23994"/>
                    <a:pt x="2553" y="22529"/>
                  </a:cubicBezTo>
                  <a:cubicBezTo>
                    <a:pt x="1988" y="21838"/>
                    <a:pt x="1465" y="21148"/>
                    <a:pt x="1088" y="20332"/>
                  </a:cubicBezTo>
                  <a:cubicBezTo>
                    <a:pt x="628" y="19432"/>
                    <a:pt x="712" y="18219"/>
                    <a:pt x="816" y="17235"/>
                  </a:cubicBezTo>
                  <a:cubicBezTo>
                    <a:pt x="984" y="15520"/>
                    <a:pt x="1653" y="13929"/>
                    <a:pt x="2574" y="12486"/>
                  </a:cubicBezTo>
                  <a:cubicBezTo>
                    <a:pt x="3390" y="11251"/>
                    <a:pt x="3871" y="10247"/>
                    <a:pt x="4310" y="8824"/>
                  </a:cubicBezTo>
                  <a:cubicBezTo>
                    <a:pt x="4708" y="7589"/>
                    <a:pt x="4457" y="5874"/>
                    <a:pt x="4248" y="4597"/>
                  </a:cubicBezTo>
                  <a:cubicBezTo>
                    <a:pt x="3955" y="3049"/>
                    <a:pt x="3202" y="1605"/>
                    <a:pt x="3055" y="36"/>
                  </a:cubicBezTo>
                  <a:cubicBezTo>
                    <a:pt x="3039" y="13"/>
                    <a:pt x="3012" y="1"/>
                    <a:pt x="2984"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49" name="Google Shape;2887;p68">
              <a:extLst>
                <a:ext uri="{FF2B5EF4-FFF2-40B4-BE49-F238E27FC236}">
                  <a16:creationId xmlns:a16="http://schemas.microsoft.com/office/drawing/2014/main" id="{6F22DCA7-64AC-4D36-BCAE-0A19A2E62C57}"/>
                </a:ext>
              </a:extLst>
            </p:cNvPr>
            <p:cNvSpPr/>
            <p:nvPr/>
          </p:nvSpPr>
          <p:spPr>
            <a:xfrm>
              <a:off x="3923500" y="3951575"/>
              <a:ext cx="96825" cy="52325"/>
            </a:xfrm>
            <a:custGeom>
              <a:avLst/>
              <a:gdLst/>
              <a:ahLst/>
              <a:cxnLst/>
              <a:rect l="l" t="t" r="r" b="b"/>
              <a:pathLst>
                <a:path w="3873" h="2093" extrusionOk="0">
                  <a:moveTo>
                    <a:pt x="309" y="1"/>
                  </a:moveTo>
                  <a:cubicBezTo>
                    <a:pt x="140" y="1"/>
                    <a:pt x="1" y="219"/>
                    <a:pt x="136" y="354"/>
                  </a:cubicBezTo>
                  <a:cubicBezTo>
                    <a:pt x="660" y="878"/>
                    <a:pt x="1224" y="1254"/>
                    <a:pt x="1894" y="1526"/>
                  </a:cubicBezTo>
                  <a:cubicBezTo>
                    <a:pt x="2396" y="1735"/>
                    <a:pt x="2919" y="1798"/>
                    <a:pt x="3380" y="2049"/>
                  </a:cubicBezTo>
                  <a:cubicBezTo>
                    <a:pt x="3432" y="2079"/>
                    <a:pt x="3483" y="2092"/>
                    <a:pt x="3529" y="2092"/>
                  </a:cubicBezTo>
                  <a:cubicBezTo>
                    <a:pt x="3742" y="2092"/>
                    <a:pt x="3873" y="1816"/>
                    <a:pt x="3735" y="1610"/>
                  </a:cubicBezTo>
                  <a:cubicBezTo>
                    <a:pt x="3442" y="1254"/>
                    <a:pt x="2961" y="1170"/>
                    <a:pt x="2522" y="1066"/>
                  </a:cubicBezTo>
                  <a:cubicBezTo>
                    <a:pt x="1768" y="898"/>
                    <a:pt x="1036" y="543"/>
                    <a:pt x="429" y="41"/>
                  </a:cubicBezTo>
                  <a:cubicBezTo>
                    <a:pt x="390" y="13"/>
                    <a:pt x="348" y="1"/>
                    <a:pt x="309"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50" name="Google Shape;2888;p68">
              <a:extLst>
                <a:ext uri="{FF2B5EF4-FFF2-40B4-BE49-F238E27FC236}">
                  <a16:creationId xmlns:a16="http://schemas.microsoft.com/office/drawing/2014/main" id="{1C657126-8199-4B34-9DAF-899E8A5C758D}"/>
                </a:ext>
              </a:extLst>
            </p:cNvPr>
            <p:cNvSpPr/>
            <p:nvPr/>
          </p:nvSpPr>
          <p:spPr>
            <a:xfrm>
              <a:off x="3926800" y="3949850"/>
              <a:ext cx="87800" cy="57850"/>
            </a:xfrm>
            <a:custGeom>
              <a:avLst/>
              <a:gdLst/>
              <a:ahLst/>
              <a:cxnLst/>
              <a:rect l="l" t="t" r="r" b="b"/>
              <a:pathLst>
                <a:path w="3512" h="2314" extrusionOk="0">
                  <a:moveTo>
                    <a:pt x="3181" y="1"/>
                  </a:moveTo>
                  <a:cubicBezTo>
                    <a:pt x="3149" y="1"/>
                    <a:pt x="3115" y="9"/>
                    <a:pt x="3080" y="26"/>
                  </a:cubicBezTo>
                  <a:cubicBezTo>
                    <a:pt x="2578" y="298"/>
                    <a:pt x="2055" y="507"/>
                    <a:pt x="1532" y="758"/>
                  </a:cubicBezTo>
                  <a:cubicBezTo>
                    <a:pt x="1030" y="1009"/>
                    <a:pt x="695" y="1595"/>
                    <a:pt x="214" y="1888"/>
                  </a:cubicBezTo>
                  <a:cubicBezTo>
                    <a:pt x="1" y="2048"/>
                    <a:pt x="149" y="2313"/>
                    <a:pt x="365" y="2313"/>
                  </a:cubicBezTo>
                  <a:cubicBezTo>
                    <a:pt x="404" y="2313"/>
                    <a:pt x="444" y="2305"/>
                    <a:pt x="486" y="2286"/>
                  </a:cubicBezTo>
                  <a:cubicBezTo>
                    <a:pt x="1009" y="2035"/>
                    <a:pt x="1406" y="1470"/>
                    <a:pt x="1929" y="1239"/>
                  </a:cubicBezTo>
                  <a:cubicBezTo>
                    <a:pt x="2452" y="1030"/>
                    <a:pt x="2913" y="800"/>
                    <a:pt x="3331" y="465"/>
                  </a:cubicBezTo>
                  <a:cubicBezTo>
                    <a:pt x="3512" y="303"/>
                    <a:pt x="3381" y="1"/>
                    <a:pt x="3181"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51" name="Google Shape;2889;p68">
              <a:extLst>
                <a:ext uri="{FF2B5EF4-FFF2-40B4-BE49-F238E27FC236}">
                  <a16:creationId xmlns:a16="http://schemas.microsoft.com/office/drawing/2014/main" id="{E60E6579-3FF1-49A8-8AF4-95506D469097}"/>
                </a:ext>
              </a:extLst>
            </p:cNvPr>
            <p:cNvSpPr/>
            <p:nvPr/>
          </p:nvSpPr>
          <p:spPr>
            <a:xfrm>
              <a:off x="3862300" y="4133900"/>
              <a:ext cx="74150" cy="65975"/>
            </a:xfrm>
            <a:custGeom>
              <a:avLst/>
              <a:gdLst/>
              <a:ahLst/>
              <a:cxnLst/>
              <a:rect l="l" t="t" r="r" b="b"/>
              <a:pathLst>
                <a:path w="2966" h="2639" extrusionOk="0">
                  <a:moveTo>
                    <a:pt x="281" y="0"/>
                  </a:moveTo>
                  <a:cubicBezTo>
                    <a:pt x="141" y="0"/>
                    <a:pt x="1" y="157"/>
                    <a:pt x="115" y="343"/>
                  </a:cubicBezTo>
                  <a:cubicBezTo>
                    <a:pt x="450" y="866"/>
                    <a:pt x="848" y="1305"/>
                    <a:pt x="1308" y="1703"/>
                  </a:cubicBezTo>
                  <a:cubicBezTo>
                    <a:pt x="1727" y="2038"/>
                    <a:pt x="2124" y="2414"/>
                    <a:pt x="2626" y="2624"/>
                  </a:cubicBezTo>
                  <a:cubicBezTo>
                    <a:pt x="2650" y="2634"/>
                    <a:pt x="2675" y="2638"/>
                    <a:pt x="2700" y="2638"/>
                  </a:cubicBezTo>
                  <a:cubicBezTo>
                    <a:pt x="2832" y="2638"/>
                    <a:pt x="2965" y="2510"/>
                    <a:pt x="2877" y="2352"/>
                  </a:cubicBezTo>
                  <a:cubicBezTo>
                    <a:pt x="2647" y="1954"/>
                    <a:pt x="2229" y="1640"/>
                    <a:pt x="1831" y="1410"/>
                  </a:cubicBezTo>
                  <a:cubicBezTo>
                    <a:pt x="1287" y="1075"/>
                    <a:pt x="848" y="636"/>
                    <a:pt x="450" y="113"/>
                  </a:cubicBezTo>
                  <a:cubicBezTo>
                    <a:pt x="411" y="33"/>
                    <a:pt x="346" y="0"/>
                    <a:pt x="281"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52" name="Google Shape;2890;p68">
              <a:extLst>
                <a:ext uri="{FF2B5EF4-FFF2-40B4-BE49-F238E27FC236}">
                  <a16:creationId xmlns:a16="http://schemas.microsoft.com/office/drawing/2014/main" id="{42DE66BB-8A0F-4EC4-8B3C-9BD0CECE7AEF}"/>
                </a:ext>
              </a:extLst>
            </p:cNvPr>
            <p:cNvSpPr/>
            <p:nvPr/>
          </p:nvSpPr>
          <p:spPr>
            <a:xfrm>
              <a:off x="3862000" y="4142325"/>
              <a:ext cx="83750" cy="58100"/>
            </a:xfrm>
            <a:custGeom>
              <a:avLst/>
              <a:gdLst/>
              <a:ahLst/>
              <a:cxnLst/>
              <a:rect l="l" t="t" r="r" b="b"/>
              <a:pathLst>
                <a:path w="3350" h="2324" extrusionOk="0">
                  <a:moveTo>
                    <a:pt x="2946" y="0"/>
                  </a:moveTo>
                  <a:cubicBezTo>
                    <a:pt x="2928" y="0"/>
                    <a:pt x="2909" y="2"/>
                    <a:pt x="2889" y="6"/>
                  </a:cubicBezTo>
                  <a:cubicBezTo>
                    <a:pt x="1718" y="173"/>
                    <a:pt x="902" y="1115"/>
                    <a:pt x="148" y="1952"/>
                  </a:cubicBezTo>
                  <a:cubicBezTo>
                    <a:pt x="1" y="2099"/>
                    <a:pt x="149" y="2324"/>
                    <a:pt x="320" y="2324"/>
                  </a:cubicBezTo>
                  <a:cubicBezTo>
                    <a:pt x="368" y="2324"/>
                    <a:pt x="417" y="2306"/>
                    <a:pt x="462" y="2266"/>
                  </a:cubicBezTo>
                  <a:cubicBezTo>
                    <a:pt x="1236" y="1575"/>
                    <a:pt x="2031" y="864"/>
                    <a:pt x="3015" y="550"/>
                  </a:cubicBezTo>
                  <a:cubicBezTo>
                    <a:pt x="3350" y="451"/>
                    <a:pt x="3240" y="0"/>
                    <a:pt x="2946"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53" name="Google Shape;2891;p68">
              <a:extLst>
                <a:ext uri="{FF2B5EF4-FFF2-40B4-BE49-F238E27FC236}">
                  <a16:creationId xmlns:a16="http://schemas.microsoft.com/office/drawing/2014/main" id="{6BF7D8F8-E0FE-412D-8E45-750B994EC67B}"/>
                </a:ext>
              </a:extLst>
            </p:cNvPr>
            <p:cNvSpPr/>
            <p:nvPr/>
          </p:nvSpPr>
          <p:spPr>
            <a:xfrm>
              <a:off x="3864875" y="4354150"/>
              <a:ext cx="126200" cy="50450"/>
            </a:xfrm>
            <a:custGeom>
              <a:avLst/>
              <a:gdLst/>
              <a:ahLst/>
              <a:cxnLst/>
              <a:rect l="l" t="t" r="r" b="b"/>
              <a:pathLst>
                <a:path w="5048" h="2018" extrusionOk="0">
                  <a:moveTo>
                    <a:pt x="387" y="0"/>
                  </a:moveTo>
                  <a:cubicBezTo>
                    <a:pt x="120" y="0"/>
                    <a:pt x="0" y="396"/>
                    <a:pt x="264" y="572"/>
                  </a:cubicBezTo>
                  <a:cubicBezTo>
                    <a:pt x="975" y="1032"/>
                    <a:pt x="1749" y="1262"/>
                    <a:pt x="2544" y="1493"/>
                  </a:cubicBezTo>
                  <a:cubicBezTo>
                    <a:pt x="3193" y="1681"/>
                    <a:pt x="3904" y="1702"/>
                    <a:pt x="4511" y="1995"/>
                  </a:cubicBezTo>
                  <a:cubicBezTo>
                    <a:pt x="4546" y="2011"/>
                    <a:pt x="4583" y="2018"/>
                    <a:pt x="4621" y="2018"/>
                  </a:cubicBezTo>
                  <a:cubicBezTo>
                    <a:pt x="4831" y="2018"/>
                    <a:pt x="5047" y="1792"/>
                    <a:pt x="4888" y="1597"/>
                  </a:cubicBezTo>
                  <a:cubicBezTo>
                    <a:pt x="4448" y="1032"/>
                    <a:pt x="3779" y="990"/>
                    <a:pt x="3109" y="865"/>
                  </a:cubicBezTo>
                  <a:cubicBezTo>
                    <a:pt x="2251" y="718"/>
                    <a:pt x="1310" y="509"/>
                    <a:pt x="556" y="49"/>
                  </a:cubicBezTo>
                  <a:cubicBezTo>
                    <a:pt x="496" y="15"/>
                    <a:pt x="439" y="0"/>
                    <a:pt x="387"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54" name="Google Shape;2892;p68">
              <a:extLst>
                <a:ext uri="{FF2B5EF4-FFF2-40B4-BE49-F238E27FC236}">
                  <a16:creationId xmlns:a16="http://schemas.microsoft.com/office/drawing/2014/main" id="{C770290D-F8C6-4C15-A6CC-F746884C384A}"/>
                </a:ext>
              </a:extLst>
            </p:cNvPr>
            <p:cNvSpPr/>
            <p:nvPr/>
          </p:nvSpPr>
          <p:spPr>
            <a:xfrm>
              <a:off x="3929550" y="4333850"/>
              <a:ext cx="40600" cy="94300"/>
            </a:xfrm>
            <a:custGeom>
              <a:avLst/>
              <a:gdLst/>
              <a:ahLst/>
              <a:cxnLst/>
              <a:rect l="l" t="t" r="r" b="b"/>
              <a:pathLst>
                <a:path w="1624" h="3772" extrusionOk="0">
                  <a:moveTo>
                    <a:pt x="1228" y="1"/>
                  </a:moveTo>
                  <a:cubicBezTo>
                    <a:pt x="1128" y="1"/>
                    <a:pt x="1032" y="56"/>
                    <a:pt x="982" y="191"/>
                  </a:cubicBezTo>
                  <a:cubicBezTo>
                    <a:pt x="564" y="1258"/>
                    <a:pt x="313" y="2388"/>
                    <a:pt x="41" y="3518"/>
                  </a:cubicBezTo>
                  <a:cubicBezTo>
                    <a:pt x="0" y="3666"/>
                    <a:pt x="125" y="3771"/>
                    <a:pt x="247" y="3771"/>
                  </a:cubicBezTo>
                  <a:cubicBezTo>
                    <a:pt x="314" y="3771"/>
                    <a:pt x="380" y="3739"/>
                    <a:pt x="418" y="3665"/>
                  </a:cubicBezTo>
                  <a:cubicBezTo>
                    <a:pt x="941" y="2639"/>
                    <a:pt x="1129" y="1530"/>
                    <a:pt x="1526" y="442"/>
                  </a:cubicBezTo>
                  <a:cubicBezTo>
                    <a:pt x="1623" y="208"/>
                    <a:pt x="1419" y="1"/>
                    <a:pt x="1228"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grpSp>
      <p:grpSp>
        <p:nvGrpSpPr>
          <p:cNvPr id="55" name="Google Shape;2518;p58">
            <a:extLst>
              <a:ext uri="{FF2B5EF4-FFF2-40B4-BE49-F238E27FC236}">
                <a16:creationId xmlns:a16="http://schemas.microsoft.com/office/drawing/2014/main" id="{73FB429C-4A6F-480A-AB6F-3D83BCBDB683}"/>
              </a:ext>
            </a:extLst>
          </p:cNvPr>
          <p:cNvGrpSpPr/>
          <p:nvPr/>
        </p:nvGrpSpPr>
        <p:grpSpPr>
          <a:xfrm>
            <a:off x="1091328" y="378625"/>
            <a:ext cx="1921912" cy="326735"/>
            <a:chOff x="1816609" y="3851001"/>
            <a:chExt cx="1093674" cy="222193"/>
          </a:xfrm>
        </p:grpSpPr>
        <p:sp>
          <p:nvSpPr>
            <p:cNvPr id="56" name="Google Shape;2519;p58">
              <a:extLst>
                <a:ext uri="{FF2B5EF4-FFF2-40B4-BE49-F238E27FC236}">
                  <a16:creationId xmlns:a16="http://schemas.microsoft.com/office/drawing/2014/main" id="{A53BC4CD-E51D-4FB5-B0C0-9B91E92FEA3A}"/>
                </a:ext>
              </a:extLst>
            </p:cNvPr>
            <p:cNvSpPr/>
            <p:nvPr/>
          </p:nvSpPr>
          <p:spPr>
            <a:xfrm>
              <a:off x="1816609" y="3851001"/>
              <a:ext cx="1093674" cy="222193"/>
            </a:xfrm>
            <a:custGeom>
              <a:avLst/>
              <a:gdLst/>
              <a:ahLst/>
              <a:cxnLst/>
              <a:rect l="l" t="t" r="r" b="b"/>
              <a:pathLst>
                <a:path w="38900" h="7903" extrusionOk="0">
                  <a:moveTo>
                    <a:pt x="32154" y="852"/>
                  </a:moveTo>
                  <a:cubicBezTo>
                    <a:pt x="32029" y="852"/>
                    <a:pt x="31911" y="870"/>
                    <a:pt x="31815" y="910"/>
                  </a:cubicBezTo>
                  <a:cubicBezTo>
                    <a:pt x="30934" y="1259"/>
                    <a:pt x="30057" y="1619"/>
                    <a:pt x="29183" y="1986"/>
                  </a:cubicBezTo>
                  <a:cubicBezTo>
                    <a:pt x="30289" y="1683"/>
                    <a:pt x="31405" y="1423"/>
                    <a:pt x="32535" y="1209"/>
                  </a:cubicBezTo>
                  <a:cubicBezTo>
                    <a:pt x="32581" y="1198"/>
                    <a:pt x="32635" y="1195"/>
                    <a:pt x="32688" y="1195"/>
                  </a:cubicBezTo>
                  <a:cubicBezTo>
                    <a:pt x="32853" y="1195"/>
                    <a:pt x="33041" y="1234"/>
                    <a:pt x="33223" y="1298"/>
                  </a:cubicBezTo>
                  <a:cubicBezTo>
                    <a:pt x="32998" y="1017"/>
                    <a:pt x="32532" y="852"/>
                    <a:pt x="32154" y="852"/>
                  </a:cubicBezTo>
                  <a:close/>
                  <a:moveTo>
                    <a:pt x="36026" y="1808"/>
                  </a:moveTo>
                  <a:cubicBezTo>
                    <a:pt x="35323" y="1808"/>
                    <a:pt x="34635" y="1886"/>
                    <a:pt x="33969" y="2036"/>
                  </a:cubicBezTo>
                  <a:cubicBezTo>
                    <a:pt x="33969" y="2172"/>
                    <a:pt x="33908" y="2318"/>
                    <a:pt x="33758" y="2464"/>
                  </a:cubicBezTo>
                  <a:cubicBezTo>
                    <a:pt x="33648" y="2575"/>
                    <a:pt x="33541" y="2689"/>
                    <a:pt x="33441" y="2803"/>
                  </a:cubicBezTo>
                  <a:cubicBezTo>
                    <a:pt x="33530" y="2781"/>
                    <a:pt x="33619" y="2775"/>
                    <a:pt x="33712" y="2775"/>
                  </a:cubicBezTo>
                  <a:cubicBezTo>
                    <a:pt x="34364" y="2775"/>
                    <a:pt x="35031" y="3256"/>
                    <a:pt x="35052" y="3695"/>
                  </a:cubicBezTo>
                  <a:cubicBezTo>
                    <a:pt x="35341" y="3655"/>
                    <a:pt x="35634" y="3637"/>
                    <a:pt x="35926" y="3637"/>
                  </a:cubicBezTo>
                  <a:cubicBezTo>
                    <a:pt x="36290" y="3637"/>
                    <a:pt x="36657" y="3666"/>
                    <a:pt x="37028" y="3723"/>
                  </a:cubicBezTo>
                  <a:cubicBezTo>
                    <a:pt x="37099" y="3734"/>
                    <a:pt x="37170" y="3737"/>
                    <a:pt x="37234" y="3737"/>
                  </a:cubicBezTo>
                  <a:cubicBezTo>
                    <a:pt x="38415" y="3737"/>
                    <a:pt x="38900" y="2136"/>
                    <a:pt x="37502" y="1922"/>
                  </a:cubicBezTo>
                  <a:cubicBezTo>
                    <a:pt x="37007" y="1843"/>
                    <a:pt x="36511" y="1808"/>
                    <a:pt x="36026" y="1808"/>
                  </a:cubicBezTo>
                  <a:close/>
                  <a:moveTo>
                    <a:pt x="6480" y="3645"/>
                  </a:moveTo>
                  <a:lnTo>
                    <a:pt x="6480" y="3645"/>
                  </a:lnTo>
                  <a:cubicBezTo>
                    <a:pt x="6466" y="3652"/>
                    <a:pt x="6455" y="3655"/>
                    <a:pt x="6441" y="3659"/>
                  </a:cubicBezTo>
                  <a:cubicBezTo>
                    <a:pt x="6412" y="3723"/>
                    <a:pt x="6383" y="3787"/>
                    <a:pt x="6359" y="3851"/>
                  </a:cubicBezTo>
                  <a:cubicBezTo>
                    <a:pt x="6398" y="3784"/>
                    <a:pt x="6437" y="3713"/>
                    <a:pt x="6480" y="3645"/>
                  </a:cubicBezTo>
                  <a:close/>
                  <a:moveTo>
                    <a:pt x="21010" y="0"/>
                  </a:moveTo>
                  <a:cubicBezTo>
                    <a:pt x="20879" y="0"/>
                    <a:pt x="20747" y="18"/>
                    <a:pt x="20622" y="64"/>
                  </a:cubicBezTo>
                  <a:cubicBezTo>
                    <a:pt x="18436" y="831"/>
                    <a:pt x="16353" y="1801"/>
                    <a:pt x="14389" y="2977"/>
                  </a:cubicBezTo>
                  <a:cubicBezTo>
                    <a:pt x="14735" y="2475"/>
                    <a:pt x="15102" y="1990"/>
                    <a:pt x="15491" y="1512"/>
                  </a:cubicBezTo>
                  <a:cubicBezTo>
                    <a:pt x="16118" y="746"/>
                    <a:pt x="15117" y="289"/>
                    <a:pt x="14353" y="289"/>
                  </a:cubicBezTo>
                  <a:cubicBezTo>
                    <a:pt x="14154" y="289"/>
                    <a:pt x="13972" y="318"/>
                    <a:pt x="13836" y="385"/>
                  </a:cubicBezTo>
                  <a:cubicBezTo>
                    <a:pt x="12110" y="1244"/>
                    <a:pt x="10484" y="2261"/>
                    <a:pt x="8969" y="3431"/>
                  </a:cubicBezTo>
                  <a:cubicBezTo>
                    <a:pt x="9272" y="2842"/>
                    <a:pt x="9614" y="2268"/>
                    <a:pt x="9996" y="1708"/>
                  </a:cubicBezTo>
                  <a:cubicBezTo>
                    <a:pt x="10542" y="906"/>
                    <a:pt x="9646" y="471"/>
                    <a:pt x="8905" y="471"/>
                  </a:cubicBezTo>
                  <a:cubicBezTo>
                    <a:pt x="8694" y="471"/>
                    <a:pt x="8491" y="507"/>
                    <a:pt x="8341" y="581"/>
                  </a:cubicBezTo>
                  <a:cubicBezTo>
                    <a:pt x="5938" y="1741"/>
                    <a:pt x="3534" y="2903"/>
                    <a:pt x="1131" y="4062"/>
                  </a:cubicBezTo>
                  <a:cubicBezTo>
                    <a:pt x="1" y="4608"/>
                    <a:pt x="893" y="5670"/>
                    <a:pt x="1862" y="5670"/>
                  </a:cubicBezTo>
                  <a:cubicBezTo>
                    <a:pt x="2045" y="5670"/>
                    <a:pt x="2226" y="5635"/>
                    <a:pt x="2401" y="5549"/>
                  </a:cubicBezTo>
                  <a:cubicBezTo>
                    <a:pt x="3546" y="4996"/>
                    <a:pt x="4690" y="4443"/>
                    <a:pt x="5835" y="3891"/>
                  </a:cubicBezTo>
                  <a:lnTo>
                    <a:pt x="5835" y="3891"/>
                  </a:lnTo>
                  <a:cubicBezTo>
                    <a:pt x="5392" y="4055"/>
                    <a:pt x="4947" y="4211"/>
                    <a:pt x="4501" y="4361"/>
                  </a:cubicBezTo>
                  <a:cubicBezTo>
                    <a:pt x="4248" y="4447"/>
                    <a:pt x="3944" y="4508"/>
                    <a:pt x="3649" y="4508"/>
                  </a:cubicBezTo>
                  <a:cubicBezTo>
                    <a:pt x="3378" y="4508"/>
                    <a:pt x="3110" y="4458"/>
                    <a:pt x="2886" y="4336"/>
                  </a:cubicBezTo>
                  <a:cubicBezTo>
                    <a:pt x="2532" y="4144"/>
                    <a:pt x="2443" y="3773"/>
                    <a:pt x="2896" y="3619"/>
                  </a:cubicBezTo>
                  <a:cubicBezTo>
                    <a:pt x="4173" y="3191"/>
                    <a:pt x="5428" y="2707"/>
                    <a:pt x="6666" y="2164"/>
                  </a:cubicBezTo>
                  <a:cubicBezTo>
                    <a:pt x="6887" y="2069"/>
                    <a:pt x="7175" y="2015"/>
                    <a:pt x="7464" y="2015"/>
                  </a:cubicBezTo>
                  <a:cubicBezTo>
                    <a:pt x="7593" y="2015"/>
                    <a:pt x="7721" y="2026"/>
                    <a:pt x="7846" y="2047"/>
                  </a:cubicBezTo>
                  <a:cubicBezTo>
                    <a:pt x="8074" y="1901"/>
                    <a:pt x="8330" y="1794"/>
                    <a:pt x="8562" y="1794"/>
                  </a:cubicBezTo>
                  <a:cubicBezTo>
                    <a:pt x="8598" y="1794"/>
                    <a:pt x="8634" y="1797"/>
                    <a:pt x="8669" y="1805"/>
                  </a:cubicBezTo>
                  <a:cubicBezTo>
                    <a:pt x="9054" y="1865"/>
                    <a:pt x="9375" y="2079"/>
                    <a:pt x="9041" y="2490"/>
                  </a:cubicBezTo>
                  <a:cubicBezTo>
                    <a:pt x="8491" y="3153"/>
                    <a:pt x="8074" y="3841"/>
                    <a:pt x="7774" y="4600"/>
                  </a:cubicBezTo>
                  <a:cubicBezTo>
                    <a:pt x="9536" y="3398"/>
                    <a:pt x="11351" y="2283"/>
                    <a:pt x="13223" y="1256"/>
                  </a:cubicBezTo>
                  <a:cubicBezTo>
                    <a:pt x="13379" y="1170"/>
                    <a:pt x="13729" y="1091"/>
                    <a:pt x="14032" y="1091"/>
                  </a:cubicBezTo>
                  <a:cubicBezTo>
                    <a:pt x="14449" y="1091"/>
                    <a:pt x="14778" y="1238"/>
                    <a:pt x="14378" y="1701"/>
                  </a:cubicBezTo>
                  <a:cubicBezTo>
                    <a:pt x="13740" y="2447"/>
                    <a:pt x="13305" y="3220"/>
                    <a:pt x="13055" y="4116"/>
                  </a:cubicBezTo>
                  <a:cubicBezTo>
                    <a:pt x="14791" y="3156"/>
                    <a:pt x="16575" y="2111"/>
                    <a:pt x="18386" y="1494"/>
                  </a:cubicBezTo>
                  <a:cubicBezTo>
                    <a:pt x="18660" y="1402"/>
                    <a:pt x="18896" y="1359"/>
                    <a:pt x="19099" y="1359"/>
                  </a:cubicBezTo>
                  <a:cubicBezTo>
                    <a:pt x="20144" y="1359"/>
                    <a:pt x="20262" y="2514"/>
                    <a:pt x="20204" y="3630"/>
                  </a:cubicBezTo>
                  <a:cubicBezTo>
                    <a:pt x="21502" y="2892"/>
                    <a:pt x="22840" y="2229"/>
                    <a:pt x="24213" y="1634"/>
                  </a:cubicBezTo>
                  <a:cubicBezTo>
                    <a:pt x="24216" y="1630"/>
                    <a:pt x="24216" y="1623"/>
                    <a:pt x="24216" y="1619"/>
                  </a:cubicBezTo>
                  <a:cubicBezTo>
                    <a:pt x="24244" y="1109"/>
                    <a:pt x="24766" y="867"/>
                    <a:pt x="25304" y="867"/>
                  </a:cubicBezTo>
                  <a:cubicBezTo>
                    <a:pt x="25906" y="867"/>
                    <a:pt x="26530" y="1173"/>
                    <a:pt x="26499" y="1744"/>
                  </a:cubicBezTo>
                  <a:cubicBezTo>
                    <a:pt x="26477" y="2126"/>
                    <a:pt x="26438" y="2496"/>
                    <a:pt x="26384" y="2867"/>
                  </a:cubicBezTo>
                  <a:cubicBezTo>
                    <a:pt x="26591" y="2793"/>
                    <a:pt x="26798" y="2721"/>
                    <a:pt x="27004" y="2653"/>
                  </a:cubicBezTo>
                  <a:cubicBezTo>
                    <a:pt x="27236" y="2250"/>
                    <a:pt x="27483" y="1855"/>
                    <a:pt x="27743" y="1466"/>
                  </a:cubicBezTo>
                  <a:cubicBezTo>
                    <a:pt x="28220" y="746"/>
                    <a:pt x="27386" y="168"/>
                    <a:pt x="26695" y="168"/>
                  </a:cubicBezTo>
                  <a:cubicBezTo>
                    <a:pt x="26573" y="168"/>
                    <a:pt x="26459" y="186"/>
                    <a:pt x="26352" y="225"/>
                  </a:cubicBezTo>
                  <a:cubicBezTo>
                    <a:pt x="24637" y="842"/>
                    <a:pt x="23000" y="1591"/>
                    <a:pt x="21431" y="2468"/>
                  </a:cubicBezTo>
                  <a:cubicBezTo>
                    <a:pt x="21624" y="2079"/>
                    <a:pt x="21817" y="1690"/>
                    <a:pt x="22009" y="1305"/>
                  </a:cubicBezTo>
                  <a:cubicBezTo>
                    <a:pt x="22373" y="574"/>
                    <a:pt x="21702" y="0"/>
                    <a:pt x="21010" y="0"/>
                  </a:cubicBezTo>
                  <a:close/>
                  <a:moveTo>
                    <a:pt x="30485" y="3384"/>
                  </a:moveTo>
                  <a:cubicBezTo>
                    <a:pt x="28780" y="3837"/>
                    <a:pt x="27111" y="4407"/>
                    <a:pt x="25467" y="5085"/>
                  </a:cubicBezTo>
                  <a:cubicBezTo>
                    <a:pt x="25325" y="5146"/>
                    <a:pt x="25161" y="5174"/>
                    <a:pt x="24993" y="5174"/>
                  </a:cubicBezTo>
                  <a:cubicBezTo>
                    <a:pt x="24394" y="5174"/>
                    <a:pt x="23749" y="4817"/>
                    <a:pt x="23820" y="4208"/>
                  </a:cubicBezTo>
                  <a:lnTo>
                    <a:pt x="23820" y="4208"/>
                  </a:lnTo>
                  <a:cubicBezTo>
                    <a:pt x="23721" y="4437"/>
                    <a:pt x="23627" y="4668"/>
                    <a:pt x="23538" y="4903"/>
                  </a:cubicBezTo>
                  <a:cubicBezTo>
                    <a:pt x="23257" y="5627"/>
                    <a:pt x="24013" y="5920"/>
                    <a:pt x="24665" y="5920"/>
                  </a:cubicBezTo>
                  <a:cubicBezTo>
                    <a:pt x="24908" y="5920"/>
                    <a:pt x="25136" y="5880"/>
                    <a:pt x="25289" y="5806"/>
                  </a:cubicBezTo>
                  <a:cubicBezTo>
                    <a:pt x="26919" y="5021"/>
                    <a:pt x="28566" y="4276"/>
                    <a:pt x="30231" y="3570"/>
                  </a:cubicBezTo>
                  <a:lnTo>
                    <a:pt x="30231" y="3570"/>
                  </a:lnTo>
                  <a:cubicBezTo>
                    <a:pt x="30131" y="3805"/>
                    <a:pt x="30032" y="4040"/>
                    <a:pt x="29932" y="4276"/>
                  </a:cubicBezTo>
                  <a:cubicBezTo>
                    <a:pt x="29632" y="4985"/>
                    <a:pt x="30292" y="5260"/>
                    <a:pt x="30952" y="5260"/>
                  </a:cubicBezTo>
                  <a:cubicBezTo>
                    <a:pt x="31323" y="5260"/>
                    <a:pt x="31697" y="5171"/>
                    <a:pt x="31893" y="5024"/>
                  </a:cubicBezTo>
                  <a:lnTo>
                    <a:pt x="31893" y="5024"/>
                  </a:lnTo>
                  <a:cubicBezTo>
                    <a:pt x="31869" y="5036"/>
                    <a:pt x="31843" y="5042"/>
                    <a:pt x="31818" y="5049"/>
                  </a:cubicBezTo>
                  <a:cubicBezTo>
                    <a:pt x="31701" y="5082"/>
                    <a:pt x="31558" y="5100"/>
                    <a:pt x="31401" y="5100"/>
                  </a:cubicBezTo>
                  <a:cubicBezTo>
                    <a:pt x="30745" y="5100"/>
                    <a:pt x="29904" y="4786"/>
                    <a:pt x="30192" y="4044"/>
                  </a:cubicBezTo>
                  <a:cubicBezTo>
                    <a:pt x="30281" y="3816"/>
                    <a:pt x="30378" y="3594"/>
                    <a:pt x="30485" y="3384"/>
                  </a:cubicBezTo>
                  <a:close/>
                  <a:moveTo>
                    <a:pt x="24084" y="2903"/>
                  </a:moveTo>
                  <a:lnTo>
                    <a:pt x="24084" y="2903"/>
                  </a:lnTo>
                  <a:cubicBezTo>
                    <a:pt x="22447" y="3627"/>
                    <a:pt x="20875" y="4468"/>
                    <a:pt x="19353" y="5421"/>
                  </a:cubicBezTo>
                  <a:cubicBezTo>
                    <a:pt x="19242" y="5492"/>
                    <a:pt x="18785" y="5663"/>
                    <a:pt x="18443" y="5663"/>
                  </a:cubicBezTo>
                  <a:cubicBezTo>
                    <a:pt x="18208" y="5663"/>
                    <a:pt x="18026" y="5581"/>
                    <a:pt x="18051" y="5331"/>
                  </a:cubicBezTo>
                  <a:cubicBezTo>
                    <a:pt x="18065" y="5167"/>
                    <a:pt x="18122" y="4697"/>
                    <a:pt x="18150" y="4205"/>
                  </a:cubicBezTo>
                  <a:lnTo>
                    <a:pt x="18150" y="4205"/>
                  </a:lnTo>
                  <a:cubicBezTo>
                    <a:pt x="18037" y="4432"/>
                    <a:pt x="17926" y="4661"/>
                    <a:pt x="17812" y="4889"/>
                  </a:cubicBezTo>
                  <a:cubicBezTo>
                    <a:pt x="17398" y="5720"/>
                    <a:pt x="18073" y="6119"/>
                    <a:pt x="18779" y="6119"/>
                  </a:cubicBezTo>
                  <a:cubicBezTo>
                    <a:pt x="19110" y="6119"/>
                    <a:pt x="19445" y="6033"/>
                    <a:pt x="19684" y="5859"/>
                  </a:cubicBezTo>
                  <a:cubicBezTo>
                    <a:pt x="21057" y="4853"/>
                    <a:pt x="22511" y="3976"/>
                    <a:pt x="24030" y="3231"/>
                  </a:cubicBezTo>
                  <a:cubicBezTo>
                    <a:pt x="24048" y="3120"/>
                    <a:pt x="24066" y="3010"/>
                    <a:pt x="24084" y="2903"/>
                  </a:cubicBezTo>
                  <a:close/>
                  <a:moveTo>
                    <a:pt x="17987" y="2828"/>
                  </a:moveTo>
                  <a:cubicBezTo>
                    <a:pt x="17915" y="2828"/>
                    <a:pt x="16671" y="3559"/>
                    <a:pt x="16503" y="3645"/>
                  </a:cubicBezTo>
                  <a:cubicBezTo>
                    <a:pt x="15031" y="4389"/>
                    <a:pt x="13562" y="5131"/>
                    <a:pt x="12089" y="5877"/>
                  </a:cubicBezTo>
                  <a:cubicBezTo>
                    <a:pt x="11993" y="5926"/>
                    <a:pt x="11504" y="6112"/>
                    <a:pt x="11151" y="6112"/>
                  </a:cubicBezTo>
                  <a:cubicBezTo>
                    <a:pt x="10923" y="6112"/>
                    <a:pt x="10756" y="6033"/>
                    <a:pt x="10791" y="5784"/>
                  </a:cubicBezTo>
                  <a:cubicBezTo>
                    <a:pt x="10902" y="4988"/>
                    <a:pt x="11116" y="4251"/>
                    <a:pt x="11433" y="3563"/>
                  </a:cubicBezTo>
                  <a:lnTo>
                    <a:pt x="11433" y="3563"/>
                  </a:lnTo>
                  <a:cubicBezTo>
                    <a:pt x="9867" y="4514"/>
                    <a:pt x="8348" y="5534"/>
                    <a:pt x="6869" y="6622"/>
                  </a:cubicBezTo>
                  <a:cubicBezTo>
                    <a:pt x="6762" y="6700"/>
                    <a:pt x="6052" y="7021"/>
                    <a:pt x="5624" y="7021"/>
                  </a:cubicBezTo>
                  <a:cubicBezTo>
                    <a:pt x="5521" y="7021"/>
                    <a:pt x="5435" y="7004"/>
                    <a:pt x="5378" y="6957"/>
                  </a:cubicBezTo>
                  <a:lnTo>
                    <a:pt x="5378" y="6957"/>
                  </a:lnTo>
                  <a:cubicBezTo>
                    <a:pt x="5321" y="7570"/>
                    <a:pt x="5917" y="7902"/>
                    <a:pt x="6505" y="7902"/>
                  </a:cubicBezTo>
                  <a:cubicBezTo>
                    <a:pt x="6833" y="7902"/>
                    <a:pt x="7161" y="7795"/>
                    <a:pt x="7368" y="7577"/>
                  </a:cubicBezTo>
                  <a:cubicBezTo>
                    <a:pt x="8527" y="6365"/>
                    <a:pt x="9768" y="5274"/>
                    <a:pt x="11101" y="4300"/>
                  </a:cubicBezTo>
                  <a:lnTo>
                    <a:pt x="11101" y="4300"/>
                  </a:lnTo>
                  <a:cubicBezTo>
                    <a:pt x="10795" y="4886"/>
                    <a:pt x="10513" y="5481"/>
                    <a:pt x="10249" y="6098"/>
                  </a:cubicBezTo>
                  <a:cubicBezTo>
                    <a:pt x="9946" y="6804"/>
                    <a:pt x="10616" y="7085"/>
                    <a:pt x="11276" y="7085"/>
                  </a:cubicBezTo>
                  <a:cubicBezTo>
                    <a:pt x="11654" y="7085"/>
                    <a:pt x="12028" y="6996"/>
                    <a:pt x="12221" y="6840"/>
                  </a:cubicBezTo>
                  <a:cubicBezTo>
                    <a:pt x="14050" y="5374"/>
                    <a:pt x="16029" y="4126"/>
                    <a:pt x="18126" y="3113"/>
                  </a:cubicBezTo>
                  <a:cubicBezTo>
                    <a:pt x="18097" y="2971"/>
                    <a:pt x="18055" y="2867"/>
                    <a:pt x="17987" y="2828"/>
                  </a:cubicBezTo>
                  <a:close/>
                </a:path>
              </a:pathLst>
            </a:custGeom>
            <a:solidFill>
              <a:schemeClr val="accent4"/>
            </a:solid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57" name="Google Shape;2520;p58">
              <a:extLst>
                <a:ext uri="{FF2B5EF4-FFF2-40B4-BE49-F238E27FC236}">
                  <a16:creationId xmlns:a16="http://schemas.microsoft.com/office/drawing/2014/main" id="{9AB026D6-5B3E-4A2E-8120-E969D230DE27}"/>
                </a:ext>
              </a:extLst>
            </p:cNvPr>
            <p:cNvSpPr/>
            <p:nvPr/>
          </p:nvSpPr>
          <p:spPr>
            <a:xfrm>
              <a:off x="1980627" y="3951650"/>
              <a:ext cx="18078" cy="8744"/>
            </a:xfrm>
            <a:custGeom>
              <a:avLst/>
              <a:gdLst/>
              <a:ahLst/>
              <a:cxnLst/>
              <a:rect l="l" t="t" r="r" b="b"/>
              <a:pathLst>
                <a:path w="643" h="311" extrusionOk="0">
                  <a:moveTo>
                    <a:pt x="643" y="1"/>
                  </a:moveTo>
                  <a:lnTo>
                    <a:pt x="643" y="1"/>
                  </a:lnTo>
                  <a:cubicBezTo>
                    <a:pt x="429" y="103"/>
                    <a:pt x="215" y="207"/>
                    <a:pt x="1" y="311"/>
                  </a:cubicBezTo>
                  <a:cubicBezTo>
                    <a:pt x="204" y="236"/>
                    <a:pt x="404" y="157"/>
                    <a:pt x="607" y="79"/>
                  </a:cubicBezTo>
                  <a:cubicBezTo>
                    <a:pt x="618" y="54"/>
                    <a:pt x="632" y="26"/>
                    <a:pt x="643" y="1"/>
                  </a:cubicBezTo>
                  <a:close/>
                </a:path>
              </a:pathLst>
            </a:custGeom>
            <a:solidFill>
              <a:schemeClr val="accent4"/>
            </a:solid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58" name="Google Shape;2521;p58">
              <a:extLst>
                <a:ext uri="{FF2B5EF4-FFF2-40B4-BE49-F238E27FC236}">
                  <a16:creationId xmlns:a16="http://schemas.microsoft.com/office/drawing/2014/main" id="{8DAFA234-EB34-4FC3-B2D4-04715F245402}"/>
                </a:ext>
              </a:extLst>
            </p:cNvPr>
            <p:cNvSpPr/>
            <p:nvPr/>
          </p:nvSpPr>
          <p:spPr>
            <a:xfrm>
              <a:off x="1885292" y="3907623"/>
              <a:ext cx="151905" cy="70119"/>
            </a:xfrm>
            <a:custGeom>
              <a:avLst/>
              <a:gdLst/>
              <a:ahLst/>
              <a:cxnLst/>
              <a:rect l="l" t="t" r="r" b="b"/>
              <a:pathLst>
                <a:path w="5403" h="2494" extrusionOk="0">
                  <a:moveTo>
                    <a:pt x="5021" y="1"/>
                  </a:moveTo>
                  <a:cubicBezTo>
                    <a:pt x="4732" y="1"/>
                    <a:pt x="4444" y="55"/>
                    <a:pt x="4223" y="150"/>
                  </a:cubicBezTo>
                  <a:cubicBezTo>
                    <a:pt x="2985" y="693"/>
                    <a:pt x="1730" y="1177"/>
                    <a:pt x="453" y="1605"/>
                  </a:cubicBezTo>
                  <a:cubicBezTo>
                    <a:pt x="0" y="1759"/>
                    <a:pt x="89" y="2130"/>
                    <a:pt x="443" y="2322"/>
                  </a:cubicBezTo>
                  <a:cubicBezTo>
                    <a:pt x="667" y="2444"/>
                    <a:pt x="935" y="2494"/>
                    <a:pt x="1206" y="2494"/>
                  </a:cubicBezTo>
                  <a:cubicBezTo>
                    <a:pt x="1501" y="2494"/>
                    <a:pt x="1805" y="2433"/>
                    <a:pt x="2058" y="2347"/>
                  </a:cubicBezTo>
                  <a:cubicBezTo>
                    <a:pt x="2504" y="2197"/>
                    <a:pt x="2949" y="2041"/>
                    <a:pt x="3392" y="1877"/>
                  </a:cubicBezTo>
                  <a:cubicBezTo>
                    <a:pt x="3606" y="1773"/>
                    <a:pt x="3820" y="1669"/>
                    <a:pt x="4034" y="1567"/>
                  </a:cubicBezTo>
                  <a:lnTo>
                    <a:pt x="4034" y="1567"/>
                  </a:lnTo>
                  <a:cubicBezTo>
                    <a:pt x="4023" y="1592"/>
                    <a:pt x="4009" y="1620"/>
                    <a:pt x="3998" y="1645"/>
                  </a:cubicBezTo>
                  <a:cubicBezTo>
                    <a:pt x="4012" y="1641"/>
                    <a:pt x="4023" y="1638"/>
                    <a:pt x="4037" y="1631"/>
                  </a:cubicBezTo>
                  <a:cubicBezTo>
                    <a:pt x="4261" y="1260"/>
                    <a:pt x="4518" y="903"/>
                    <a:pt x="4804" y="553"/>
                  </a:cubicBezTo>
                  <a:cubicBezTo>
                    <a:pt x="4939" y="390"/>
                    <a:pt x="5156" y="190"/>
                    <a:pt x="5403" y="33"/>
                  </a:cubicBezTo>
                  <a:cubicBezTo>
                    <a:pt x="5278" y="12"/>
                    <a:pt x="5150" y="1"/>
                    <a:pt x="5021" y="1"/>
                  </a:cubicBezTo>
                  <a:close/>
                </a:path>
              </a:pathLst>
            </a:custGeom>
            <a:solidFill>
              <a:schemeClr val="accent4"/>
            </a:solid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59" name="Google Shape;2522;p58">
              <a:extLst>
                <a:ext uri="{FF2B5EF4-FFF2-40B4-BE49-F238E27FC236}">
                  <a16:creationId xmlns:a16="http://schemas.microsoft.com/office/drawing/2014/main" id="{96D3DEFC-2E59-4D60-9C21-1AF832F93885}"/>
                </a:ext>
              </a:extLst>
            </p:cNvPr>
            <p:cNvSpPr/>
            <p:nvPr/>
          </p:nvSpPr>
          <p:spPr>
            <a:xfrm>
              <a:off x="1965080" y="3928906"/>
              <a:ext cx="381802" cy="117689"/>
            </a:xfrm>
            <a:custGeom>
              <a:avLst/>
              <a:gdLst/>
              <a:ahLst/>
              <a:cxnLst/>
              <a:rect l="l" t="t" r="r" b="b"/>
              <a:pathLst>
                <a:path w="13580" h="4186" extrusionOk="0">
                  <a:moveTo>
                    <a:pt x="13580" y="0"/>
                  </a:moveTo>
                  <a:lnTo>
                    <a:pt x="13580" y="0"/>
                  </a:lnTo>
                  <a:cubicBezTo>
                    <a:pt x="13333" y="111"/>
                    <a:pt x="13091" y="224"/>
                    <a:pt x="12845" y="342"/>
                  </a:cubicBezTo>
                  <a:cubicBezTo>
                    <a:pt x="12898" y="613"/>
                    <a:pt x="12895" y="1031"/>
                    <a:pt x="12869" y="1434"/>
                  </a:cubicBezTo>
                  <a:cubicBezTo>
                    <a:pt x="13109" y="955"/>
                    <a:pt x="13344" y="478"/>
                    <a:pt x="13580" y="0"/>
                  </a:cubicBezTo>
                  <a:close/>
                  <a:moveTo>
                    <a:pt x="1078" y="1080"/>
                  </a:moveTo>
                  <a:lnTo>
                    <a:pt x="1078" y="1080"/>
                  </a:lnTo>
                  <a:cubicBezTo>
                    <a:pt x="579" y="1954"/>
                    <a:pt x="236" y="2892"/>
                    <a:pt x="29" y="3922"/>
                  </a:cubicBezTo>
                  <a:cubicBezTo>
                    <a:pt x="1" y="4051"/>
                    <a:pt x="29" y="4136"/>
                    <a:pt x="97" y="4186"/>
                  </a:cubicBezTo>
                  <a:cubicBezTo>
                    <a:pt x="101" y="4147"/>
                    <a:pt x="108" y="4108"/>
                    <a:pt x="115" y="4065"/>
                  </a:cubicBezTo>
                  <a:cubicBezTo>
                    <a:pt x="347" y="3030"/>
                    <a:pt x="668" y="2036"/>
                    <a:pt x="1078" y="1080"/>
                  </a:cubicBezTo>
                  <a:close/>
                </a:path>
              </a:pathLst>
            </a:custGeom>
            <a:solidFill>
              <a:schemeClr val="accent4"/>
            </a:solid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60" name="Google Shape;2523;p58">
              <a:extLst>
                <a:ext uri="{FF2B5EF4-FFF2-40B4-BE49-F238E27FC236}">
                  <a16:creationId xmlns:a16="http://schemas.microsoft.com/office/drawing/2014/main" id="{256D2D3F-1F75-4FBF-A6BB-48E432A0F2AB}"/>
                </a:ext>
              </a:extLst>
            </p:cNvPr>
            <p:cNvSpPr/>
            <p:nvPr/>
          </p:nvSpPr>
          <p:spPr>
            <a:xfrm>
              <a:off x="1967779" y="3881674"/>
              <a:ext cx="529574" cy="166722"/>
            </a:xfrm>
            <a:custGeom>
              <a:avLst/>
              <a:gdLst/>
              <a:ahLst/>
              <a:cxnLst/>
              <a:rect l="l" t="t" r="r" b="b"/>
              <a:pathLst>
                <a:path w="18836" h="5930" extrusionOk="0">
                  <a:moveTo>
                    <a:pt x="8655" y="0"/>
                  </a:moveTo>
                  <a:cubicBezTo>
                    <a:pt x="8352" y="0"/>
                    <a:pt x="8002" y="79"/>
                    <a:pt x="7846" y="165"/>
                  </a:cubicBezTo>
                  <a:cubicBezTo>
                    <a:pt x="5974" y="1192"/>
                    <a:pt x="4159" y="2307"/>
                    <a:pt x="2397" y="3509"/>
                  </a:cubicBezTo>
                  <a:cubicBezTo>
                    <a:pt x="2697" y="2750"/>
                    <a:pt x="3114" y="2062"/>
                    <a:pt x="3664" y="1399"/>
                  </a:cubicBezTo>
                  <a:cubicBezTo>
                    <a:pt x="3998" y="988"/>
                    <a:pt x="3677" y="774"/>
                    <a:pt x="3292" y="714"/>
                  </a:cubicBezTo>
                  <a:cubicBezTo>
                    <a:pt x="3257" y="706"/>
                    <a:pt x="3221" y="703"/>
                    <a:pt x="3185" y="703"/>
                  </a:cubicBezTo>
                  <a:cubicBezTo>
                    <a:pt x="2953" y="703"/>
                    <a:pt x="2697" y="810"/>
                    <a:pt x="2469" y="956"/>
                  </a:cubicBezTo>
                  <a:cubicBezTo>
                    <a:pt x="2629" y="984"/>
                    <a:pt x="2779" y="1031"/>
                    <a:pt x="2904" y="1103"/>
                  </a:cubicBezTo>
                  <a:cubicBezTo>
                    <a:pt x="3285" y="1305"/>
                    <a:pt x="3317" y="1630"/>
                    <a:pt x="2893" y="1815"/>
                  </a:cubicBezTo>
                  <a:cubicBezTo>
                    <a:pt x="2301" y="2076"/>
                    <a:pt x="1706" y="2322"/>
                    <a:pt x="1103" y="2554"/>
                  </a:cubicBezTo>
                  <a:cubicBezTo>
                    <a:pt x="1060" y="2622"/>
                    <a:pt x="1021" y="2693"/>
                    <a:pt x="982" y="2760"/>
                  </a:cubicBezTo>
                  <a:cubicBezTo>
                    <a:pt x="572" y="3716"/>
                    <a:pt x="251" y="4710"/>
                    <a:pt x="19" y="5745"/>
                  </a:cubicBezTo>
                  <a:cubicBezTo>
                    <a:pt x="12" y="5788"/>
                    <a:pt x="5" y="5827"/>
                    <a:pt x="1" y="5866"/>
                  </a:cubicBezTo>
                  <a:cubicBezTo>
                    <a:pt x="58" y="5913"/>
                    <a:pt x="144" y="5930"/>
                    <a:pt x="247" y="5930"/>
                  </a:cubicBezTo>
                  <a:cubicBezTo>
                    <a:pt x="675" y="5930"/>
                    <a:pt x="1385" y="5609"/>
                    <a:pt x="1492" y="5531"/>
                  </a:cubicBezTo>
                  <a:cubicBezTo>
                    <a:pt x="2971" y="4443"/>
                    <a:pt x="4490" y="3423"/>
                    <a:pt x="6056" y="2472"/>
                  </a:cubicBezTo>
                  <a:lnTo>
                    <a:pt x="6056" y="2472"/>
                  </a:lnTo>
                  <a:cubicBezTo>
                    <a:pt x="5739" y="3160"/>
                    <a:pt x="5525" y="3897"/>
                    <a:pt x="5414" y="4693"/>
                  </a:cubicBezTo>
                  <a:cubicBezTo>
                    <a:pt x="5379" y="4942"/>
                    <a:pt x="5546" y="5021"/>
                    <a:pt x="5774" y="5021"/>
                  </a:cubicBezTo>
                  <a:cubicBezTo>
                    <a:pt x="6127" y="5021"/>
                    <a:pt x="6616" y="4835"/>
                    <a:pt x="6712" y="4786"/>
                  </a:cubicBezTo>
                  <a:cubicBezTo>
                    <a:pt x="8185" y="4040"/>
                    <a:pt x="9654" y="3298"/>
                    <a:pt x="11126" y="2554"/>
                  </a:cubicBezTo>
                  <a:cubicBezTo>
                    <a:pt x="11294" y="2468"/>
                    <a:pt x="12538" y="1737"/>
                    <a:pt x="12610" y="1737"/>
                  </a:cubicBezTo>
                  <a:cubicBezTo>
                    <a:pt x="12678" y="1776"/>
                    <a:pt x="12720" y="1880"/>
                    <a:pt x="12749" y="2022"/>
                  </a:cubicBezTo>
                  <a:cubicBezTo>
                    <a:pt x="12995" y="1904"/>
                    <a:pt x="13237" y="1791"/>
                    <a:pt x="13484" y="1680"/>
                  </a:cubicBezTo>
                  <a:lnTo>
                    <a:pt x="13484" y="1680"/>
                  </a:lnTo>
                  <a:cubicBezTo>
                    <a:pt x="13248" y="2158"/>
                    <a:pt x="13013" y="2635"/>
                    <a:pt x="12773" y="3114"/>
                  </a:cubicBezTo>
                  <a:cubicBezTo>
                    <a:pt x="12745" y="3606"/>
                    <a:pt x="12688" y="4076"/>
                    <a:pt x="12674" y="4240"/>
                  </a:cubicBezTo>
                  <a:cubicBezTo>
                    <a:pt x="12649" y="4490"/>
                    <a:pt x="12831" y="4572"/>
                    <a:pt x="13066" y="4572"/>
                  </a:cubicBezTo>
                  <a:cubicBezTo>
                    <a:pt x="13408" y="4572"/>
                    <a:pt x="13865" y="4401"/>
                    <a:pt x="13976" y="4330"/>
                  </a:cubicBezTo>
                  <a:cubicBezTo>
                    <a:pt x="15498" y="3377"/>
                    <a:pt x="17070" y="2536"/>
                    <a:pt x="18707" y="1812"/>
                  </a:cubicBezTo>
                  <a:cubicBezTo>
                    <a:pt x="18772" y="1391"/>
                    <a:pt x="18811" y="974"/>
                    <a:pt x="18836" y="543"/>
                  </a:cubicBezTo>
                  <a:lnTo>
                    <a:pt x="18836" y="543"/>
                  </a:lnTo>
                  <a:cubicBezTo>
                    <a:pt x="17463" y="1138"/>
                    <a:pt x="16125" y="1801"/>
                    <a:pt x="14827" y="2539"/>
                  </a:cubicBezTo>
                  <a:cubicBezTo>
                    <a:pt x="14885" y="1423"/>
                    <a:pt x="14767" y="268"/>
                    <a:pt x="13722" y="268"/>
                  </a:cubicBezTo>
                  <a:cubicBezTo>
                    <a:pt x="13519" y="268"/>
                    <a:pt x="13283" y="311"/>
                    <a:pt x="13009" y="403"/>
                  </a:cubicBezTo>
                  <a:cubicBezTo>
                    <a:pt x="11198" y="1020"/>
                    <a:pt x="9414" y="2065"/>
                    <a:pt x="7678" y="3025"/>
                  </a:cubicBezTo>
                  <a:cubicBezTo>
                    <a:pt x="7928" y="2129"/>
                    <a:pt x="8363" y="1356"/>
                    <a:pt x="9001" y="610"/>
                  </a:cubicBezTo>
                  <a:cubicBezTo>
                    <a:pt x="9401" y="147"/>
                    <a:pt x="9072" y="0"/>
                    <a:pt x="8655" y="0"/>
                  </a:cubicBezTo>
                  <a:close/>
                </a:path>
              </a:pathLst>
            </a:custGeom>
            <a:solidFill>
              <a:schemeClr val="accent4"/>
            </a:solid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61" name="Google Shape;2524;p58">
              <a:extLst>
                <a:ext uri="{FF2B5EF4-FFF2-40B4-BE49-F238E27FC236}">
                  <a16:creationId xmlns:a16="http://schemas.microsoft.com/office/drawing/2014/main" id="{BAEDF48A-9E82-4B9C-A5CB-5076953C849F}"/>
                </a:ext>
              </a:extLst>
            </p:cNvPr>
            <p:cNvSpPr/>
            <p:nvPr/>
          </p:nvSpPr>
          <p:spPr>
            <a:xfrm>
              <a:off x="1998789" y="3908551"/>
              <a:ext cx="62247" cy="44928"/>
            </a:xfrm>
            <a:custGeom>
              <a:avLst/>
              <a:gdLst/>
              <a:ahLst/>
              <a:cxnLst/>
              <a:rect l="l" t="t" r="r" b="b"/>
              <a:pathLst>
                <a:path w="2214" h="1598" extrusionOk="0">
                  <a:moveTo>
                    <a:pt x="1366" y="0"/>
                  </a:moveTo>
                  <a:cubicBezTo>
                    <a:pt x="1119" y="157"/>
                    <a:pt x="902" y="357"/>
                    <a:pt x="767" y="520"/>
                  </a:cubicBezTo>
                  <a:cubicBezTo>
                    <a:pt x="481" y="870"/>
                    <a:pt x="224" y="1227"/>
                    <a:pt x="0" y="1598"/>
                  </a:cubicBezTo>
                  <a:cubicBezTo>
                    <a:pt x="603" y="1366"/>
                    <a:pt x="1198" y="1120"/>
                    <a:pt x="1790" y="859"/>
                  </a:cubicBezTo>
                  <a:cubicBezTo>
                    <a:pt x="2214" y="674"/>
                    <a:pt x="2182" y="349"/>
                    <a:pt x="1801" y="147"/>
                  </a:cubicBezTo>
                  <a:cubicBezTo>
                    <a:pt x="1676" y="75"/>
                    <a:pt x="1526" y="28"/>
                    <a:pt x="1366" y="0"/>
                  </a:cubicBezTo>
                  <a:close/>
                </a:path>
              </a:pathLst>
            </a:custGeom>
            <a:solidFill>
              <a:schemeClr val="accent4"/>
            </a:solid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62" name="Google Shape;2525;p58">
              <a:extLst>
                <a:ext uri="{FF2B5EF4-FFF2-40B4-BE49-F238E27FC236}">
                  <a16:creationId xmlns:a16="http://schemas.microsoft.com/office/drawing/2014/main" id="{331AD95D-28CB-404B-94C7-09D81FD98EB6}"/>
                </a:ext>
              </a:extLst>
            </p:cNvPr>
            <p:cNvSpPr/>
            <p:nvPr/>
          </p:nvSpPr>
          <p:spPr>
            <a:xfrm>
              <a:off x="2486262" y="3887494"/>
              <a:ext cx="316153" cy="104785"/>
            </a:xfrm>
            <a:custGeom>
              <a:avLst/>
              <a:gdLst/>
              <a:ahLst/>
              <a:cxnLst/>
              <a:rect l="l" t="t" r="r" b="b"/>
              <a:pathLst>
                <a:path w="11245" h="3727" extrusionOk="0">
                  <a:moveTo>
                    <a:pt x="9404" y="0"/>
                  </a:moveTo>
                  <a:cubicBezTo>
                    <a:pt x="9536" y="172"/>
                    <a:pt x="9586" y="382"/>
                    <a:pt x="9483" y="624"/>
                  </a:cubicBezTo>
                  <a:cubicBezTo>
                    <a:pt x="9436" y="738"/>
                    <a:pt x="9386" y="853"/>
                    <a:pt x="9340" y="963"/>
                  </a:cubicBezTo>
                  <a:cubicBezTo>
                    <a:pt x="9604" y="878"/>
                    <a:pt x="9875" y="802"/>
                    <a:pt x="10150" y="738"/>
                  </a:cubicBezTo>
                  <a:cubicBezTo>
                    <a:pt x="10150" y="417"/>
                    <a:pt x="9793" y="143"/>
                    <a:pt x="9404" y="0"/>
                  </a:cubicBezTo>
                  <a:close/>
                  <a:moveTo>
                    <a:pt x="5364" y="688"/>
                  </a:moveTo>
                  <a:lnTo>
                    <a:pt x="5364" y="688"/>
                  </a:lnTo>
                  <a:cubicBezTo>
                    <a:pt x="4633" y="892"/>
                    <a:pt x="3906" y="1113"/>
                    <a:pt x="3185" y="1355"/>
                  </a:cubicBezTo>
                  <a:cubicBezTo>
                    <a:pt x="3111" y="1480"/>
                    <a:pt x="3043" y="1608"/>
                    <a:pt x="2971" y="1733"/>
                  </a:cubicBezTo>
                  <a:cubicBezTo>
                    <a:pt x="3766" y="1376"/>
                    <a:pt x="4562" y="1031"/>
                    <a:pt x="5364" y="688"/>
                  </a:cubicBezTo>
                  <a:close/>
                  <a:moveTo>
                    <a:pt x="511" y="1786"/>
                  </a:moveTo>
                  <a:cubicBezTo>
                    <a:pt x="412" y="1837"/>
                    <a:pt x="312" y="1883"/>
                    <a:pt x="211" y="1933"/>
                  </a:cubicBezTo>
                  <a:cubicBezTo>
                    <a:pt x="162" y="2219"/>
                    <a:pt x="98" y="2500"/>
                    <a:pt x="22" y="2785"/>
                  </a:cubicBezTo>
                  <a:cubicBezTo>
                    <a:pt x="12" y="2828"/>
                    <a:pt x="5" y="2871"/>
                    <a:pt x="1" y="2910"/>
                  </a:cubicBezTo>
                  <a:cubicBezTo>
                    <a:pt x="162" y="2528"/>
                    <a:pt x="333" y="2158"/>
                    <a:pt x="511" y="1786"/>
                  </a:cubicBezTo>
                  <a:close/>
                  <a:moveTo>
                    <a:pt x="11233" y="2397"/>
                  </a:moveTo>
                  <a:lnTo>
                    <a:pt x="11233" y="2397"/>
                  </a:lnTo>
                  <a:cubicBezTo>
                    <a:pt x="10103" y="2543"/>
                    <a:pt x="9034" y="2984"/>
                    <a:pt x="8085" y="3720"/>
                  </a:cubicBezTo>
                  <a:cubicBezTo>
                    <a:pt x="8082" y="3722"/>
                    <a:pt x="8080" y="3724"/>
                    <a:pt x="8078" y="3725"/>
                  </a:cubicBezTo>
                  <a:lnTo>
                    <a:pt x="8078" y="3725"/>
                  </a:lnTo>
                  <a:cubicBezTo>
                    <a:pt x="8929" y="3476"/>
                    <a:pt x="9779" y="3227"/>
                    <a:pt x="10634" y="2978"/>
                  </a:cubicBezTo>
                  <a:cubicBezTo>
                    <a:pt x="11076" y="2846"/>
                    <a:pt x="11244" y="2628"/>
                    <a:pt x="11233" y="2397"/>
                  </a:cubicBezTo>
                  <a:close/>
                  <a:moveTo>
                    <a:pt x="8078" y="3725"/>
                  </a:moveTo>
                  <a:cubicBezTo>
                    <a:pt x="8077" y="3726"/>
                    <a:pt x="8076" y="3726"/>
                    <a:pt x="8074" y="3726"/>
                  </a:cubicBezTo>
                  <a:cubicBezTo>
                    <a:pt x="8076" y="3726"/>
                    <a:pt x="8077" y="3726"/>
                    <a:pt x="8078" y="3725"/>
                  </a:cubicBezTo>
                  <a:close/>
                </a:path>
              </a:pathLst>
            </a:custGeom>
            <a:solidFill>
              <a:schemeClr val="accent4"/>
            </a:solid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63" name="Google Shape;2526;p58">
              <a:extLst>
                <a:ext uri="{FF2B5EF4-FFF2-40B4-BE49-F238E27FC236}">
                  <a16:creationId xmlns:a16="http://schemas.microsoft.com/office/drawing/2014/main" id="{BA2B31AA-1F55-4DAA-9DF0-3472EC7E6ACE}"/>
                </a:ext>
              </a:extLst>
            </p:cNvPr>
            <p:cNvSpPr/>
            <p:nvPr/>
          </p:nvSpPr>
          <p:spPr>
            <a:xfrm>
              <a:off x="2484266" y="3875376"/>
              <a:ext cx="317840" cy="121119"/>
            </a:xfrm>
            <a:custGeom>
              <a:avLst/>
              <a:gdLst/>
              <a:ahLst/>
              <a:cxnLst/>
              <a:rect l="l" t="t" r="r" b="b"/>
              <a:pathLst>
                <a:path w="11305" h="4308" extrusionOk="0">
                  <a:moveTo>
                    <a:pt x="1556" y="0"/>
                  </a:moveTo>
                  <a:cubicBezTo>
                    <a:pt x="1018" y="0"/>
                    <a:pt x="496" y="242"/>
                    <a:pt x="468" y="752"/>
                  </a:cubicBezTo>
                  <a:cubicBezTo>
                    <a:pt x="468" y="756"/>
                    <a:pt x="468" y="763"/>
                    <a:pt x="465" y="767"/>
                  </a:cubicBezTo>
                  <a:cubicBezTo>
                    <a:pt x="707" y="660"/>
                    <a:pt x="953" y="560"/>
                    <a:pt x="1196" y="456"/>
                  </a:cubicBezTo>
                  <a:cubicBezTo>
                    <a:pt x="1438" y="356"/>
                    <a:pt x="1623" y="313"/>
                    <a:pt x="1762" y="313"/>
                  </a:cubicBezTo>
                  <a:cubicBezTo>
                    <a:pt x="2447" y="313"/>
                    <a:pt x="1969" y="1348"/>
                    <a:pt x="1163" y="1679"/>
                  </a:cubicBezTo>
                  <a:cubicBezTo>
                    <a:pt x="885" y="1794"/>
                    <a:pt x="611" y="1914"/>
                    <a:pt x="336" y="2036"/>
                  </a:cubicBezTo>
                  <a:cubicBezTo>
                    <a:pt x="318" y="2143"/>
                    <a:pt x="300" y="2253"/>
                    <a:pt x="282" y="2364"/>
                  </a:cubicBezTo>
                  <a:cubicBezTo>
                    <a:pt x="383" y="2314"/>
                    <a:pt x="483" y="2268"/>
                    <a:pt x="582" y="2217"/>
                  </a:cubicBezTo>
                  <a:lnTo>
                    <a:pt x="582" y="2217"/>
                  </a:lnTo>
                  <a:cubicBezTo>
                    <a:pt x="404" y="2589"/>
                    <a:pt x="233" y="2959"/>
                    <a:pt x="72" y="3341"/>
                  </a:cubicBezTo>
                  <a:cubicBezTo>
                    <a:pt x="1" y="3950"/>
                    <a:pt x="646" y="4307"/>
                    <a:pt x="1245" y="4307"/>
                  </a:cubicBezTo>
                  <a:cubicBezTo>
                    <a:pt x="1413" y="4307"/>
                    <a:pt x="1577" y="4279"/>
                    <a:pt x="1719" y="4218"/>
                  </a:cubicBezTo>
                  <a:cubicBezTo>
                    <a:pt x="3363" y="3540"/>
                    <a:pt x="5032" y="2970"/>
                    <a:pt x="6737" y="2517"/>
                  </a:cubicBezTo>
                  <a:lnTo>
                    <a:pt x="6737" y="2517"/>
                  </a:lnTo>
                  <a:cubicBezTo>
                    <a:pt x="6630" y="2727"/>
                    <a:pt x="6533" y="2949"/>
                    <a:pt x="6444" y="3177"/>
                  </a:cubicBezTo>
                  <a:cubicBezTo>
                    <a:pt x="6156" y="3919"/>
                    <a:pt x="6997" y="4233"/>
                    <a:pt x="7653" y="4233"/>
                  </a:cubicBezTo>
                  <a:cubicBezTo>
                    <a:pt x="7810" y="4233"/>
                    <a:pt x="7953" y="4215"/>
                    <a:pt x="8070" y="4182"/>
                  </a:cubicBezTo>
                  <a:cubicBezTo>
                    <a:pt x="8095" y="4175"/>
                    <a:pt x="8121" y="4169"/>
                    <a:pt x="8145" y="4157"/>
                  </a:cubicBezTo>
                  <a:cubicBezTo>
                    <a:pt x="8149" y="4157"/>
                    <a:pt x="8152" y="4154"/>
                    <a:pt x="8156" y="4151"/>
                  </a:cubicBezTo>
                  <a:cubicBezTo>
                    <a:pt x="9105" y="3415"/>
                    <a:pt x="10174" y="2974"/>
                    <a:pt x="11304" y="2828"/>
                  </a:cubicBezTo>
                  <a:cubicBezTo>
                    <a:pt x="11283" y="2389"/>
                    <a:pt x="10616" y="1908"/>
                    <a:pt x="9964" y="1908"/>
                  </a:cubicBezTo>
                  <a:cubicBezTo>
                    <a:pt x="9871" y="1908"/>
                    <a:pt x="9782" y="1914"/>
                    <a:pt x="9693" y="1936"/>
                  </a:cubicBezTo>
                  <a:cubicBezTo>
                    <a:pt x="9793" y="1822"/>
                    <a:pt x="9900" y="1708"/>
                    <a:pt x="10010" y="1597"/>
                  </a:cubicBezTo>
                  <a:cubicBezTo>
                    <a:pt x="10160" y="1451"/>
                    <a:pt x="10221" y="1305"/>
                    <a:pt x="10221" y="1169"/>
                  </a:cubicBezTo>
                  <a:lnTo>
                    <a:pt x="10221" y="1169"/>
                  </a:lnTo>
                  <a:cubicBezTo>
                    <a:pt x="9946" y="1233"/>
                    <a:pt x="9675" y="1309"/>
                    <a:pt x="9411" y="1394"/>
                  </a:cubicBezTo>
                  <a:cubicBezTo>
                    <a:pt x="9457" y="1284"/>
                    <a:pt x="9507" y="1169"/>
                    <a:pt x="9554" y="1055"/>
                  </a:cubicBezTo>
                  <a:cubicBezTo>
                    <a:pt x="9657" y="813"/>
                    <a:pt x="9607" y="603"/>
                    <a:pt x="9475" y="431"/>
                  </a:cubicBezTo>
                  <a:cubicBezTo>
                    <a:pt x="9293" y="367"/>
                    <a:pt x="9105" y="328"/>
                    <a:pt x="8940" y="328"/>
                  </a:cubicBezTo>
                  <a:cubicBezTo>
                    <a:pt x="8887" y="328"/>
                    <a:pt x="8833" y="331"/>
                    <a:pt x="8787" y="342"/>
                  </a:cubicBezTo>
                  <a:cubicBezTo>
                    <a:pt x="7657" y="556"/>
                    <a:pt x="6541" y="816"/>
                    <a:pt x="5435" y="1119"/>
                  </a:cubicBezTo>
                  <a:cubicBezTo>
                    <a:pt x="4633" y="1462"/>
                    <a:pt x="3837" y="1807"/>
                    <a:pt x="3042" y="2164"/>
                  </a:cubicBezTo>
                  <a:cubicBezTo>
                    <a:pt x="3114" y="2039"/>
                    <a:pt x="3182" y="1911"/>
                    <a:pt x="3256" y="1786"/>
                  </a:cubicBezTo>
                  <a:lnTo>
                    <a:pt x="3256" y="1786"/>
                  </a:lnTo>
                  <a:cubicBezTo>
                    <a:pt x="3050" y="1854"/>
                    <a:pt x="2843" y="1926"/>
                    <a:pt x="2636" y="2000"/>
                  </a:cubicBezTo>
                  <a:cubicBezTo>
                    <a:pt x="2690" y="1629"/>
                    <a:pt x="2729" y="1259"/>
                    <a:pt x="2751" y="877"/>
                  </a:cubicBezTo>
                  <a:cubicBezTo>
                    <a:pt x="2782" y="306"/>
                    <a:pt x="2158" y="0"/>
                    <a:pt x="1556" y="0"/>
                  </a:cubicBezTo>
                  <a:close/>
                </a:path>
              </a:pathLst>
            </a:custGeom>
            <a:solidFill>
              <a:schemeClr val="accent4"/>
            </a:solid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64" name="Google Shape;2527;p58">
              <a:extLst>
                <a:ext uri="{FF2B5EF4-FFF2-40B4-BE49-F238E27FC236}">
                  <a16:creationId xmlns:a16="http://schemas.microsoft.com/office/drawing/2014/main" id="{19C869AE-6BDC-4C23-9598-68F413159149}"/>
                </a:ext>
              </a:extLst>
            </p:cNvPr>
            <p:cNvSpPr/>
            <p:nvPr/>
          </p:nvSpPr>
          <p:spPr>
            <a:xfrm>
              <a:off x="2493712" y="3884176"/>
              <a:ext cx="59351" cy="48442"/>
            </a:xfrm>
            <a:custGeom>
              <a:avLst/>
              <a:gdLst/>
              <a:ahLst/>
              <a:cxnLst/>
              <a:rect l="l" t="t" r="r" b="b"/>
              <a:pathLst>
                <a:path w="2111" h="1723" extrusionOk="0">
                  <a:moveTo>
                    <a:pt x="1426" y="0"/>
                  </a:moveTo>
                  <a:cubicBezTo>
                    <a:pt x="1287" y="0"/>
                    <a:pt x="1102" y="43"/>
                    <a:pt x="860" y="143"/>
                  </a:cubicBezTo>
                  <a:cubicBezTo>
                    <a:pt x="617" y="247"/>
                    <a:pt x="371" y="347"/>
                    <a:pt x="129" y="454"/>
                  </a:cubicBezTo>
                  <a:cubicBezTo>
                    <a:pt x="104" y="885"/>
                    <a:pt x="65" y="1302"/>
                    <a:pt x="0" y="1723"/>
                  </a:cubicBezTo>
                  <a:cubicBezTo>
                    <a:pt x="275" y="1601"/>
                    <a:pt x="549" y="1481"/>
                    <a:pt x="827" y="1366"/>
                  </a:cubicBezTo>
                  <a:cubicBezTo>
                    <a:pt x="1633" y="1035"/>
                    <a:pt x="2111" y="0"/>
                    <a:pt x="1426" y="0"/>
                  </a:cubicBezTo>
                  <a:close/>
                </a:path>
              </a:pathLst>
            </a:custGeom>
            <a:solidFill>
              <a:schemeClr val="accent4"/>
            </a:solid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grpSp>
      <p:grpSp>
        <p:nvGrpSpPr>
          <p:cNvPr id="65" name="Google Shape;2528;p58">
            <a:extLst>
              <a:ext uri="{FF2B5EF4-FFF2-40B4-BE49-F238E27FC236}">
                <a16:creationId xmlns:a16="http://schemas.microsoft.com/office/drawing/2014/main" id="{7F810047-BBAC-42F9-BD13-09FA6D4EC9AE}"/>
              </a:ext>
            </a:extLst>
          </p:cNvPr>
          <p:cNvGrpSpPr/>
          <p:nvPr/>
        </p:nvGrpSpPr>
        <p:grpSpPr>
          <a:xfrm>
            <a:off x="7443732" y="6241067"/>
            <a:ext cx="1745583" cy="230173"/>
            <a:chOff x="1394800" y="3522000"/>
            <a:chExt cx="1048650" cy="138275"/>
          </a:xfrm>
        </p:grpSpPr>
        <p:sp>
          <p:nvSpPr>
            <p:cNvPr id="66" name="Google Shape;2529;p58">
              <a:extLst>
                <a:ext uri="{FF2B5EF4-FFF2-40B4-BE49-F238E27FC236}">
                  <a16:creationId xmlns:a16="http://schemas.microsoft.com/office/drawing/2014/main" id="{F94E9715-95EE-4741-8E88-5D5FDFA50DAC}"/>
                </a:ext>
              </a:extLst>
            </p:cNvPr>
            <p:cNvSpPr/>
            <p:nvPr/>
          </p:nvSpPr>
          <p:spPr>
            <a:xfrm>
              <a:off x="1394800" y="3522000"/>
              <a:ext cx="1048650" cy="125000"/>
            </a:xfrm>
            <a:custGeom>
              <a:avLst/>
              <a:gdLst/>
              <a:ahLst/>
              <a:cxnLst/>
              <a:rect l="l" t="t" r="r" b="b"/>
              <a:pathLst>
                <a:path w="41946" h="5000" extrusionOk="0">
                  <a:moveTo>
                    <a:pt x="39862" y="375"/>
                  </a:moveTo>
                  <a:cubicBezTo>
                    <a:pt x="39752" y="375"/>
                    <a:pt x="39641" y="393"/>
                    <a:pt x="39545" y="429"/>
                  </a:cubicBezTo>
                  <a:cubicBezTo>
                    <a:pt x="38422" y="860"/>
                    <a:pt x="37231" y="1220"/>
                    <a:pt x="36143" y="1737"/>
                  </a:cubicBezTo>
                  <a:cubicBezTo>
                    <a:pt x="35848" y="1880"/>
                    <a:pt x="35723" y="1951"/>
                    <a:pt x="35630" y="1951"/>
                  </a:cubicBezTo>
                  <a:cubicBezTo>
                    <a:pt x="35516" y="1951"/>
                    <a:pt x="35452" y="1837"/>
                    <a:pt x="35173" y="1598"/>
                  </a:cubicBezTo>
                  <a:cubicBezTo>
                    <a:pt x="34984" y="1431"/>
                    <a:pt x="34785" y="1277"/>
                    <a:pt x="34571" y="1141"/>
                  </a:cubicBezTo>
                  <a:lnTo>
                    <a:pt x="34571" y="1141"/>
                  </a:lnTo>
                  <a:cubicBezTo>
                    <a:pt x="34760" y="1337"/>
                    <a:pt x="34920" y="1576"/>
                    <a:pt x="35020" y="1741"/>
                  </a:cubicBezTo>
                  <a:cubicBezTo>
                    <a:pt x="35131" y="1926"/>
                    <a:pt x="35491" y="2693"/>
                    <a:pt x="35038" y="2721"/>
                  </a:cubicBezTo>
                  <a:cubicBezTo>
                    <a:pt x="34856" y="2736"/>
                    <a:pt x="34678" y="2739"/>
                    <a:pt x="34500" y="2739"/>
                  </a:cubicBezTo>
                  <a:cubicBezTo>
                    <a:pt x="34336" y="2739"/>
                    <a:pt x="34171" y="2736"/>
                    <a:pt x="34008" y="2725"/>
                  </a:cubicBezTo>
                  <a:lnTo>
                    <a:pt x="34008" y="2725"/>
                  </a:lnTo>
                  <a:cubicBezTo>
                    <a:pt x="34282" y="3003"/>
                    <a:pt x="34556" y="3274"/>
                    <a:pt x="34974" y="3420"/>
                  </a:cubicBezTo>
                  <a:cubicBezTo>
                    <a:pt x="35244" y="3516"/>
                    <a:pt x="35509" y="3559"/>
                    <a:pt x="35766" y="3559"/>
                  </a:cubicBezTo>
                  <a:cubicBezTo>
                    <a:pt x="36322" y="3559"/>
                    <a:pt x="36853" y="3370"/>
                    <a:pt x="37410" y="3164"/>
                  </a:cubicBezTo>
                  <a:cubicBezTo>
                    <a:pt x="38547" y="2736"/>
                    <a:pt x="39677" y="2290"/>
                    <a:pt x="40811" y="1851"/>
                  </a:cubicBezTo>
                  <a:cubicBezTo>
                    <a:pt x="41945" y="1416"/>
                    <a:pt x="40747" y="375"/>
                    <a:pt x="39862" y="375"/>
                  </a:cubicBezTo>
                  <a:close/>
                  <a:moveTo>
                    <a:pt x="1498" y="1719"/>
                  </a:moveTo>
                  <a:cubicBezTo>
                    <a:pt x="1242" y="1894"/>
                    <a:pt x="996" y="2076"/>
                    <a:pt x="761" y="2265"/>
                  </a:cubicBezTo>
                  <a:cubicBezTo>
                    <a:pt x="1" y="2874"/>
                    <a:pt x="1103" y="3669"/>
                    <a:pt x="1926" y="3669"/>
                  </a:cubicBezTo>
                  <a:cubicBezTo>
                    <a:pt x="2130" y="3669"/>
                    <a:pt x="2311" y="3623"/>
                    <a:pt x="2451" y="3513"/>
                  </a:cubicBezTo>
                  <a:cubicBezTo>
                    <a:pt x="2618" y="3381"/>
                    <a:pt x="2793" y="3242"/>
                    <a:pt x="2975" y="3106"/>
                  </a:cubicBezTo>
                  <a:cubicBezTo>
                    <a:pt x="2436" y="3031"/>
                    <a:pt x="1502" y="2211"/>
                    <a:pt x="1498" y="1719"/>
                  </a:cubicBezTo>
                  <a:close/>
                  <a:moveTo>
                    <a:pt x="6376" y="1"/>
                  </a:moveTo>
                  <a:cubicBezTo>
                    <a:pt x="5271" y="1"/>
                    <a:pt x="4137" y="310"/>
                    <a:pt x="3064" y="814"/>
                  </a:cubicBezTo>
                  <a:cubicBezTo>
                    <a:pt x="3998" y="475"/>
                    <a:pt x="4989" y="264"/>
                    <a:pt x="5977" y="264"/>
                  </a:cubicBezTo>
                  <a:cubicBezTo>
                    <a:pt x="6366" y="264"/>
                    <a:pt x="6755" y="297"/>
                    <a:pt x="7136" y="368"/>
                  </a:cubicBezTo>
                  <a:cubicBezTo>
                    <a:pt x="7849" y="500"/>
                    <a:pt x="8519" y="789"/>
                    <a:pt x="9090" y="1242"/>
                  </a:cubicBezTo>
                  <a:cubicBezTo>
                    <a:pt x="9771" y="1780"/>
                    <a:pt x="10310" y="2889"/>
                    <a:pt x="11236" y="3003"/>
                  </a:cubicBezTo>
                  <a:cubicBezTo>
                    <a:pt x="11843" y="3082"/>
                    <a:pt x="13137" y="4686"/>
                    <a:pt x="12449" y="4686"/>
                  </a:cubicBezTo>
                  <a:cubicBezTo>
                    <a:pt x="12428" y="4686"/>
                    <a:pt x="12403" y="4686"/>
                    <a:pt x="12378" y="4683"/>
                  </a:cubicBezTo>
                  <a:cubicBezTo>
                    <a:pt x="10777" y="4479"/>
                    <a:pt x="10120" y="3574"/>
                    <a:pt x="9033" y="2557"/>
                  </a:cubicBezTo>
                  <a:cubicBezTo>
                    <a:pt x="8787" y="2329"/>
                    <a:pt x="8501" y="2168"/>
                    <a:pt x="8191" y="2061"/>
                  </a:cubicBezTo>
                  <a:lnTo>
                    <a:pt x="8191" y="2061"/>
                  </a:lnTo>
                  <a:cubicBezTo>
                    <a:pt x="8366" y="2204"/>
                    <a:pt x="8534" y="2372"/>
                    <a:pt x="8698" y="2571"/>
                  </a:cubicBezTo>
                  <a:cubicBezTo>
                    <a:pt x="9742" y="3855"/>
                    <a:pt x="10719" y="4903"/>
                    <a:pt x="12481" y="4903"/>
                  </a:cubicBezTo>
                  <a:cubicBezTo>
                    <a:pt x="12528" y="4903"/>
                    <a:pt x="12574" y="4903"/>
                    <a:pt x="12620" y="4900"/>
                  </a:cubicBezTo>
                  <a:cubicBezTo>
                    <a:pt x="14603" y="4843"/>
                    <a:pt x="15879" y="3509"/>
                    <a:pt x="17384" y="2415"/>
                  </a:cubicBezTo>
                  <a:cubicBezTo>
                    <a:pt x="17687" y="2193"/>
                    <a:pt x="17983" y="2001"/>
                    <a:pt x="18268" y="1862"/>
                  </a:cubicBezTo>
                  <a:lnTo>
                    <a:pt x="18268" y="1862"/>
                  </a:lnTo>
                  <a:cubicBezTo>
                    <a:pt x="18140" y="1880"/>
                    <a:pt x="17997" y="1923"/>
                    <a:pt x="17826" y="2001"/>
                  </a:cubicBezTo>
                  <a:cubicBezTo>
                    <a:pt x="17259" y="2261"/>
                    <a:pt x="16703" y="2860"/>
                    <a:pt x="16157" y="3188"/>
                  </a:cubicBezTo>
                  <a:cubicBezTo>
                    <a:pt x="15630" y="3502"/>
                    <a:pt x="15081" y="3763"/>
                    <a:pt x="14521" y="4008"/>
                  </a:cubicBezTo>
                  <a:cubicBezTo>
                    <a:pt x="14381" y="4069"/>
                    <a:pt x="14125" y="4158"/>
                    <a:pt x="13914" y="4158"/>
                  </a:cubicBezTo>
                  <a:cubicBezTo>
                    <a:pt x="13740" y="4158"/>
                    <a:pt x="13593" y="4097"/>
                    <a:pt x="13565" y="3908"/>
                  </a:cubicBezTo>
                  <a:cubicBezTo>
                    <a:pt x="13501" y="3506"/>
                    <a:pt x="14389" y="3103"/>
                    <a:pt x="14663" y="2985"/>
                  </a:cubicBezTo>
                  <a:cubicBezTo>
                    <a:pt x="16246" y="2293"/>
                    <a:pt x="17441" y="703"/>
                    <a:pt x="19241" y="493"/>
                  </a:cubicBezTo>
                  <a:cubicBezTo>
                    <a:pt x="19366" y="478"/>
                    <a:pt x="19495" y="468"/>
                    <a:pt x="19623" y="468"/>
                  </a:cubicBezTo>
                  <a:cubicBezTo>
                    <a:pt x="20097" y="468"/>
                    <a:pt x="20582" y="585"/>
                    <a:pt x="20936" y="921"/>
                  </a:cubicBezTo>
                  <a:cubicBezTo>
                    <a:pt x="21221" y="1195"/>
                    <a:pt x="21278" y="1566"/>
                    <a:pt x="21535" y="1859"/>
                  </a:cubicBezTo>
                  <a:cubicBezTo>
                    <a:pt x="21848" y="2211"/>
                    <a:pt x="22233" y="2346"/>
                    <a:pt x="22672" y="2504"/>
                  </a:cubicBezTo>
                  <a:cubicBezTo>
                    <a:pt x="23003" y="2621"/>
                    <a:pt x="22255" y="3313"/>
                    <a:pt x="21563" y="3620"/>
                  </a:cubicBezTo>
                  <a:cubicBezTo>
                    <a:pt x="21749" y="3773"/>
                    <a:pt x="21945" y="3919"/>
                    <a:pt x="22159" y="4055"/>
                  </a:cubicBezTo>
                  <a:cubicBezTo>
                    <a:pt x="23121" y="4661"/>
                    <a:pt x="24266" y="4986"/>
                    <a:pt x="25407" y="4999"/>
                  </a:cubicBezTo>
                  <a:cubicBezTo>
                    <a:pt x="24968" y="4464"/>
                    <a:pt x="24783" y="3694"/>
                    <a:pt x="25393" y="3541"/>
                  </a:cubicBezTo>
                  <a:cubicBezTo>
                    <a:pt x="26395" y="3288"/>
                    <a:pt x="27272" y="2835"/>
                    <a:pt x="28034" y="2137"/>
                  </a:cubicBezTo>
                  <a:cubicBezTo>
                    <a:pt x="28666" y="1555"/>
                    <a:pt x="29183" y="960"/>
                    <a:pt x="30024" y="689"/>
                  </a:cubicBezTo>
                  <a:cubicBezTo>
                    <a:pt x="30085" y="671"/>
                    <a:pt x="30146" y="664"/>
                    <a:pt x="30206" y="664"/>
                  </a:cubicBezTo>
                  <a:cubicBezTo>
                    <a:pt x="30723" y="664"/>
                    <a:pt x="31291" y="1302"/>
                    <a:pt x="31433" y="1865"/>
                  </a:cubicBezTo>
                  <a:cubicBezTo>
                    <a:pt x="31647" y="1812"/>
                    <a:pt x="31864" y="1787"/>
                    <a:pt x="32082" y="1787"/>
                  </a:cubicBezTo>
                  <a:lnTo>
                    <a:pt x="32193" y="1787"/>
                  </a:lnTo>
                  <a:cubicBezTo>
                    <a:pt x="32175" y="1762"/>
                    <a:pt x="32160" y="1737"/>
                    <a:pt x="32142" y="1712"/>
                  </a:cubicBezTo>
                  <a:cubicBezTo>
                    <a:pt x="32071" y="1591"/>
                    <a:pt x="31697" y="725"/>
                    <a:pt x="32078" y="725"/>
                  </a:cubicBezTo>
                  <a:cubicBezTo>
                    <a:pt x="32093" y="725"/>
                    <a:pt x="32111" y="725"/>
                    <a:pt x="32125" y="728"/>
                  </a:cubicBezTo>
                  <a:cubicBezTo>
                    <a:pt x="32545" y="792"/>
                    <a:pt x="32963" y="824"/>
                    <a:pt x="33380" y="824"/>
                  </a:cubicBezTo>
                  <a:cubicBezTo>
                    <a:pt x="33559" y="824"/>
                    <a:pt x="33740" y="817"/>
                    <a:pt x="33918" y="806"/>
                  </a:cubicBezTo>
                  <a:lnTo>
                    <a:pt x="33947" y="806"/>
                  </a:lnTo>
                  <a:cubicBezTo>
                    <a:pt x="33195" y="457"/>
                    <a:pt x="32356" y="271"/>
                    <a:pt x="31522" y="271"/>
                  </a:cubicBezTo>
                  <a:cubicBezTo>
                    <a:pt x="30919" y="271"/>
                    <a:pt x="30320" y="368"/>
                    <a:pt x="29754" y="575"/>
                  </a:cubicBezTo>
                  <a:cubicBezTo>
                    <a:pt x="27928" y="1242"/>
                    <a:pt x="27186" y="3406"/>
                    <a:pt x="25090" y="3491"/>
                  </a:cubicBezTo>
                  <a:cubicBezTo>
                    <a:pt x="25044" y="3495"/>
                    <a:pt x="24996" y="3495"/>
                    <a:pt x="24950" y="3495"/>
                  </a:cubicBezTo>
                  <a:cubicBezTo>
                    <a:pt x="22857" y="3495"/>
                    <a:pt x="22544" y="1462"/>
                    <a:pt x="20967" y="542"/>
                  </a:cubicBezTo>
                  <a:cubicBezTo>
                    <a:pt x="20340" y="175"/>
                    <a:pt x="19641" y="11"/>
                    <a:pt x="18938" y="11"/>
                  </a:cubicBezTo>
                  <a:cubicBezTo>
                    <a:pt x="18072" y="11"/>
                    <a:pt x="17202" y="257"/>
                    <a:pt x="16446" y="671"/>
                  </a:cubicBezTo>
                  <a:cubicBezTo>
                    <a:pt x="15515" y="1177"/>
                    <a:pt x="14781" y="1966"/>
                    <a:pt x="13918" y="2568"/>
                  </a:cubicBezTo>
                  <a:cubicBezTo>
                    <a:pt x="13369" y="2950"/>
                    <a:pt x="12941" y="3224"/>
                    <a:pt x="12352" y="3224"/>
                  </a:cubicBezTo>
                  <a:cubicBezTo>
                    <a:pt x="12210" y="3224"/>
                    <a:pt x="12057" y="3210"/>
                    <a:pt x="11889" y="3174"/>
                  </a:cubicBezTo>
                  <a:cubicBezTo>
                    <a:pt x="11090" y="3003"/>
                    <a:pt x="11012" y="2667"/>
                    <a:pt x="10534" y="2061"/>
                  </a:cubicBezTo>
                  <a:cubicBezTo>
                    <a:pt x="9365" y="589"/>
                    <a:pt x="7899" y="1"/>
                    <a:pt x="6376" y="1"/>
                  </a:cubicBezTo>
                  <a:close/>
                </a:path>
              </a:pathLst>
            </a:custGeom>
            <a:solidFill>
              <a:schemeClr val="accent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67" name="Google Shape;2530;p58">
              <a:extLst>
                <a:ext uri="{FF2B5EF4-FFF2-40B4-BE49-F238E27FC236}">
                  <a16:creationId xmlns:a16="http://schemas.microsoft.com/office/drawing/2014/main" id="{CDD57214-8C49-40AF-8579-8FA7E105D178}"/>
                </a:ext>
              </a:extLst>
            </p:cNvPr>
            <p:cNvSpPr/>
            <p:nvPr/>
          </p:nvSpPr>
          <p:spPr>
            <a:xfrm>
              <a:off x="1432150" y="3542325"/>
              <a:ext cx="167450" cy="57425"/>
            </a:xfrm>
            <a:custGeom>
              <a:avLst/>
              <a:gdLst/>
              <a:ahLst/>
              <a:cxnLst/>
              <a:rect l="l" t="t" r="r" b="b"/>
              <a:pathLst>
                <a:path w="6698" h="2297" extrusionOk="0">
                  <a:moveTo>
                    <a:pt x="1570" y="1"/>
                  </a:moveTo>
                  <a:lnTo>
                    <a:pt x="1570" y="1"/>
                  </a:lnTo>
                  <a:cubicBezTo>
                    <a:pt x="1278" y="108"/>
                    <a:pt x="989" y="228"/>
                    <a:pt x="707" y="361"/>
                  </a:cubicBezTo>
                  <a:cubicBezTo>
                    <a:pt x="682" y="368"/>
                    <a:pt x="657" y="378"/>
                    <a:pt x="636" y="393"/>
                  </a:cubicBezTo>
                  <a:cubicBezTo>
                    <a:pt x="482" y="468"/>
                    <a:pt x="329" y="542"/>
                    <a:pt x="176" y="625"/>
                  </a:cubicBezTo>
                  <a:cubicBezTo>
                    <a:pt x="54" y="689"/>
                    <a:pt x="1" y="789"/>
                    <a:pt x="4" y="906"/>
                  </a:cubicBezTo>
                  <a:cubicBezTo>
                    <a:pt x="500" y="564"/>
                    <a:pt x="1028" y="257"/>
                    <a:pt x="1570" y="1"/>
                  </a:cubicBezTo>
                  <a:close/>
                  <a:moveTo>
                    <a:pt x="5093" y="685"/>
                  </a:moveTo>
                  <a:cubicBezTo>
                    <a:pt x="3862" y="685"/>
                    <a:pt x="2557" y="1480"/>
                    <a:pt x="1481" y="2293"/>
                  </a:cubicBezTo>
                  <a:cubicBezTo>
                    <a:pt x="1505" y="2297"/>
                    <a:pt x="1530" y="2297"/>
                    <a:pt x="1556" y="2297"/>
                  </a:cubicBezTo>
                  <a:cubicBezTo>
                    <a:pt x="1588" y="2297"/>
                    <a:pt x="1616" y="2293"/>
                    <a:pt x="1645" y="2286"/>
                  </a:cubicBezTo>
                  <a:cubicBezTo>
                    <a:pt x="1984" y="2204"/>
                    <a:pt x="2009" y="2186"/>
                    <a:pt x="2254" y="1983"/>
                  </a:cubicBezTo>
                  <a:cubicBezTo>
                    <a:pt x="3232" y="1530"/>
                    <a:pt x="4497" y="1092"/>
                    <a:pt x="5631" y="1092"/>
                  </a:cubicBezTo>
                  <a:cubicBezTo>
                    <a:pt x="6006" y="1092"/>
                    <a:pt x="6365" y="1138"/>
                    <a:pt x="6697" y="1248"/>
                  </a:cubicBezTo>
                  <a:cubicBezTo>
                    <a:pt x="6199" y="849"/>
                    <a:pt x="5653" y="685"/>
                    <a:pt x="5093" y="685"/>
                  </a:cubicBezTo>
                  <a:close/>
                </a:path>
              </a:pathLst>
            </a:custGeom>
            <a:solidFill>
              <a:schemeClr val="accent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68" name="Google Shape;2531;p58">
              <a:extLst>
                <a:ext uri="{FF2B5EF4-FFF2-40B4-BE49-F238E27FC236}">
                  <a16:creationId xmlns:a16="http://schemas.microsoft.com/office/drawing/2014/main" id="{0E54CBA1-6D70-4F2C-8F63-58C0E9AA2FB4}"/>
                </a:ext>
              </a:extLst>
            </p:cNvPr>
            <p:cNvSpPr/>
            <p:nvPr/>
          </p:nvSpPr>
          <p:spPr>
            <a:xfrm>
              <a:off x="1432250" y="3528600"/>
              <a:ext cx="291000" cy="110575"/>
            </a:xfrm>
            <a:custGeom>
              <a:avLst/>
              <a:gdLst/>
              <a:ahLst/>
              <a:cxnLst/>
              <a:rect l="l" t="t" r="r" b="b"/>
              <a:pathLst>
                <a:path w="11640" h="4423" extrusionOk="0">
                  <a:moveTo>
                    <a:pt x="4479" y="0"/>
                  </a:moveTo>
                  <a:cubicBezTo>
                    <a:pt x="3491" y="0"/>
                    <a:pt x="2500" y="211"/>
                    <a:pt x="1566" y="550"/>
                  </a:cubicBezTo>
                  <a:cubicBezTo>
                    <a:pt x="1024" y="806"/>
                    <a:pt x="496" y="1113"/>
                    <a:pt x="0" y="1455"/>
                  </a:cubicBezTo>
                  <a:cubicBezTo>
                    <a:pt x="4" y="1947"/>
                    <a:pt x="938" y="2767"/>
                    <a:pt x="1477" y="2842"/>
                  </a:cubicBezTo>
                  <a:cubicBezTo>
                    <a:pt x="2553" y="2029"/>
                    <a:pt x="3858" y="1234"/>
                    <a:pt x="5089" y="1234"/>
                  </a:cubicBezTo>
                  <a:cubicBezTo>
                    <a:pt x="5649" y="1234"/>
                    <a:pt x="6195" y="1398"/>
                    <a:pt x="6693" y="1797"/>
                  </a:cubicBezTo>
                  <a:cubicBezTo>
                    <a:pt x="7003" y="1904"/>
                    <a:pt x="7289" y="2065"/>
                    <a:pt x="7535" y="2293"/>
                  </a:cubicBezTo>
                  <a:cubicBezTo>
                    <a:pt x="8622" y="3310"/>
                    <a:pt x="9279" y="4215"/>
                    <a:pt x="10880" y="4419"/>
                  </a:cubicBezTo>
                  <a:cubicBezTo>
                    <a:pt x="10905" y="4422"/>
                    <a:pt x="10930" y="4422"/>
                    <a:pt x="10951" y="4422"/>
                  </a:cubicBezTo>
                  <a:cubicBezTo>
                    <a:pt x="11639" y="4422"/>
                    <a:pt x="10345" y="2818"/>
                    <a:pt x="9738" y="2739"/>
                  </a:cubicBezTo>
                  <a:cubicBezTo>
                    <a:pt x="8812" y="2625"/>
                    <a:pt x="8273" y="1516"/>
                    <a:pt x="7592" y="978"/>
                  </a:cubicBezTo>
                  <a:cubicBezTo>
                    <a:pt x="7021" y="525"/>
                    <a:pt x="6351" y="236"/>
                    <a:pt x="5638" y="104"/>
                  </a:cubicBezTo>
                  <a:cubicBezTo>
                    <a:pt x="5257" y="33"/>
                    <a:pt x="4868" y="0"/>
                    <a:pt x="4479" y="0"/>
                  </a:cubicBezTo>
                  <a:close/>
                </a:path>
              </a:pathLst>
            </a:custGeom>
            <a:solidFill>
              <a:schemeClr val="accent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69" name="Google Shape;2532;p58">
              <a:extLst>
                <a:ext uri="{FF2B5EF4-FFF2-40B4-BE49-F238E27FC236}">
                  <a16:creationId xmlns:a16="http://schemas.microsoft.com/office/drawing/2014/main" id="{55CB3ED5-E0B7-4A34-BDFA-EF4D4C84C3C2}"/>
                </a:ext>
              </a:extLst>
            </p:cNvPr>
            <p:cNvSpPr/>
            <p:nvPr/>
          </p:nvSpPr>
          <p:spPr>
            <a:xfrm>
              <a:off x="1851500" y="3562750"/>
              <a:ext cx="82400" cy="53425"/>
            </a:xfrm>
            <a:custGeom>
              <a:avLst/>
              <a:gdLst/>
              <a:ahLst/>
              <a:cxnLst/>
              <a:rect l="l" t="t" r="r" b="b"/>
              <a:pathLst>
                <a:path w="3296" h="2137" extrusionOk="0">
                  <a:moveTo>
                    <a:pt x="881" y="0"/>
                  </a:moveTo>
                  <a:cubicBezTo>
                    <a:pt x="596" y="0"/>
                    <a:pt x="300" y="86"/>
                    <a:pt x="0" y="232"/>
                  </a:cubicBezTo>
                  <a:cubicBezTo>
                    <a:pt x="36" y="229"/>
                    <a:pt x="68" y="224"/>
                    <a:pt x="104" y="224"/>
                  </a:cubicBezTo>
                  <a:cubicBezTo>
                    <a:pt x="667" y="224"/>
                    <a:pt x="817" y="852"/>
                    <a:pt x="1259" y="1369"/>
                  </a:cubicBezTo>
                  <a:cubicBezTo>
                    <a:pt x="1594" y="1758"/>
                    <a:pt x="2097" y="1940"/>
                    <a:pt x="2564" y="2107"/>
                  </a:cubicBezTo>
                  <a:cubicBezTo>
                    <a:pt x="2614" y="2125"/>
                    <a:pt x="2671" y="2136"/>
                    <a:pt x="2735" y="2136"/>
                  </a:cubicBezTo>
                  <a:cubicBezTo>
                    <a:pt x="2899" y="2136"/>
                    <a:pt x="3096" y="2079"/>
                    <a:pt x="3295" y="1990"/>
                  </a:cubicBezTo>
                  <a:cubicBezTo>
                    <a:pt x="2920" y="1669"/>
                    <a:pt x="2599" y="1302"/>
                    <a:pt x="2293" y="881"/>
                  </a:cubicBezTo>
                  <a:cubicBezTo>
                    <a:pt x="1833" y="250"/>
                    <a:pt x="1366" y="0"/>
                    <a:pt x="881" y="0"/>
                  </a:cubicBezTo>
                  <a:close/>
                </a:path>
              </a:pathLst>
            </a:custGeom>
            <a:solidFill>
              <a:schemeClr val="accent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70" name="Google Shape;2533;p58">
              <a:extLst>
                <a:ext uri="{FF2B5EF4-FFF2-40B4-BE49-F238E27FC236}">
                  <a16:creationId xmlns:a16="http://schemas.microsoft.com/office/drawing/2014/main" id="{A5355467-5A4C-4F0F-96AA-EBD967D15BC4}"/>
                </a:ext>
              </a:extLst>
            </p:cNvPr>
            <p:cNvSpPr/>
            <p:nvPr/>
          </p:nvSpPr>
          <p:spPr>
            <a:xfrm>
              <a:off x="1732300" y="3533675"/>
              <a:ext cx="237600" cy="92300"/>
            </a:xfrm>
            <a:custGeom>
              <a:avLst/>
              <a:gdLst/>
              <a:ahLst/>
              <a:cxnLst/>
              <a:rect l="l" t="t" r="r" b="b"/>
              <a:pathLst>
                <a:path w="9504" h="3692" extrusionOk="0">
                  <a:moveTo>
                    <a:pt x="6123" y="1"/>
                  </a:moveTo>
                  <a:cubicBezTo>
                    <a:pt x="5995" y="1"/>
                    <a:pt x="5866" y="11"/>
                    <a:pt x="5741" y="26"/>
                  </a:cubicBezTo>
                  <a:cubicBezTo>
                    <a:pt x="3941" y="236"/>
                    <a:pt x="2746" y="1826"/>
                    <a:pt x="1163" y="2518"/>
                  </a:cubicBezTo>
                  <a:cubicBezTo>
                    <a:pt x="889" y="2636"/>
                    <a:pt x="1" y="3039"/>
                    <a:pt x="65" y="3441"/>
                  </a:cubicBezTo>
                  <a:cubicBezTo>
                    <a:pt x="93" y="3630"/>
                    <a:pt x="240" y="3691"/>
                    <a:pt x="414" y="3691"/>
                  </a:cubicBezTo>
                  <a:cubicBezTo>
                    <a:pt x="625" y="3691"/>
                    <a:pt x="881" y="3602"/>
                    <a:pt x="1021" y="3541"/>
                  </a:cubicBezTo>
                  <a:cubicBezTo>
                    <a:pt x="1581" y="3296"/>
                    <a:pt x="2130" y="3035"/>
                    <a:pt x="2657" y="2721"/>
                  </a:cubicBezTo>
                  <a:cubicBezTo>
                    <a:pt x="3203" y="2393"/>
                    <a:pt x="3759" y="1794"/>
                    <a:pt x="4326" y="1534"/>
                  </a:cubicBezTo>
                  <a:cubicBezTo>
                    <a:pt x="4497" y="1456"/>
                    <a:pt x="4640" y="1413"/>
                    <a:pt x="4768" y="1395"/>
                  </a:cubicBezTo>
                  <a:cubicBezTo>
                    <a:pt x="5068" y="1249"/>
                    <a:pt x="5364" y="1163"/>
                    <a:pt x="5649" y="1163"/>
                  </a:cubicBezTo>
                  <a:cubicBezTo>
                    <a:pt x="6134" y="1163"/>
                    <a:pt x="6601" y="1413"/>
                    <a:pt x="7061" y="2044"/>
                  </a:cubicBezTo>
                  <a:cubicBezTo>
                    <a:pt x="7367" y="2465"/>
                    <a:pt x="7688" y="2832"/>
                    <a:pt x="8063" y="3153"/>
                  </a:cubicBezTo>
                  <a:cubicBezTo>
                    <a:pt x="8755" y="2846"/>
                    <a:pt x="9503" y="2154"/>
                    <a:pt x="9172" y="2037"/>
                  </a:cubicBezTo>
                  <a:cubicBezTo>
                    <a:pt x="8733" y="1879"/>
                    <a:pt x="8348" y="1744"/>
                    <a:pt x="8035" y="1392"/>
                  </a:cubicBezTo>
                  <a:cubicBezTo>
                    <a:pt x="7778" y="1099"/>
                    <a:pt x="7721" y="728"/>
                    <a:pt x="7436" y="454"/>
                  </a:cubicBezTo>
                  <a:cubicBezTo>
                    <a:pt x="7082" y="118"/>
                    <a:pt x="6597" y="1"/>
                    <a:pt x="6123" y="1"/>
                  </a:cubicBezTo>
                  <a:close/>
                </a:path>
              </a:pathLst>
            </a:custGeom>
            <a:solidFill>
              <a:schemeClr val="accent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71" name="Google Shape;2534;p58">
              <a:extLst>
                <a:ext uri="{FF2B5EF4-FFF2-40B4-BE49-F238E27FC236}">
                  <a16:creationId xmlns:a16="http://schemas.microsoft.com/office/drawing/2014/main" id="{03ADDC50-4EAE-4326-B29D-CDDC91969388}"/>
                </a:ext>
              </a:extLst>
            </p:cNvPr>
            <p:cNvSpPr/>
            <p:nvPr/>
          </p:nvSpPr>
          <p:spPr>
            <a:xfrm>
              <a:off x="2029975" y="3568625"/>
              <a:ext cx="152875" cy="91650"/>
            </a:xfrm>
            <a:custGeom>
              <a:avLst/>
              <a:gdLst/>
              <a:ahLst/>
              <a:cxnLst/>
              <a:rect l="l" t="t" r="r" b="b"/>
              <a:pathLst>
                <a:path w="6115" h="3666" extrusionOk="0">
                  <a:moveTo>
                    <a:pt x="6026" y="0"/>
                  </a:moveTo>
                  <a:lnTo>
                    <a:pt x="6026" y="0"/>
                  </a:lnTo>
                  <a:cubicBezTo>
                    <a:pt x="5730" y="79"/>
                    <a:pt x="5441" y="203"/>
                    <a:pt x="5185" y="374"/>
                  </a:cubicBezTo>
                  <a:cubicBezTo>
                    <a:pt x="4329" y="942"/>
                    <a:pt x="3812" y="1880"/>
                    <a:pt x="2920" y="2415"/>
                  </a:cubicBezTo>
                  <a:cubicBezTo>
                    <a:pt x="2346" y="2757"/>
                    <a:pt x="1701" y="2956"/>
                    <a:pt x="1049" y="3060"/>
                  </a:cubicBezTo>
                  <a:cubicBezTo>
                    <a:pt x="731" y="3110"/>
                    <a:pt x="410" y="3134"/>
                    <a:pt x="89" y="3134"/>
                  </a:cubicBezTo>
                  <a:lnTo>
                    <a:pt x="0" y="3134"/>
                  </a:lnTo>
                  <a:cubicBezTo>
                    <a:pt x="249" y="3438"/>
                    <a:pt x="581" y="3666"/>
                    <a:pt x="895" y="3666"/>
                  </a:cubicBezTo>
                  <a:cubicBezTo>
                    <a:pt x="945" y="3666"/>
                    <a:pt x="995" y="3659"/>
                    <a:pt x="1041" y="3648"/>
                  </a:cubicBezTo>
                  <a:cubicBezTo>
                    <a:pt x="1954" y="3417"/>
                    <a:pt x="2835" y="3027"/>
                    <a:pt x="3583" y="2454"/>
                  </a:cubicBezTo>
                  <a:cubicBezTo>
                    <a:pt x="4283" y="1919"/>
                    <a:pt x="4814" y="1074"/>
                    <a:pt x="5677" y="795"/>
                  </a:cubicBezTo>
                  <a:cubicBezTo>
                    <a:pt x="6037" y="678"/>
                    <a:pt x="6115" y="357"/>
                    <a:pt x="6026" y="0"/>
                  </a:cubicBezTo>
                  <a:close/>
                </a:path>
              </a:pathLst>
            </a:custGeom>
            <a:solidFill>
              <a:schemeClr val="accent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72" name="Google Shape;2535;p58">
              <a:extLst>
                <a:ext uri="{FF2B5EF4-FFF2-40B4-BE49-F238E27FC236}">
                  <a16:creationId xmlns:a16="http://schemas.microsoft.com/office/drawing/2014/main" id="{54B1364A-9376-48B5-B97A-9803D1576173}"/>
                </a:ext>
              </a:extLst>
            </p:cNvPr>
            <p:cNvSpPr/>
            <p:nvPr/>
          </p:nvSpPr>
          <p:spPr>
            <a:xfrm>
              <a:off x="2014350" y="3538575"/>
              <a:ext cx="166275" cy="108425"/>
            </a:xfrm>
            <a:custGeom>
              <a:avLst/>
              <a:gdLst/>
              <a:ahLst/>
              <a:cxnLst/>
              <a:rect l="l" t="t" r="r" b="b"/>
              <a:pathLst>
                <a:path w="6651" h="4337" extrusionOk="0">
                  <a:moveTo>
                    <a:pt x="5424" y="1"/>
                  </a:moveTo>
                  <a:cubicBezTo>
                    <a:pt x="5364" y="1"/>
                    <a:pt x="5303" y="8"/>
                    <a:pt x="5242" y="26"/>
                  </a:cubicBezTo>
                  <a:cubicBezTo>
                    <a:pt x="4401" y="297"/>
                    <a:pt x="3884" y="892"/>
                    <a:pt x="3252" y="1474"/>
                  </a:cubicBezTo>
                  <a:cubicBezTo>
                    <a:pt x="2490" y="2172"/>
                    <a:pt x="1613" y="2625"/>
                    <a:pt x="611" y="2878"/>
                  </a:cubicBezTo>
                  <a:cubicBezTo>
                    <a:pt x="1" y="3031"/>
                    <a:pt x="186" y="3801"/>
                    <a:pt x="625" y="4336"/>
                  </a:cubicBezTo>
                  <a:lnTo>
                    <a:pt x="714" y="4336"/>
                  </a:lnTo>
                  <a:cubicBezTo>
                    <a:pt x="1035" y="4336"/>
                    <a:pt x="1356" y="4312"/>
                    <a:pt x="1674" y="4262"/>
                  </a:cubicBezTo>
                  <a:cubicBezTo>
                    <a:pt x="2326" y="4158"/>
                    <a:pt x="2971" y="3959"/>
                    <a:pt x="3545" y="3617"/>
                  </a:cubicBezTo>
                  <a:cubicBezTo>
                    <a:pt x="4437" y="3082"/>
                    <a:pt x="4954" y="2144"/>
                    <a:pt x="5810" y="1576"/>
                  </a:cubicBezTo>
                  <a:cubicBezTo>
                    <a:pt x="6066" y="1405"/>
                    <a:pt x="6355" y="1281"/>
                    <a:pt x="6651" y="1202"/>
                  </a:cubicBezTo>
                  <a:cubicBezTo>
                    <a:pt x="6509" y="639"/>
                    <a:pt x="5941" y="1"/>
                    <a:pt x="5424" y="1"/>
                  </a:cubicBezTo>
                  <a:close/>
                </a:path>
              </a:pathLst>
            </a:custGeom>
            <a:solidFill>
              <a:schemeClr val="accent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73" name="Google Shape;2536;p58">
              <a:extLst>
                <a:ext uri="{FF2B5EF4-FFF2-40B4-BE49-F238E27FC236}">
                  <a16:creationId xmlns:a16="http://schemas.microsoft.com/office/drawing/2014/main" id="{C6C6C293-19F9-486A-858B-BD7E6D3EE349}"/>
                </a:ext>
              </a:extLst>
            </p:cNvPr>
            <p:cNvSpPr/>
            <p:nvPr/>
          </p:nvSpPr>
          <p:spPr>
            <a:xfrm>
              <a:off x="2199600" y="3542125"/>
              <a:ext cx="59475" cy="48000"/>
            </a:xfrm>
            <a:custGeom>
              <a:avLst/>
              <a:gdLst/>
              <a:ahLst/>
              <a:cxnLst/>
              <a:rect l="l" t="t" r="r" b="b"/>
              <a:pathLst>
                <a:path w="2379" h="1920" extrusionOk="0">
                  <a:moveTo>
                    <a:pt x="1755" y="1"/>
                  </a:moveTo>
                  <a:cubicBezTo>
                    <a:pt x="1897" y="65"/>
                    <a:pt x="2033" y="137"/>
                    <a:pt x="2168" y="212"/>
                  </a:cubicBezTo>
                  <a:cubicBezTo>
                    <a:pt x="2239" y="251"/>
                    <a:pt x="2308" y="294"/>
                    <a:pt x="2379" y="336"/>
                  </a:cubicBezTo>
                  <a:cubicBezTo>
                    <a:pt x="2193" y="147"/>
                    <a:pt x="1979" y="1"/>
                    <a:pt x="1759" y="1"/>
                  </a:cubicBezTo>
                  <a:close/>
                  <a:moveTo>
                    <a:pt x="1" y="982"/>
                  </a:moveTo>
                  <a:cubicBezTo>
                    <a:pt x="243" y="1367"/>
                    <a:pt x="589" y="1770"/>
                    <a:pt x="1052" y="1838"/>
                  </a:cubicBezTo>
                  <a:cubicBezTo>
                    <a:pt x="1306" y="1877"/>
                    <a:pt x="1559" y="1905"/>
                    <a:pt x="1816" y="1920"/>
                  </a:cubicBezTo>
                  <a:cubicBezTo>
                    <a:pt x="1640" y="1745"/>
                    <a:pt x="1466" y="1567"/>
                    <a:pt x="1252" y="1413"/>
                  </a:cubicBezTo>
                  <a:cubicBezTo>
                    <a:pt x="878" y="1139"/>
                    <a:pt x="442" y="1003"/>
                    <a:pt x="1" y="982"/>
                  </a:cubicBezTo>
                  <a:close/>
                </a:path>
              </a:pathLst>
            </a:custGeom>
            <a:solidFill>
              <a:schemeClr val="accent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74" name="Google Shape;2537;p58">
              <a:extLst>
                <a:ext uri="{FF2B5EF4-FFF2-40B4-BE49-F238E27FC236}">
                  <a16:creationId xmlns:a16="http://schemas.microsoft.com/office/drawing/2014/main" id="{64547C65-8F27-48CF-A113-BFCE5AC994A3}"/>
                </a:ext>
              </a:extLst>
            </p:cNvPr>
            <p:cNvSpPr/>
            <p:nvPr/>
          </p:nvSpPr>
          <p:spPr>
            <a:xfrm>
              <a:off x="2187225" y="3540100"/>
              <a:ext cx="94850" cy="50400"/>
            </a:xfrm>
            <a:custGeom>
              <a:avLst/>
              <a:gdLst/>
              <a:ahLst/>
              <a:cxnLst/>
              <a:rect l="l" t="t" r="r" b="b"/>
              <a:pathLst>
                <a:path w="3794" h="2016" extrusionOk="0">
                  <a:moveTo>
                    <a:pt x="381" y="1"/>
                  </a:moveTo>
                  <a:cubicBezTo>
                    <a:pt x="0" y="1"/>
                    <a:pt x="374" y="867"/>
                    <a:pt x="445" y="988"/>
                  </a:cubicBezTo>
                  <a:cubicBezTo>
                    <a:pt x="463" y="1013"/>
                    <a:pt x="478" y="1038"/>
                    <a:pt x="496" y="1063"/>
                  </a:cubicBezTo>
                  <a:cubicBezTo>
                    <a:pt x="937" y="1084"/>
                    <a:pt x="1373" y="1220"/>
                    <a:pt x="1747" y="1494"/>
                  </a:cubicBezTo>
                  <a:cubicBezTo>
                    <a:pt x="1961" y="1648"/>
                    <a:pt x="2135" y="1826"/>
                    <a:pt x="2311" y="2001"/>
                  </a:cubicBezTo>
                  <a:cubicBezTo>
                    <a:pt x="2474" y="2012"/>
                    <a:pt x="2639" y="2015"/>
                    <a:pt x="2803" y="2015"/>
                  </a:cubicBezTo>
                  <a:cubicBezTo>
                    <a:pt x="2981" y="2015"/>
                    <a:pt x="3159" y="2012"/>
                    <a:pt x="3341" y="1997"/>
                  </a:cubicBezTo>
                  <a:cubicBezTo>
                    <a:pt x="3794" y="1969"/>
                    <a:pt x="3434" y="1202"/>
                    <a:pt x="3323" y="1017"/>
                  </a:cubicBezTo>
                  <a:cubicBezTo>
                    <a:pt x="3223" y="852"/>
                    <a:pt x="3063" y="613"/>
                    <a:pt x="2874" y="417"/>
                  </a:cubicBezTo>
                  <a:cubicBezTo>
                    <a:pt x="2803" y="375"/>
                    <a:pt x="2734" y="332"/>
                    <a:pt x="2663" y="293"/>
                  </a:cubicBezTo>
                  <a:cubicBezTo>
                    <a:pt x="2528" y="218"/>
                    <a:pt x="2392" y="146"/>
                    <a:pt x="2250" y="82"/>
                  </a:cubicBezTo>
                  <a:lnTo>
                    <a:pt x="2221" y="82"/>
                  </a:lnTo>
                  <a:cubicBezTo>
                    <a:pt x="2043" y="93"/>
                    <a:pt x="1862" y="100"/>
                    <a:pt x="1683" y="100"/>
                  </a:cubicBezTo>
                  <a:cubicBezTo>
                    <a:pt x="1266" y="100"/>
                    <a:pt x="848" y="68"/>
                    <a:pt x="428" y="4"/>
                  </a:cubicBezTo>
                  <a:cubicBezTo>
                    <a:pt x="414" y="1"/>
                    <a:pt x="396" y="1"/>
                    <a:pt x="381" y="1"/>
                  </a:cubicBezTo>
                  <a:close/>
                </a:path>
              </a:pathLst>
            </a:custGeom>
            <a:solidFill>
              <a:schemeClr val="accent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grpSp>
      <p:grpSp>
        <p:nvGrpSpPr>
          <p:cNvPr id="75" name="Google Shape;2538;p58">
            <a:extLst>
              <a:ext uri="{FF2B5EF4-FFF2-40B4-BE49-F238E27FC236}">
                <a16:creationId xmlns:a16="http://schemas.microsoft.com/office/drawing/2014/main" id="{A328BAB3-9EF2-47D7-8CD2-D742999994AA}"/>
              </a:ext>
            </a:extLst>
          </p:cNvPr>
          <p:cNvGrpSpPr/>
          <p:nvPr/>
        </p:nvGrpSpPr>
        <p:grpSpPr>
          <a:xfrm rot="514806">
            <a:off x="7323863" y="1967997"/>
            <a:ext cx="1118061" cy="876421"/>
            <a:chOff x="378575" y="1776375"/>
            <a:chExt cx="737425" cy="578050"/>
          </a:xfrm>
        </p:grpSpPr>
        <p:sp>
          <p:nvSpPr>
            <p:cNvPr id="76" name="Google Shape;2539;p58">
              <a:extLst>
                <a:ext uri="{FF2B5EF4-FFF2-40B4-BE49-F238E27FC236}">
                  <a16:creationId xmlns:a16="http://schemas.microsoft.com/office/drawing/2014/main" id="{994E9B68-6491-4638-8C19-58C37F6B8792}"/>
                </a:ext>
              </a:extLst>
            </p:cNvPr>
            <p:cNvSpPr/>
            <p:nvPr/>
          </p:nvSpPr>
          <p:spPr>
            <a:xfrm>
              <a:off x="378575" y="1776375"/>
              <a:ext cx="737425" cy="60825"/>
            </a:xfrm>
            <a:custGeom>
              <a:avLst/>
              <a:gdLst/>
              <a:ahLst/>
              <a:cxnLst/>
              <a:rect l="l" t="t" r="r" b="b"/>
              <a:pathLst>
                <a:path w="29497" h="2433" extrusionOk="0">
                  <a:moveTo>
                    <a:pt x="19316" y="1"/>
                  </a:moveTo>
                  <a:cubicBezTo>
                    <a:pt x="13215" y="1"/>
                    <a:pt x="7118" y="143"/>
                    <a:pt x="1024" y="432"/>
                  </a:cubicBezTo>
                  <a:cubicBezTo>
                    <a:pt x="0" y="478"/>
                    <a:pt x="75" y="1520"/>
                    <a:pt x="649" y="2101"/>
                  </a:cubicBezTo>
                  <a:cubicBezTo>
                    <a:pt x="635" y="1847"/>
                    <a:pt x="621" y="1595"/>
                    <a:pt x="610" y="1342"/>
                  </a:cubicBezTo>
                  <a:cubicBezTo>
                    <a:pt x="596" y="1103"/>
                    <a:pt x="760" y="1006"/>
                    <a:pt x="999" y="1006"/>
                  </a:cubicBezTo>
                  <a:cubicBezTo>
                    <a:pt x="1587" y="1006"/>
                    <a:pt x="2646" y="1609"/>
                    <a:pt x="2674" y="2172"/>
                  </a:cubicBezTo>
                  <a:cubicBezTo>
                    <a:pt x="2678" y="2261"/>
                    <a:pt x="2681" y="2347"/>
                    <a:pt x="2689" y="2433"/>
                  </a:cubicBezTo>
                  <a:cubicBezTo>
                    <a:pt x="8398" y="2179"/>
                    <a:pt x="14114" y="2051"/>
                    <a:pt x="19826" y="2051"/>
                  </a:cubicBezTo>
                  <a:cubicBezTo>
                    <a:pt x="21669" y="2051"/>
                    <a:pt x="23509" y="2066"/>
                    <a:pt x="25349" y="2090"/>
                  </a:cubicBezTo>
                  <a:cubicBezTo>
                    <a:pt x="25321" y="1798"/>
                    <a:pt x="25285" y="1502"/>
                    <a:pt x="25246" y="1205"/>
                  </a:cubicBezTo>
                  <a:cubicBezTo>
                    <a:pt x="25150" y="547"/>
                    <a:pt x="25809" y="172"/>
                    <a:pt x="26444" y="172"/>
                  </a:cubicBezTo>
                  <a:cubicBezTo>
                    <a:pt x="26950" y="172"/>
                    <a:pt x="27439" y="410"/>
                    <a:pt x="27514" y="938"/>
                  </a:cubicBezTo>
                  <a:cubicBezTo>
                    <a:pt x="27571" y="1338"/>
                    <a:pt x="27617" y="1733"/>
                    <a:pt x="27649" y="2133"/>
                  </a:cubicBezTo>
                  <a:cubicBezTo>
                    <a:pt x="27774" y="2133"/>
                    <a:pt x="27899" y="2137"/>
                    <a:pt x="28024" y="2140"/>
                  </a:cubicBezTo>
                  <a:lnTo>
                    <a:pt x="28060" y="2140"/>
                  </a:lnTo>
                  <a:cubicBezTo>
                    <a:pt x="29496" y="2140"/>
                    <a:pt x="29343" y="125"/>
                    <a:pt x="28030" y="97"/>
                  </a:cubicBezTo>
                  <a:cubicBezTo>
                    <a:pt x="25124" y="33"/>
                    <a:pt x="22219" y="1"/>
                    <a:pt x="19316" y="1"/>
                  </a:cubicBezTo>
                  <a:close/>
                </a:path>
              </a:pathLst>
            </a:custGeom>
            <a:solidFill>
              <a:schemeClr val="accent6"/>
            </a:solid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77" name="Google Shape;2540;p58">
              <a:extLst>
                <a:ext uri="{FF2B5EF4-FFF2-40B4-BE49-F238E27FC236}">
                  <a16:creationId xmlns:a16="http://schemas.microsoft.com/office/drawing/2014/main" id="{3047AABD-17D8-410E-8C97-29762ECDAEA3}"/>
                </a:ext>
              </a:extLst>
            </p:cNvPr>
            <p:cNvSpPr/>
            <p:nvPr/>
          </p:nvSpPr>
          <p:spPr>
            <a:xfrm>
              <a:off x="1004275" y="1828625"/>
              <a:ext cx="74725" cy="327700"/>
            </a:xfrm>
            <a:custGeom>
              <a:avLst/>
              <a:gdLst/>
              <a:ahLst/>
              <a:cxnLst/>
              <a:rect l="l" t="t" r="r" b="b"/>
              <a:pathLst>
                <a:path w="2989" h="13108" extrusionOk="0">
                  <a:moveTo>
                    <a:pt x="321" y="0"/>
                  </a:moveTo>
                  <a:lnTo>
                    <a:pt x="321" y="0"/>
                  </a:lnTo>
                  <a:cubicBezTo>
                    <a:pt x="724" y="4054"/>
                    <a:pt x="0" y="8130"/>
                    <a:pt x="353" y="12184"/>
                  </a:cubicBezTo>
                  <a:cubicBezTo>
                    <a:pt x="585" y="12152"/>
                    <a:pt x="817" y="12131"/>
                    <a:pt x="1038" y="12131"/>
                  </a:cubicBezTo>
                  <a:cubicBezTo>
                    <a:pt x="1516" y="12131"/>
                    <a:pt x="1954" y="12230"/>
                    <a:pt x="2293" y="12508"/>
                  </a:cubicBezTo>
                  <a:cubicBezTo>
                    <a:pt x="2471" y="12658"/>
                    <a:pt x="2660" y="12869"/>
                    <a:pt x="2753" y="13108"/>
                  </a:cubicBezTo>
                  <a:cubicBezTo>
                    <a:pt x="2753" y="13065"/>
                    <a:pt x="2749" y="13026"/>
                    <a:pt x="2746" y="12983"/>
                  </a:cubicBezTo>
                  <a:cubicBezTo>
                    <a:pt x="2150" y="8679"/>
                    <a:pt x="2989" y="4350"/>
                    <a:pt x="2621" y="43"/>
                  </a:cubicBezTo>
                  <a:cubicBezTo>
                    <a:pt x="1855" y="25"/>
                    <a:pt x="1088" y="11"/>
                    <a:pt x="321" y="0"/>
                  </a:cubicBezTo>
                  <a:close/>
                </a:path>
              </a:pathLst>
            </a:custGeom>
            <a:solidFill>
              <a:schemeClr val="accent6"/>
            </a:solid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78" name="Google Shape;2541;p58">
              <a:extLst>
                <a:ext uri="{FF2B5EF4-FFF2-40B4-BE49-F238E27FC236}">
                  <a16:creationId xmlns:a16="http://schemas.microsoft.com/office/drawing/2014/main" id="{6CD788BF-5887-4139-89DC-2E730D7414D7}"/>
                </a:ext>
              </a:extLst>
            </p:cNvPr>
            <p:cNvSpPr/>
            <p:nvPr/>
          </p:nvSpPr>
          <p:spPr>
            <a:xfrm>
              <a:off x="1007300" y="1780650"/>
              <a:ext cx="62500" cy="49075"/>
            </a:xfrm>
            <a:custGeom>
              <a:avLst/>
              <a:gdLst/>
              <a:ahLst/>
              <a:cxnLst/>
              <a:rect l="l" t="t" r="r" b="b"/>
              <a:pathLst>
                <a:path w="2500" h="1963" extrusionOk="0">
                  <a:moveTo>
                    <a:pt x="1295" y="1"/>
                  </a:moveTo>
                  <a:cubicBezTo>
                    <a:pt x="660" y="1"/>
                    <a:pt x="1" y="376"/>
                    <a:pt x="97" y="1034"/>
                  </a:cubicBezTo>
                  <a:cubicBezTo>
                    <a:pt x="136" y="1331"/>
                    <a:pt x="172" y="1627"/>
                    <a:pt x="200" y="1919"/>
                  </a:cubicBezTo>
                  <a:cubicBezTo>
                    <a:pt x="967" y="1930"/>
                    <a:pt x="1734" y="1944"/>
                    <a:pt x="2500" y="1962"/>
                  </a:cubicBezTo>
                  <a:cubicBezTo>
                    <a:pt x="2468" y="1562"/>
                    <a:pt x="2422" y="1167"/>
                    <a:pt x="2365" y="767"/>
                  </a:cubicBezTo>
                  <a:cubicBezTo>
                    <a:pt x="2290" y="239"/>
                    <a:pt x="1801" y="1"/>
                    <a:pt x="1295" y="1"/>
                  </a:cubicBezTo>
                  <a:close/>
                </a:path>
              </a:pathLst>
            </a:custGeom>
            <a:solidFill>
              <a:schemeClr val="accent6"/>
            </a:solid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79" name="Google Shape;2542;p58">
              <a:extLst>
                <a:ext uri="{FF2B5EF4-FFF2-40B4-BE49-F238E27FC236}">
                  <a16:creationId xmlns:a16="http://schemas.microsoft.com/office/drawing/2014/main" id="{A8E4974E-8EDE-4DEE-9E22-0F28E8D74465}"/>
                </a:ext>
              </a:extLst>
            </p:cNvPr>
            <p:cNvSpPr/>
            <p:nvPr/>
          </p:nvSpPr>
          <p:spPr>
            <a:xfrm>
              <a:off x="785225" y="2133225"/>
              <a:ext cx="290025" cy="69200"/>
            </a:xfrm>
            <a:custGeom>
              <a:avLst/>
              <a:gdLst/>
              <a:ahLst/>
              <a:cxnLst/>
              <a:rect l="l" t="t" r="r" b="b"/>
              <a:pathLst>
                <a:path w="11601" h="2768" extrusionOk="0">
                  <a:moveTo>
                    <a:pt x="9115" y="0"/>
                  </a:moveTo>
                  <a:cubicBezTo>
                    <a:pt x="8323" y="115"/>
                    <a:pt x="7503" y="378"/>
                    <a:pt x="6904" y="453"/>
                  </a:cubicBezTo>
                  <a:cubicBezTo>
                    <a:pt x="4990" y="692"/>
                    <a:pt x="3065" y="799"/>
                    <a:pt x="1135" y="799"/>
                  </a:cubicBezTo>
                  <a:cubicBezTo>
                    <a:pt x="1" y="803"/>
                    <a:pt x="126" y="1962"/>
                    <a:pt x="822" y="2507"/>
                  </a:cubicBezTo>
                  <a:cubicBezTo>
                    <a:pt x="832" y="2454"/>
                    <a:pt x="843" y="2396"/>
                    <a:pt x="857" y="2343"/>
                  </a:cubicBezTo>
                  <a:cubicBezTo>
                    <a:pt x="925" y="1993"/>
                    <a:pt x="1641" y="1861"/>
                    <a:pt x="2252" y="1861"/>
                  </a:cubicBezTo>
                  <a:cubicBezTo>
                    <a:pt x="2732" y="1861"/>
                    <a:pt x="3150" y="1947"/>
                    <a:pt x="3124" y="2069"/>
                  </a:cubicBezTo>
                  <a:cubicBezTo>
                    <a:pt x="3078" y="2304"/>
                    <a:pt x="3035" y="2536"/>
                    <a:pt x="2996" y="2768"/>
                  </a:cubicBezTo>
                  <a:cubicBezTo>
                    <a:pt x="4006" y="2742"/>
                    <a:pt x="5011" y="2686"/>
                    <a:pt x="6013" y="2589"/>
                  </a:cubicBezTo>
                  <a:cubicBezTo>
                    <a:pt x="6744" y="2521"/>
                    <a:pt x="7475" y="2432"/>
                    <a:pt x="8203" y="2329"/>
                  </a:cubicBezTo>
                  <a:cubicBezTo>
                    <a:pt x="8338" y="2307"/>
                    <a:pt x="9586" y="2154"/>
                    <a:pt x="9811" y="1972"/>
                  </a:cubicBezTo>
                  <a:cubicBezTo>
                    <a:pt x="10021" y="2079"/>
                    <a:pt x="10263" y="2143"/>
                    <a:pt x="10502" y="2143"/>
                  </a:cubicBezTo>
                  <a:cubicBezTo>
                    <a:pt x="10891" y="2143"/>
                    <a:pt x="11265" y="1980"/>
                    <a:pt x="11458" y="1591"/>
                  </a:cubicBezTo>
                  <a:cubicBezTo>
                    <a:pt x="11473" y="1562"/>
                    <a:pt x="11486" y="1534"/>
                    <a:pt x="11504" y="1505"/>
                  </a:cubicBezTo>
                  <a:cubicBezTo>
                    <a:pt x="11601" y="1309"/>
                    <a:pt x="11586" y="1109"/>
                    <a:pt x="11515" y="924"/>
                  </a:cubicBezTo>
                  <a:lnTo>
                    <a:pt x="11515" y="924"/>
                  </a:lnTo>
                  <a:cubicBezTo>
                    <a:pt x="11511" y="1505"/>
                    <a:pt x="10898" y="1833"/>
                    <a:pt x="10306" y="1833"/>
                  </a:cubicBezTo>
                  <a:cubicBezTo>
                    <a:pt x="9796" y="1833"/>
                    <a:pt x="9307" y="1594"/>
                    <a:pt x="9236" y="1066"/>
                  </a:cubicBezTo>
                  <a:cubicBezTo>
                    <a:pt x="9187" y="710"/>
                    <a:pt x="9147" y="357"/>
                    <a:pt x="9115" y="0"/>
                  </a:cubicBezTo>
                  <a:close/>
                </a:path>
              </a:pathLst>
            </a:custGeom>
            <a:solidFill>
              <a:schemeClr val="accent6"/>
            </a:solid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80" name="Google Shape;2543;p58">
              <a:extLst>
                <a:ext uri="{FF2B5EF4-FFF2-40B4-BE49-F238E27FC236}">
                  <a16:creationId xmlns:a16="http://schemas.microsoft.com/office/drawing/2014/main" id="{14DC5416-8B96-4B1B-BACA-FF89591AAE2D}"/>
                </a:ext>
              </a:extLst>
            </p:cNvPr>
            <p:cNvSpPr/>
            <p:nvPr/>
          </p:nvSpPr>
          <p:spPr>
            <a:xfrm>
              <a:off x="1013075" y="2131900"/>
              <a:ext cx="60050" cy="47175"/>
            </a:xfrm>
            <a:custGeom>
              <a:avLst/>
              <a:gdLst/>
              <a:ahLst/>
              <a:cxnLst/>
              <a:rect l="l" t="t" r="r" b="b"/>
              <a:pathLst>
                <a:path w="2402" h="1887" extrusionOk="0">
                  <a:moveTo>
                    <a:pt x="686" y="0"/>
                  </a:moveTo>
                  <a:cubicBezTo>
                    <a:pt x="465" y="0"/>
                    <a:pt x="233" y="21"/>
                    <a:pt x="1" y="53"/>
                  </a:cubicBezTo>
                  <a:cubicBezTo>
                    <a:pt x="33" y="410"/>
                    <a:pt x="73" y="763"/>
                    <a:pt x="122" y="1119"/>
                  </a:cubicBezTo>
                  <a:cubicBezTo>
                    <a:pt x="193" y="1647"/>
                    <a:pt x="682" y="1886"/>
                    <a:pt x="1192" y="1886"/>
                  </a:cubicBezTo>
                  <a:cubicBezTo>
                    <a:pt x="1784" y="1886"/>
                    <a:pt x="2397" y="1558"/>
                    <a:pt x="2401" y="977"/>
                  </a:cubicBezTo>
                  <a:cubicBezTo>
                    <a:pt x="2308" y="738"/>
                    <a:pt x="2119" y="527"/>
                    <a:pt x="1941" y="377"/>
                  </a:cubicBezTo>
                  <a:cubicBezTo>
                    <a:pt x="1602" y="99"/>
                    <a:pt x="1164" y="0"/>
                    <a:pt x="686" y="0"/>
                  </a:cubicBezTo>
                  <a:close/>
                </a:path>
              </a:pathLst>
            </a:custGeom>
            <a:solidFill>
              <a:schemeClr val="accent6"/>
            </a:solid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81" name="Google Shape;2544;p58">
              <a:extLst>
                <a:ext uri="{FF2B5EF4-FFF2-40B4-BE49-F238E27FC236}">
                  <a16:creationId xmlns:a16="http://schemas.microsoft.com/office/drawing/2014/main" id="{61DF4025-F32E-456F-8CCD-FEE5814A7088}"/>
                </a:ext>
              </a:extLst>
            </p:cNvPr>
            <p:cNvSpPr/>
            <p:nvPr/>
          </p:nvSpPr>
          <p:spPr>
            <a:xfrm>
              <a:off x="798250" y="2195875"/>
              <a:ext cx="62525" cy="151150"/>
            </a:xfrm>
            <a:custGeom>
              <a:avLst/>
              <a:gdLst/>
              <a:ahLst/>
              <a:cxnLst/>
              <a:rect l="l" t="t" r="r" b="b"/>
              <a:pathLst>
                <a:path w="2501" h="6046" extrusionOk="0">
                  <a:moveTo>
                    <a:pt x="301" y="1"/>
                  </a:moveTo>
                  <a:cubicBezTo>
                    <a:pt x="129" y="886"/>
                    <a:pt x="29" y="1766"/>
                    <a:pt x="1" y="2647"/>
                  </a:cubicBezTo>
                  <a:cubicBezTo>
                    <a:pt x="464" y="3367"/>
                    <a:pt x="928" y="4084"/>
                    <a:pt x="1388" y="4801"/>
                  </a:cubicBezTo>
                  <a:cubicBezTo>
                    <a:pt x="1652" y="5207"/>
                    <a:pt x="1709" y="5724"/>
                    <a:pt x="1612" y="6045"/>
                  </a:cubicBezTo>
                  <a:cubicBezTo>
                    <a:pt x="2094" y="5956"/>
                    <a:pt x="2501" y="5785"/>
                    <a:pt x="2468" y="5581"/>
                  </a:cubicBezTo>
                  <a:cubicBezTo>
                    <a:pt x="2190" y="3799"/>
                    <a:pt x="2190" y="2033"/>
                    <a:pt x="2475" y="262"/>
                  </a:cubicBezTo>
                  <a:lnTo>
                    <a:pt x="2475" y="262"/>
                  </a:lnTo>
                  <a:cubicBezTo>
                    <a:pt x="2016" y="275"/>
                    <a:pt x="1552" y="279"/>
                    <a:pt x="1089" y="279"/>
                  </a:cubicBezTo>
                  <a:cubicBezTo>
                    <a:pt x="785" y="279"/>
                    <a:pt x="518" y="172"/>
                    <a:pt x="301" y="1"/>
                  </a:cubicBezTo>
                  <a:close/>
                </a:path>
              </a:pathLst>
            </a:custGeom>
            <a:solidFill>
              <a:schemeClr val="accent6"/>
            </a:solid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82" name="Google Shape;2545;p58">
              <a:extLst>
                <a:ext uri="{FF2B5EF4-FFF2-40B4-BE49-F238E27FC236}">
                  <a16:creationId xmlns:a16="http://schemas.microsoft.com/office/drawing/2014/main" id="{7E9BFF17-89A1-4D9D-8006-5370192736A2}"/>
                </a:ext>
              </a:extLst>
            </p:cNvPr>
            <p:cNvSpPr/>
            <p:nvPr/>
          </p:nvSpPr>
          <p:spPr>
            <a:xfrm>
              <a:off x="805750" y="2179750"/>
              <a:ext cx="58250" cy="23100"/>
            </a:xfrm>
            <a:custGeom>
              <a:avLst/>
              <a:gdLst/>
              <a:ahLst/>
              <a:cxnLst/>
              <a:rect l="l" t="t" r="r" b="b"/>
              <a:pathLst>
                <a:path w="2330" h="924" extrusionOk="0">
                  <a:moveTo>
                    <a:pt x="1431" y="0"/>
                  </a:moveTo>
                  <a:cubicBezTo>
                    <a:pt x="820" y="0"/>
                    <a:pt x="104" y="132"/>
                    <a:pt x="36" y="482"/>
                  </a:cubicBezTo>
                  <a:cubicBezTo>
                    <a:pt x="22" y="535"/>
                    <a:pt x="11" y="593"/>
                    <a:pt x="1" y="646"/>
                  </a:cubicBezTo>
                  <a:cubicBezTo>
                    <a:pt x="218" y="817"/>
                    <a:pt x="485" y="924"/>
                    <a:pt x="789" y="924"/>
                  </a:cubicBezTo>
                  <a:cubicBezTo>
                    <a:pt x="1252" y="924"/>
                    <a:pt x="1716" y="920"/>
                    <a:pt x="2175" y="907"/>
                  </a:cubicBezTo>
                  <a:cubicBezTo>
                    <a:pt x="2214" y="675"/>
                    <a:pt x="2257" y="443"/>
                    <a:pt x="2303" y="208"/>
                  </a:cubicBezTo>
                  <a:cubicBezTo>
                    <a:pt x="2329" y="86"/>
                    <a:pt x="1911" y="0"/>
                    <a:pt x="1431" y="0"/>
                  </a:cubicBezTo>
                  <a:close/>
                </a:path>
              </a:pathLst>
            </a:custGeom>
            <a:solidFill>
              <a:schemeClr val="accent6"/>
            </a:solid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83" name="Google Shape;2546;p58">
              <a:extLst>
                <a:ext uri="{FF2B5EF4-FFF2-40B4-BE49-F238E27FC236}">
                  <a16:creationId xmlns:a16="http://schemas.microsoft.com/office/drawing/2014/main" id="{20C443D1-1122-4E1B-B9D8-9D8935E6C844}"/>
                </a:ext>
              </a:extLst>
            </p:cNvPr>
            <p:cNvSpPr/>
            <p:nvPr/>
          </p:nvSpPr>
          <p:spPr>
            <a:xfrm>
              <a:off x="799950" y="2316150"/>
              <a:ext cx="21675" cy="32475"/>
            </a:xfrm>
            <a:custGeom>
              <a:avLst/>
              <a:gdLst/>
              <a:ahLst/>
              <a:cxnLst/>
              <a:rect l="l" t="t" r="r" b="b"/>
              <a:pathLst>
                <a:path w="867" h="1299" extrusionOk="0">
                  <a:moveTo>
                    <a:pt x="1" y="0"/>
                  </a:moveTo>
                  <a:lnTo>
                    <a:pt x="1" y="0"/>
                  </a:lnTo>
                  <a:cubicBezTo>
                    <a:pt x="32" y="350"/>
                    <a:pt x="79" y="696"/>
                    <a:pt x="132" y="1045"/>
                  </a:cubicBezTo>
                  <a:cubicBezTo>
                    <a:pt x="161" y="1223"/>
                    <a:pt x="475" y="1298"/>
                    <a:pt x="863" y="1298"/>
                  </a:cubicBezTo>
                  <a:lnTo>
                    <a:pt x="867" y="1298"/>
                  </a:lnTo>
                  <a:cubicBezTo>
                    <a:pt x="799" y="1223"/>
                    <a:pt x="728" y="1127"/>
                    <a:pt x="653" y="1013"/>
                  </a:cubicBezTo>
                  <a:cubicBezTo>
                    <a:pt x="435" y="674"/>
                    <a:pt x="218" y="339"/>
                    <a:pt x="1" y="0"/>
                  </a:cubicBezTo>
                  <a:close/>
                </a:path>
              </a:pathLst>
            </a:custGeom>
            <a:solidFill>
              <a:schemeClr val="accent6"/>
            </a:solid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84" name="Google Shape;2547;p58">
              <a:extLst>
                <a:ext uri="{FF2B5EF4-FFF2-40B4-BE49-F238E27FC236}">
                  <a16:creationId xmlns:a16="http://schemas.microsoft.com/office/drawing/2014/main" id="{73C40472-5E2D-4819-8900-E7150462D4D0}"/>
                </a:ext>
              </a:extLst>
            </p:cNvPr>
            <p:cNvSpPr/>
            <p:nvPr/>
          </p:nvSpPr>
          <p:spPr>
            <a:xfrm>
              <a:off x="475450" y="2160675"/>
              <a:ext cx="363125" cy="193750"/>
            </a:xfrm>
            <a:custGeom>
              <a:avLst/>
              <a:gdLst/>
              <a:ahLst/>
              <a:cxnLst/>
              <a:rect l="l" t="t" r="r" b="b"/>
              <a:pathLst>
                <a:path w="14525" h="7750" extrusionOk="0">
                  <a:moveTo>
                    <a:pt x="2935" y="1"/>
                  </a:moveTo>
                  <a:cubicBezTo>
                    <a:pt x="2012" y="1"/>
                    <a:pt x="1095" y="82"/>
                    <a:pt x="197" y="403"/>
                  </a:cubicBezTo>
                  <a:cubicBezTo>
                    <a:pt x="101" y="436"/>
                    <a:pt x="37" y="507"/>
                    <a:pt x="1" y="603"/>
                  </a:cubicBezTo>
                  <a:cubicBezTo>
                    <a:pt x="26" y="710"/>
                    <a:pt x="55" y="814"/>
                    <a:pt x="83" y="921"/>
                  </a:cubicBezTo>
                  <a:cubicBezTo>
                    <a:pt x="843" y="1199"/>
                    <a:pt x="1702" y="2108"/>
                    <a:pt x="911" y="2368"/>
                  </a:cubicBezTo>
                  <a:cubicBezTo>
                    <a:pt x="882" y="2379"/>
                    <a:pt x="853" y="2386"/>
                    <a:pt x="825" y="2393"/>
                  </a:cubicBezTo>
                  <a:cubicBezTo>
                    <a:pt x="914" y="2440"/>
                    <a:pt x="1000" y="2468"/>
                    <a:pt x="1089" y="2468"/>
                  </a:cubicBezTo>
                  <a:cubicBezTo>
                    <a:pt x="1135" y="2468"/>
                    <a:pt x="1181" y="2461"/>
                    <a:pt x="1228" y="2443"/>
                  </a:cubicBezTo>
                  <a:cubicBezTo>
                    <a:pt x="2048" y="2151"/>
                    <a:pt x="2914" y="2069"/>
                    <a:pt x="3791" y="2069"/>
                  </a:cubicBezTo>
                  <a:cubicBezTo>
                    <a:pt x="4775" y="2069"/>
                    <a:pt x="5771" y="2172"/>
                    <a:pt x="6722" y="2215"/>
                  </a:cubicBezTo>
                  <a:cubicBezTo>
                    <a:pt x="7571" y="2251"/>
                    <a:pt x="8417" y="2290"/>
                    <a:pt x="9265" y="2325"/>
                  </a:cubicBezTo>
                  <a:cubicBezTo>
                    <a:pt x="9525" y="2336"/>
                    <a:pt x="9989" y="2432"/>
                    <a:pt x="10399" y="2432"/>
                  </a:cubicBezTo>
                  <a:cubicBezTo>
                    <a:pt x="10445" y="2432"/>
                    <a:pt x="10492" y="2432"/>
                    <a:pt x="10535" y="2429"/>
                  </a:cubicBezTo>
                  <a:cubicBezTo>
                    <a:pt x="11351" y="3691"/>
                    <a:pt x="12164" y="4957"/>
                    <a:pt x="12981" y="6219"/>
                  </a:cubicBezTo>
                  <a:cubicBezTo>
                    <a:pt x="12910" y="5495"/>
                    <a:pt x="12888" y="4775"/>
                    <a:pt x="12913" y="4055"/>
                  </a:cubicBezTo>
                  <a:cubicBezTo>
                    <a:pt x="12342" y="3171"/>
                    <a:pt x="11768" y="2282"/>
                    <a:pt x="11198" y="1398"/>
                  </a:cubicBezTo>
                  <a:cubicBezTo>
                    <a:pt x="11126" y="1138"/>
                    <a:pt x="10991" y="892"/>
                    <a:pt x="10873" y="735"/>
                  </a:cubicBezTo>
                  <a:cubicBezTo>
                    <a:pt x="10851" y="710"/>
                    <a:pt x="10830" y="681"/>
                    <a:pt x="10809" y="653"/>
                  </a:cubicBezTo>
                  <a:cubicBezTo>
                    <a:pt x="10698" y="510"/>
                    <a:pt x="10377" y="100"/>
                    <a:pt x="10103" y="100"/>
                  </a:cubicBezTo>
                  <a:cubicBezTo>
                    <a:pt x="10053" y="100"/>
                    <a:pt x="10003" y="115"/>
                    <a:pt x="9957" y="146"/>
                  </a:cubicBezTo>
                  <a:cubicBezTo>
                    <a:pt x="9936" y="161"/>
                    <a:pt x="9918" y="176"/>
                    <a:pt x="9896" y="189"/>
                  </a:cubicBezTo>
                  <a:cubicBezTo>
                    <a:pt x="9839" y="229"/>
                    <a:pt x="9796" y="275"/>
                    <a:pt x="9765" y="329"/>
                  </a:cubicBezTo>
                  <a:cubicBezTo>
                    <a:pt x="9658" y="350"/>
                    <a:pt x="9533" y="357"/>
                    <a:pt x="9397" y="357"/>
                  </a:cubicBezTo>
                  <a:cubicBezTo>
                    <a:pt x="8798" y="357"/>
                    <a:pt x="7989" y="204"/>
                    <a:pt x="7682" y="189"/>
                  </a:cubicBezTo>
                  <a:cubicBezTo>
                    <a:pt x="6740" y="151"/>
                    <a:pt x="5799" y="108"/>
                    <a:pt x="4858" y="69"/>
                  </a:cubicBezTo>
                  <a:cubicBezTo>
                    <a:pt x="4212" y="39"/>
                    <a:pt x="3570" y="1"/>
                    <a:pt x="2935" y="1"/>
                  </a:cubicBezTo>
                  <a:close/>
                  <a:moveTo>
                    <a:pt x="14524" y="7453"/>
                  </a:moveTo>
                  <a:lnTo>
                    <a:pt x="14524" y="7453"/>
                  </a:lnTo>
                  <a:cubicBezTo>
                    <a:pt x="14304" y="7493"/>
                    <a:pt x="14065" y="7517"/>
                    <a:pt x="13847" y="7517"/>
                  </a:cubicBezTo>
                  <a:cubicBezTo>
                    <a:pt x="13996" y="7682"/>
                    <a:pt x="14125" y="7749"/>
                    <a:pt x="14232" y="7749"/>
                  </a:cubicBezTo>
                  <a:cubicBezTo>
                    <a:pt x="14371" y="7749"/>
                    <a:pt x="14475" y="7631"/>
                    <a:pt x="14524" y="7453"/>
                  </a:cubicBezTo>
                  <a:close/>
                </a:path>
              </a:pathLst>
            </a:custGeom>
            <a:solidFill>
              <a:schemeClr val="accent6"/>
            </a:solid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85" name="Google Shape;2548;p58">
              <a:extLst>
                <a:ext uri="{FF2B5EF4-FFF2-40B4-BE49-F238E27FC236}">
                  <a16:creationId xmlns:a16="http://schemas.microsoft.com/office/drawing/2014/main" id="{9005F94B-B71F-45B5-8E79-F38443BC3998}"/>
                </a:ext>
              </a:extLst>
            </p:cNvPr>
            <p:cNvSpPr/>
            <p:nvPr/>
          </p:nvSpPr>
          <p:spPr>
            <a:xfrm>
              <a:off x="797650" y="2262025"/>
              <a:ext cx="43350" cy="86600"/>
            </a:xfrm>
            <a:custGeom>
              <a:avLst/>
              <a:gdLst/>
              <a:ahLst/>
              <a:cxnLst/>
              <a:rect l="l" t="t" r="r" b="b"/>
              <a:pathLst>
                <a:path w="1734" h="3464" extrusionOk="0">
                  <a:moveTo>
                    <a:pt x="25" y="1"/>
                  </a:moveTo>
                  <a:lnTo>
                    <a:pt x="25" y="1"/>
                  </a:lnTo>
                  <a:cubicBezTo>
                    <a:pt x="0" y="721"/>
                    <a:pt x="22" y="1441"/>
                    <a:pt x="93" y="2165"/>
                  </a:cubicBezTo>
                  <a:cubicBezTo>
                    <a:pt x="310" y="2504"/>
                    <a:pt x="527" y="2839"/>
                    <a:pt x="745" y="3178"/>
                  </a:cubicBezTo>
                  <a:cubicBezTo>
                    <a:pt x="820" y="3292"/>
                    <a:pt x="891" y="3388"/>
                    <a:pt x="959" y="3463"/>
                  </a:cubicBezTo>
                  <a:cubicBezTo>
                    <a:pt x="1177" y="3463"/>
                    <a:pt x="1416" y="3439"/>
                    <a:pt x="1636" y="3399"/>
                  </a:cubicBezTo>
                  <a:cubicBezTo>
                    <a:pt x="1733" y="3078"/>
                    <a:pt x="1676" y="2561"/>
                    <a:pt x="1412" y="2155"/>
                  </a:cubicBezTo>
                  <a:cubicBezTo>
                    <a:pt x="952" y="1438"/>
                    <a:pt x="488" y="721"/>
                    <a:pt x="25" y="1"/>
                  </a:cubicBezTo>
                  <a:close/>
                </a:path>
              </a:pathLst>
            </a:custGeom>
            <a:solidFill>
              <a:schemeClr val="accent6"/>
            </a:solid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86" name="Google Shape;2549;p58">
              <a:extLst>
                <a:ext uri="{FF2B5EF4-FFF2-40B4-BE49-F238E27FC236}">
                  <a16:creationId xmlns:a16="http://schemas.microsoft.com/office/drawing/2014/main" id="{10A81EA2-2C6B-4D37-B7BC-C562EC2D0B0C}"/>
                </a:ext>
              </a:extLst>
            </p:cNvPr>
            <p:cNvSpPr/>
            <p:nvPr/>
          </p:nvSpPr>
          <p:spPr>
            <a:xfrm>
              <a:off x="394775" y="1828875"/>
              <a:ext cx="101325" cy="394500"/>
            </a:xfrm>
            <a:custGeom>
              <a:avLst/>
              <a:gdLst/>
              <a:ahLst/>
              <a:cxnLst/>
              <a:rect l="l" t="t" r="r" b="b"/>
              <a:pathLst>
                <a:path w="4053" h="15780" extrusionOk="0">
                  <a:moveTo>
                    <a:pt x="1" y="1"/>
                  </a:moveTo>
                  <a:cubicBezTo>
                    <a:pt x="190" y="3417"/>
                    <a:pt x="465" y="6825"/>
                    <a:pt x="839" y="10224"/>
                  </a:cubicBezTo>
                  <a:cubicBezTo>
                    <a:pt x="1017" y="11864"/>
                    <a:pt x="1078" y="15780"/>
                    <a:pt x="3338" y="15780"/>
                  </a:cubicBezTo>
                  <a:cubicBezTo>
                    <a:pt x="3557" y="15780"/>
                    <a:pt x="3792" y="15744"/>
                    <a:pt x="4052" y="15665"/>
                  </a:cubicBezTo>
                  <a:cubicBezTo>
                    <a:pt x="3524" y="15383"/>
                    <a:pt x="3057" y="14338"/>
                    <a:pt x="3228" y="13875"/>
                  </a:cubicBezTo>
                  <a:cubicBezTo>
                    <a:pt x="3017" y="12955"/>
                    <a:pt x="3000" y="11947"/>
                    <a:pt x="2904" y="11055"/>
                  </a:cubicBezTo>
                  <a:cubicBezTo>
                    <a:pt x="2775" y="9871"/>
                    <a:pt x="2654" y="8683"/>
                    <a:pt x="2547" y="7492"/>
                  </a:cubicBezTo>
                  <a:cubicBezTo>
                    <a:pt x="2333" y="5110"/>
                    <a:pt x="2166" y="2721"/>
                    <a:pt x="2041" y="333"/>
                  </a:cubicBezTo>
                  <a:cubicBezTo>
                    <a:pt x="1666" y="351"/>
                    <a:pt x="1296" y="368"/>
                    <a:pt x="925" y="386"/>
                  </a:cubicBezTo>
                  <a:lnTo>
                    <a:pt x="871" y="386"/>
                  </a:lnTo>
                  <a:cubicBezTo>
                    <a:pt x="529" y="386"/>
                    <a:pt x="226" y="229"/>
                    <a:pt x="1" y="1"/>
                  </a:cubicBezTo>
                  <a:close/>
                </a:path>
              </a:pathLst>
            </a:custGeom>
            <a:solidFill>
              <a:schemeClr val="accent6"/>
            </a:solid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sp>
          <p:nvSpPr>
            <p:cNvPr id="87" name="Google Shape;2550;p58">
              <a:extLst>
                <a:ext uri="{FF2B5EF4-FFF2-40B4-BE49-F238E27FC236}">
                  <a16:creationId xmlns:a16="http://schemas.microsoft.com/office/drawing/2014/main" id="{9073F815-1D32-4161-9D63-420218B02643}"/>
                </a:ext>
              </a:extLst>
            </p:cNvPr>
            <p:cNvSpPr/>
            <p:nvPr/>
          </p:nvSpPr>
          <p:spPr>
            <a:xfrm>
              <a:off x="471175" y="2175750"/>
              <a:ext cx="46850" cy="44750"/>
            </a:xfrm>
            <a:custGeom>
              <a:avLst/>
              <a:gdLst/>
              <a:ahLst/>
              <a:cxnLst/>
              <a:rect l="l" t="t" r="r" b="b"/>
              <a:pathLst>
                <a:path w="1874" h="1790" extrusionOk="0">
                  <a:moveTo>
                    <a:pt x="172" y="0"/>
                  </a:moveTo>
                  <a:lnTo>
                    <a:pt x="172" y="0"/>
                  </a:lnTo>
                  <a:cubicBezTo>
                    <a:pt x="1" y="463"/>
                    <a:pt x="468" y="1508"/>
                    <a:pt x="996" y="1790"/>
                  </a:cubicBezTo>
                  <a:cubicBezTo>
                    <a:pt x="1024" y="1783"/>
                    <a:pt x="1053" y="1776"/>
                    <a:pt x="1082" y="1765"/>
                  </a:cubicBezTo>
                  <a:cubicBezTo>
                    <a:pt x="1873" y="1505"/>
                    <a:pt x="1014" y="596"/>
                    <a:pt x="254" y="318"/>
                  </a:cubicBezTo>
                  <a:cubicBezTo>
                    <a:pt x="226" y="211"/>
                    <a:pt x="197" y="107"/>
                    <a:pt x="172" y="0"/>
                  </a:cubicBezTo>
                  <a:close/>
                </a:path>
              </a:pathLst>
            </a:custGeom>
            <a:solidFill>
              <a:schemeClr val="accent6"/>
            </a:solid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13131"/>
                </a:solidFill>
                <a:effectLst/>
                <a:uLnTx/>
                <a:uFillTx/>
                <a:latin typeface="Arial"/>
                <a:ea typeface="+mn-ea"/>
                <a:cs typeface="+mn-cs"/>
              </a:endParaRPr>
            </a:p>
          </p:txBody>
        </p:sp>
      </p:grpSp>
    </p:spTree>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2781"/>
        <p:cNvGrpSpPr/>
        <p:nvPr/>
      </p:nvGrpSpPr>
      <p:grpSpPr>
        <a:xfrm>
          <a:off x="0" y="0"/>
          <a:ext cx="0" cy="0"/>
          <a:chOff x="0" y="0"/>
          <a:chExt cx="0" cy="0"/>
        </a:xfrm>
      </p:grpSpPr>
      <p:sp>
        <p:nvSpPr>
          <p:cNvPr id="2782" name="Google Shape;2782;p67"/>
          <p:cNvSpPr txBox="1">
            <a:spLocks noGrp="1"/>
          </p:cNvSpPr>
          <p:nvPr>
            <p:ph type="title"/>
          </p:nvPr>
        </p:nvSpPr>
        <p:spPr>
          <a:xfrm>
            <a:off x="960100" y="593367"/>
            <a:ext cx="10272000" cy="763600"/>
          </a:xfrm>
          <a:prstGeom prst="rect">
            <a:avLst/>
          </a:prstGeom>
        </p:spPr>
        <p:txBody>
          <a:bodyPr spcFirstLastPara="1" wrap="square" lIns="121900" tIns="121900" rIns="121900" bIns="121900" anchor="t" anchorCtr="0">
            <a:noAutofit/>
          </a:bodyPr>
          <a:lstStyle/>
          <a:p>
            <a:r>
              <a:rPr lang="en" dirty="0"/>
              <a:t>Great thanks to our teachers for help</a:t>
            </a:r>
            <a:endParaRPr dirty="0"/>
          </a:p>
        </p:txBody>
      </p:sp>
      <p:sp>
        <p:nvSpPr>
          <p:cNvPr id="2783" name="Google Shape;2783;p67"/>
          <p:cNvSpPr txBox="1">
            <a:spLocks noGrp="1"/>
          </p:cNvSpPr>
          <p:nvPr>
            <p:ph type="subTitle" idx="1"/>
          </p:nvPr>
        </p:nvSpPr>
        <p:spPr>
          <a:xfrm flipH="1">
            <a:off x="827410" y="3009318"/>
            <a:ext cx="2689600" cy="552894"/>
          </a:xfrm>
          <a:prstGeom prst="rect">
            <a:avLst/>
          </a:prstGeom>
        </p:spPr>
        <p:txBody>
          <a:bodyPr spcFirstLastPara="1" wrap="square" lIns="121900" tIns="121900" rIns="121900" bIns="121900" anchor="t" anchorCtr="0">
            <a:normAutofit/>
          </a:bodyPr>
          <a:lstStyle/>
          <a:p>
            <a:pPr marL="0" indent="0"/>
            <a:r>
              <a:rPr lang="en-US" dirty="0"/>
              <a:t>Subject Teacher</a:t>
            </a:r>
            <a:endParaRPr dirty="0"/>
          </a:p>
          <a:p>
            <a:pPr marL="0" indent="0"/>
            <a:endParaRPr dirty="0"/>
          </a:p>
        </p:txBody>
      </p:sp>
      <p:sp>
        <p:nvSpPr>
          <p:cNvPr id="2784" name="Google Shape;2784;p67"/>
          <p:cNvSpPr txBox="1">
            <a:spLocks noGrp="1"/>
          </p:cNvSpPr>
          <p:nvPr>
            <p:ph type="subTitle" idx="2"/>
          </p:nvPr>
        </p:nvSpPr>
        <p:spPr>
          <a:xfrm flipH="1">
            <a:off x="9225125" y="2700452"/>
            <a:ext cx="2858000" cy="770400"/>
          </a:xfrm>
          <a:prstGeom prst="rect">
            <a:avLst/>
          </a:prstGeom>
        </p:spPr>
        <p:txBody>
          <a:bodyPr spcFirstLastPara="1" wrap="square" lIns="121900" tIns="121900" rIns="121900" bIns="121900" anchor="t" anchorCtr="0">
            <a:noAutofit/>
          </a:bodyPr>
          <a:lstStyle/>
          <a:p>
            <a:pPr marL="0" indent="0"/>
            <a:r>
              <a:rPr lang="en-US" dirty="0"/>
              <a:t>Faculty Coordinator</a:t>
            </a:r>
            <a:endParaRPr dirty="0"/>
          </a:p>
        </p:txBody>
      </p:sp>
      <p:sp>
        <p:nvSpPr>
          <p:cNvPr id="2785" name="Google Shape;2785;p67"/>
          <p:cNvSpPr txBox="1">
            <a:spLocks noGrp="1"/>
          </p:cNvSpPr>
          <p:nvPr>
            <p:ph type="title" idx="3"/>
          </p:nvPr>
        </p:nvSpPr>
        <p:spPr>
          <a:xfrm>
            <a:off x="987030" y="2240630"/>
            <a:ext cx="2273200" cy="562000"/>
          </a:xfrm>
          <a:prstGeom prst="rect">
            <a:avLst/>
          </a:prstGeom>
        </p:spPr>
        <p:txBody>
          <a:bodyPr spcFirstLastPara="1" wrap="square" lIns="0" tIns="0" rIns="0" bIns="0" anchor="ctr" anchorCtr="0">
            <a:normAutofit fontScale="90000"/>
          </a:bodyPr>
          <a:lstStyle/>
          <a:p>
            <a:r>
              <a:rPr lang="en" dirty="0"/>
              <a:t>Asst.Prof. Mahendra Singh Yadav</a:t>
            </a:r>
            <a:endParaRPr dirty="0"/>
          </a:p>
        </p:txBody>
      </p:sp>
      <p:sp>
        <p:nvSpPr>
          <p:cNvPr id="2786" name="Google Shape;2786;p67"/>
          <p:cNvSpPr txBox="1">
            <a:spLocks noGrp="1"/>
          </p:cNvSpPr>
          <p:nvPr>
            <p:ph type="title" idx="4"/>
          </p:nvPr>
        </p:nvSpPr>
        <p:spPr>
          <a:xfrm>
            <a:off x="8686434" y="3009318"/>
            <a:ext cx="3319533" cy="562000"/>
          </a:xfrm>
          <a:prstGeom prst="rect">
            <a:avLst/>
          </a:prstGeom>
        </p:spPr>
        <p:txBody>
          <a:bodyPr spcFirstLastPara="1" wrap="square" lIns="0" tIns="0" rIns="0" bIns="0" anchor="ctr" anchorCtr="0">
            <a:normAutofit fontScale="90000"/>
          </a:bodyPr>
          <a:lstStyle/>
          <a:p>
            <a:r>
              <a:rPr lang="en" dirty="0"/>
              <a:t>Asst.Prof. Bharti GOle</a:t>
            </a:r>
            <a:endParaRPr dirty="0"/>
          </a:p>
        </p:txBody>
      </p:sp>
      <p:sp>
        <p:nvSpPr>
          <p:cNvPr id="2787" name="Google Shape;2787;p67"/>
          <p:cNvSpPr/>
          <p:nvPr/>
        </p:nvSpPr>
        <p:spPr>
          <a:xfrm>
            <a:off x="284225" y="1405283"/>
            <a:ext cx="323767" cy="727033"/>
          </a:xfrm>
          <a:custGeom>
            <a:avLst/>
            <a:gdLst/>
            <a:ahLst/>
            <a:cxnLst/>
            <a:rect l="l" t="t" r="r" b="b"/>
            <a:pathLst>
              <a:path w="9713" h="21811" extrusionOk="0">
                <a:moveTo>
                  <a:pt x="7024" y="4705"/>
                </a:moveTo>
                <a:cubicBezTo>
                  <a:pt x="7058" y="4705"/>
                  <a:pt x="7091" y="4705"/>
                  <a:pt x="7192" y="4739"/>
                </a:cubicBezTo>
                <a:cubicBezTo>
                  <a:pt x="7226" y="4739"/>
                  <a:pt x="7226" y="4806"/>
                  <a:pt x="7260" y="4806"/>
                </a:cubicBezTo>
                <a:lnTo>
                  <a:pt x="7327" y="4840"/>
                </a:lnTo>
                <a:cubicBezTo>
                  <a:pt x="7327" y="4873"/>
                  <a:pt x="7360" y="4873"/>
                  <a:pt x="7360" y="4907"/>
                </a:cubicBezTo>
                <a:cubicBezTo>
                  <a:pt x="7394" y="5008"/>
                  <a:pt x="7394" y="5041"/>
                  <a:pt x="7394" y="5109"/>
                </a:cubicBezTo>
                <a:lnTo>
                  <a:pt x="7394" y="5646"/>
                </a:lnTo>
                <a:cubicBezTo>
                  <a:pt x="7360" y="5949"/>
                  <a:pt x="7260" y="6285"/>
                  <a:pt x="7159" y="6654"/>
                </a:cubicBezTo>
                <a:cubicBezTo>
                  <a:pt x="7058" y="6856"/>
                  <a:pt x="6923" y="7024"/>
                  <a:pt x="6823" y="7192"/>
                </a:cubicBezTo>
                <a:cubicBezTo>
                  <a:pt x="6688" y="7360"/>
                  <a:pt x="6554" y="7495"/>
                  <a:pt x="6386" y="7595"/>
                </a:cubicBezTo>
                <a:cubicBezTo>
                  <a:pt x="6184" y="7730"/>
                  <a:pt x="6016" y="7864"/>
                  <a:pt x="5747" y="7999"/>
                </a:cubicBezTo>
                <a:cubicBezTo>
                  <a:pt x="5512" y="8100"/>
                  <a:pt x="5210" y="8167"/>
                  <a:pt x="4907" y="8234"/>
                </a:cubicBezTo>
                <a:cubicBezTo>
                  <a:pt x="4739" y="8268"/>
                  <a:pt x="4537" y="8268"/>
                  <a:pt x="4336" y="8268"/>
                </a:cubicBezTo>
                <a:cubicBezTo>
                  <a:pt x="4134" y="8268"/>
                  <a:pt x="3966" y="8268"/>
                  <a:pt x="3798" y="8234"/>
                </a:cubicBezTo>
                <a:cubicBezTo>
                  <a:pt x="3395" y="8200"/>
                  <a:pt x="3059" y="8066"/>
                  <a:pt x="2723" y="7931"/>
                </a:cubicBezTo>
                <a:cubicBezTo>
                  <a:pt x="2622" y="7898"/>
                  <a:pt x="2487" y="7831"/>
                  <a:pt x="2353" y="7763"/>
                </a:cubicBezTo>
                <a:cubicBezTo>
                  <a:pt x="2454" y="7595"/>
                  <a:pt x="2555" y="7427"/>
                  <a:pt x="2656" y="7327"/>
                </a:cubicBezTo>
                <a:cubicBezTo>
                  <a:pt x="2891" y="6991"/>
                  <a:pt x="3227" y="6654"/>
                  <a:pt x="3731" y="6251"/>
                </a:cubicBezTo>
                <a:lnTo>
                  <a:pt x="3798" y="6218"/>
                </a:lnTo>
                <a:lnTo>
                  <a:pt x="3832" y="6184"/>
                </a:lnTo>
                <a:cubicBezTo>
                  <a:pt x="4504" y="5646"/>
                  <a:pt x="5176" y="5243"/>
                  <a:pt x="5814" y="4974"/>
                </a:cubicBezTo>
                <a:cubicBezTo>
                  <a:pt x="6117" y="4840"/>
                  <a:pt x="6386" y="4739"/>
                  <a:pt x="6688" y="4705"/>
                </a:cubicBezTo>
                <a:close/>
                <a:moveTo>
                  <a:pt x="7091" y="11729"/>
                </a:moveTo>
                <a:cubicBezTo>
                  <a:pt x="7260" y="11763"/>
                  <a:pt x="7461" y="11796"/>
                  <a:pt x="7596" y="11863"/>
                </a:cubicBezTo>
                <a:cubicBezTo>
                  <a:pt x="7730" y="11897"/>
                  <a:pt x="7797" y="11964"/>
                  <a:pt x="7932" y="12065"/>
                </a:cubicBezTo>
                <a:lnTo>
                  <a:pt x="8133" y="12267"/>
                </a:lnTo>
                <a:cubicBezTo>
                  <a:pt x="8200" y="12300"/>
                  <a:pt x="8234" y="12401"/>
                  <a:pt x="8268" y="12468"/>
                </a:cubicBezTo>
                <a:cubicBezTo>
                  <a:pt x="8301" y="12569"/>
                  <a:pt x="8301" y="12603"/>
                  <a:pt x="8301" y="12703"/>
                </a:cubicBezTo>
                <a:lnTo>
                  <a:pt x="8301" y="12939"/>
                </a:lnTo>
                <a:cubicBezTo>
                  <a:pt x="8301" y="13040"/>
                  <a:pt x="8268" y="13140"/>
                  <a:pt x="8234" y="13241"/>
                </a:cubicBezTo>
                <a:cubicBezTo>
                  <a:pt x="8133" y="13376"/>
                  <a:pt x="8066" y="13510"/>
                  <a:pt x="7965" y="13644"/>
                </a:cubicBezTo>
                <a:cubicBezTo>
                  <a:pt x="7797" y="13880"/>
                  <a:pt x="7562" y="14115"/>
                  <a:pt x="7293" y="14317"/>
                </a:cubicBezTo>
                <a:lnTo>
                  <a:pt x="7260" y="14350"/>
                </a:lnTo>
                <a:cubicBezTo>
                  <a:pt x="6890" y="14653"/>
                  <a:pt x="6453" y="14854"/>
                  <a:pt x="6083" y="15022"/>
                </a:cubicBezTo>
                <a:cubicBezTo>
                  <a:pt x="5781" y="15157"/>
                  <a:pt x="5512" y="15258"/>
                  <a:pt x="5210" y="15291"/>
                </a:cubicBezTo>
                <a:lnTo>
                  <a:pt x="4571" y="15291"/>
                </a:lnTo>
                <a:cubicBezTo>
                  <a:pt x="4369" y="15258"/>
                  <a:pt x="4201" y="15190"/>
                  <a:pt x="4000" y="15123"/>
                </a:cubicBezTo>
                <a:cubicBezTo>
                  <a:pt x="3765" y="15022"/>
                  <a:pt x="3563" y="14921"/>
                  <a:pt x="3395" y="14787"/>
                </a:cubicBezTo>
                <a:lnTo>
                  <a:pt x="3328" y="14686"/>
                </a:lnTo>
                <a:lnTo>
                  <a:pt x="3361" y="14619"/>
                </a:lnTo>
                <a:lnTo>
                  <a:pt x="3428" y="14451"/>
                </a:lnTo>
                <a:cubicBezTo>
                  <a:pt x="3664" y="13980"/>
                  <a:pt x="3899" y="13510"/>
                  <a:pt x="4201" y="13140"/>
                </a:cubicBezTo>
                <a:cubicBezTo>
                  <a:pt x="4403" y="12872"/>
                  <a:pt x="4672" y="12603"/>
                  <a:pt x="4907" y="12401"/>
                </a:cubicBezTo>
                <a:cubicBezTo>
                  <a:pt x="5176" y="12199"/>
                  <a:pt x="5445" y="12065"/>
                  <a:pt x="5714" y="11931"/>
                </a:cubicBezTo>
                <a:cubicBezTo>
                  <a:pt x="5982" y="11863"/>
                  <a:pt x="6218" y="11763"/>
                  <a:pt x="6453" y="11729"/>
                </a:cubicBezTo>
                <a:close/>
                <a:moveTo>
                  <a:pt x="6419" y="1"/>
                </a:moveTo>
                <a:cubicBezTo>
                  <a:pt x="5579" y="1"/>
                  <a:pt x="4672" y="269"/>
                  <a:pt x="3664" y="706"/>
                </a:cubicBezTo>
                <a:cubicBezTo>
                  <a:pt x="3227" y="941"/>
                  <a:pt x="2756" y="1210"/>
                  <a:pt x="2353" y="1513"/>
                </a:cubicBezTo>
                <a:cubicBezTo>
                  <a:pt x="1883" y="1849"/>
                  <a:pt x="1513" y="2219"/>
                  <a:pt x="1210" y="2622"/>
                </a:cubicBezTo>
                <a:cubicBezTo>
                  <a:pt x="841" y="3025"/>
                  <a:pt x="572" y="3462"/>
                  <a:pt x="404" y="3865"/>
                </a:cubicBezTo>
                <a:cubicBezTo>
                  <a:pt x="202" y="4369"/>
                  <a:pt x="101" y="4840"/>
                  <a:pt x="34" y="5344"/>
                </a:cubicBezTo>
                <a:cubicBezTo>
                  <a:pt x="1" y="5747"/>
                  <a:pt x="101" y="6218"/>
                  <a:pt x="202" y="6587"/>
                </a:cubicBezTo>
                <a:cubicBezTo>
                  <a:pt x="337" y="6991"/>
                  <a:pt x="538" y="7327"/>
                  <a:pt x="807" y="7663"/>
                </a:cubicBezTo>
                <a:cubicBezTo>
                  <a:pt x="874" y="7763"/>
                  <a:pt x="1009" y="7898"/>
                  <a:pt x="1177" y="8032"/>
                </a:cubicBezTo>
                <a:cubicBezTo>
                  <a:pt x="975" y="8570"/>
                  <a:pt x="841" y="9208"/>
                  <a:pt x="807" y="9881"/>
                </a:cubicBezTo>
                <a:cubicBezTo>
                  <a:pt x="706" y="10620"/>
                  <a:pt x="807" y="11460"/>
                  <a:pt x="975" y="12300"/>
                </a:cubicBezTo>
                <a:cubicBezTo>
                  <a:pt x="1143" y="13107"/>
                  <a:pt x="1412" y="13812"/>
                  <a:pt x="1849" y="14417"/>
                </a:cubicBezTo>
                <a:cubicBezTo>
                  <a:pt x="1983" y="14619"/>
                  <a:pt x="2084" y="14787"/>
                  <a:pt x="2219" y="14921"/>
                </a:cubicBezTo>
                <a:cubicBezTo>
                  <a:pt x="2084" y="15325"/>
                  <a:pt x="2017" y="15795"/>
                  <a:pt x="2017" y="16232"/>
                </a:cubicBezTo>
                <a:cubicBezTo>
                  <a:pt x="1916" y="17173"/>
                  <a:pt x="2151" y="18181"/>
                  <a:pt x="2555" y="19122"/>
                </a:cubicBezTo>
                <a:cubicBezTo>
                  <a:pt x="2924" y="19962"/>
                  <a:pt x="3596" y="20668"/>
                  <a:pt x="4369" y="21139"/>
                </a:cubicBezTo>
                <a:cubicBezTo>
                  <a:pt x="5075" y="21542"/>
                  <a:pt x="5882" y="21811"/>
                  <a:pt x="6755" y="21811"/>
                </a:cubicBezTo>
                <a:lnTo>
                  <a:pt x="7091" y="21811"/>
                </a:lnTo>
                <a:cubicBezTo>
                  <a:pt x="7864" y="21777"/>
                  <a:pt x="8637" y="21508"/>
                  <a:pt x="9444" y="21139"/>
                </a:cubicBezTo>
                <a:cubicBezTo>
                  <a:pt x="9545" y="21105"/>
                  <a:pt x="9612" y="21004"/>
                  <a:pt x="9646" y="20870"/>
                </a:cubicBezTo>
                <a:cubicBezTo>
                  <a:pt x="9713" y="20769"/>
                  <a:pt x="9713" y="20601"/>
                  <a:pt x="9612" y="20500"/>
                </a:cubicBezTo>
                <a:cubicBezTo>
                  <a:pt x="9545" y="20366"/>
                  <a:pt x="9410" y="20298"/>
                  <a:pt x="9209" y="20298"/>
                </a:cubicBezTo>
                <a:cubicBezTo>
                  <a:pt x="9108" y="20298"/>
                  <a:pt x="9041" y="20298"/>
                  <a:pt x="8940" y="20332"/>
                </a:cubicBezTo>
                <a:cubicBezTo>
                  <a:pt x="8805" y="20366"/>
                  <a:pt x="8738" y="20466"/>
                  <a:pt x="8604" y="20500"/>
                </a:cubicBezTo>
                <a:cubicBezTo>
                  <a:pt x="8133" y="20668"/>
                  <a:pt x="7730" y="20802"/>
                  <a:pt x="7293" y="20870"/>
                </a:cubicBezTo>
                <a:cubicBezTo>
                  <a:pt x="7125" y="20937"/>
                  <a:pt x="6923" y="20937"/>
                  <a:pt x="6755" y="20937"/>
                </a:cubicBezTo>
                <a:cubicBezTo>
                  <a:pt x="6554" y="20937"/>
                  <a:pt x="6386" y="20937"/>
                  <a:pt x="6218" y="20870"/>
                </a:cubicBezTo>
                <a:cubicBezTo>
                  <a:pt x="5915" y="20836"/>
                  <a:pt x="5579" y="20769"/>
                  <a:pt x="5344" y="20634"/>
                </a:cubicBezTo>
                <a:cubicBezTo>
                  <a:pt x="5042" y="20500"/>
                  <a:pt x="4773" y="20332"/>
                  <a:pt x="4537" y="20164"/>
                </a:cubicBezTo>
                <a:cubicBezTo>
                  <a:pt x="4269" y="19962"/>
                  <a:pt x="4033" y="19761"/>
                  <a:pt x="3865" y="19492"/>
                </a:cubicBezTo>
                <a:cubicBezTo>
                  <a:pt x="3664" y="19189"/>
                  <a:pt x="3496" y="18921"/>
                  <a:pt x="3328" y="18584"/>
                </a:cubicBezTo>
                <a:cubicBezTo>
                  <a:pt x="3160" y="18181"/>
                  <a:pt x="3059" y="17778"/>
                  <a:pt x="2992" y="17341"/>
                </a:cubicBezTo>
                <a:cubicBezTo>
                  <a:pt x="2924" y="16904"/>
                  <a:pt x="2924" y="16467"/>
                  <a:pt x="2992" y="15997"/>
                </a:cubicBezTo>
                <a:cubicBezTo>
                  <a:pt x="2992" y="15930"/>
                  <a:pt x="3025" y="15795"/>
                  <a:pt x="3025" y="15728"/>
                </a:cubicBezTo>
                <a:cubicBezTo>
                  <a:pt x="3126" y="15795"/>
                  <a:pt x="3227" y="15896"/>
                  <a:pt x="3395" y="15930"/>
                </a:cubicBezTo>
                <a:cubicBezTo>
                  <a:pt x="3731" y="16098"/>
                  <a:pt x="4067" y="16165"/>
                  <a:pt x="4504" y="16266"/>
                </a:cubicBezTo>
                <a:cubicBezTo>
                  <a:pt x="4605" y="16266"/>
                  <a:pt x="4739" y="16299"/>
                  <a:pt x="4874" y="16299"/>
                </a:cubicBezTo>
                <a:cubicBezTo>
                  <a:pt x="5142" y="16299"/>
                  <a:pt x="5344" y="16266"/>
                  <a:pt x="5613" y="16232"/>
                </a:cubicBezTo>
                <a:cubicBezTo>
                  <a:pt x="6016" y="16131"/>
                  <a:pt x="6386" y="15997"/>
                  <a:pt x="6856" y="15762"/>
                </a:cubicBezTo>
                <a:cubicBezTo>
                  <a:pt x="7260" y="15560"/>
                  <a:pt x="7696" y="15291"/>
                  <a:pt x="8100" y="14921"/>
                </a:cubicBezTo>
                <a:cubicBezTo>
                  <a:pt x="8436" y="14653"/>
                  <a:pt x="8705" y="14317"/>
                  <a:pt x="8940" y="13980"/>
                </a:cubicBezTo>
                <a:cubicBezTo>
                  <a:pt x="9074" y="13779"/>
                  <a:pt x="9242" y="13476"/>
                  <a:pt x="9276" y="13107"/>
                </a:cubicBezTo>
                <a:cubicBezTo>
                  <a:pt x="9309" y="12771"/>
                  <a:pt x="9309" y="12468"/>
                  <a:pt x="9209" y="12233"/>
                </a:cubicBezTo>
                <a:cubicBezTo>
                  <a:pt x="9108" y="11931"/>
                  <a:pt x="8940" y="11695"/>
                  <a:pt x="8738" y="11460"/>
                </a:cubicBezTo>
                <a:cubicBezTo>
                  <a:pt x="8234" y="10956"/>
                  <a:pt x="7528" y="10788"/>
                  <a:pt x="7058" y="10754"/>
                </a:cubicBezTo>
                <a:lnTo>
                  <a:pt x="6789" y="10754"/>
                </a:lnTo>
                <a:cubicBezTo>
                  <a:pt x="6218" y="10754"/>
                  <a:pt x="5579" y="10922"/>
                  <a:pt x="4941" y="11258"/>
                </a:cubicBezTo>
                <a:cubicBezTo>
                  <a:pt x="4201" y="11695"/>
                  <a:pt x="3563" y="12300"/>
                  <a:pt x="3025" y="13208"/>
                </a:cubicBezTo>
                <a:cubicBezTo>
                  <a:pt x="2857" y="13443"/>
                  <a:pt x="2723" y="13712"/>
                  <a:pt x="2588" y="13947"/>
                </a:cubicBezTo>
                <a:cubicBezTo>
                  <a:pt x="2487" y="13712"/>
                  <a:pt x="2319" y="13443"/>
                  <a:pt x="2219" y="13208"/>
                </a:cubicBezTo>
                <a:cubicBezTo>
                  <a:pt x="2017" y="12703"/>
                  <a:pt x="1883" y="12132"/>
                  <a:pt x="1748" y="11594"/>
                </a:cubicBezTo>
                <a:cubicBezTo>
                  <a:pt x="1681" y="10922"/>
                  <a:pt x="1681" y="10284"/>
                  <a:pt x="1748" y="9612"/>
                </a:cubicBezTo>
                <a:cubicBezTo>
                  <a:pt x="1815" y="9276"/>
                  <a:pt x="1883" y="8940"/>
                  <a:pt x="1983" y="8604"/>
                </a:cubicBezTo>
                <a:cubicBezTo>
                  <a:pt x="2185" y="8738"/>
                  <a:pt x="2420" y="8872"/>
                  <a:pt x="2689" y="8940"/>
                </a:cubicBezTo>
                <a:cubicBezTo>
                  <a:pt x="3025" y="9074"/>
                  <a:pt x="3395" y="9175"/>
                  <a:pt x="3865" y="9208"/>
                </a:cubicBezTo>
                <a:lnTo>
                  <a:pt x="4235" y="9208"/>
                </a:lnTo>
                <a:cubicBezTo>
                  <a:pt x="4504" y="9208"/>
                  <a:pt x="4739" y="9208"/>
                  <a:pt x="5042" y="9175"/>
                </a:cubicBezTo>
                <a:cubicBezTo>
                  <a:pt x="5781" y="9040"/>
                  <a:pt x="6554" y="8704"/>
                  <a:pt x="7091" y="8200"/>
                </a:cubicBezTo>
                <a:cubicBezTo>
                  <a:pt x="7696" y="7696"/>
                  <a:pt x="8066" y="6923"/>
                  <a:pt x="8234" y="6016"/>
                </a:cubicBezTo>
                <a:cubicBezTo>
                  <a:pt x="8402" y="5142"/>
                  <a:pt x="8268" y="4504"/>
                  <a:pt x="7864" y="4168"/>
                </a:cubicBezTo>
                <a:cubicBezTo>
                  <a:pt x="7596" y="3966"/>
                  <a:pt x="7260" y="3832"/>
                  <a:pt x="6856" y="3832"/>
                </a:cubicBezTo>
                <a:cubicBezTo>
                  <a:pt x="6621" y="3832"/>
                  <a:pt x="6419" y="3865"/>
                  <a:pt x="6184" y="3899"/>
                </a:cubicBezTo>
                <a:cubicBezTo>
                  <a:pt x="5848" y="4000"/>
                  <a:pt x="5512" y="4134"/>
                  <a:pt x="5210" y="4235"/>
                </a:cubicBezTo>
                <a:cubicBezTo>
                  <a:pt x="4907" y="4369"/>
                  <a:pt x="4605" y="4537"/>
                  <a:pt x="4269" y="4739"/>
                </a:cubicBezTo>
                <a:cubicBezTo>
                  <a:pt x="3664" y="5142"/>
                  <a:pt x="3059" y="5579"/>
                  <a:pt x="2521" y="6050"/>
                </a:cubicBezTo>
                <a:cubicBezTo>
                  <a:pt x="2252" y="6251"/>
                  <a:pt x="2084" y="6486"/>
                  <a:pt x="1916" y="6688"/>
                </a:cubicBezTo>
                <a:cubicBezTo>
                  <a:pt x="1815" y="6856"/>
                  <a:pt x="1681" y="7024"/>
                  <a:pt x="1580" y="7192"/>
                </a:cubicBezTo>
                <a:lnTo>
                  <a:pt x="1513" y="7091"/>
                </a:lnTo>
                <a:lnTo>
                  <a:pt x="1412" y="7024"/>
                </a:lnTo>
                <a:cubicBezTo>
                  <a:pt x="1311" y="6856"/>
                  <a:pt x="1210" y="6688"/>
                  <a:pt x="1143" y="6520"/>
                </a:cubicBezTo>
                <a:cubicBezTo>
                  <a:pt x="1042" y="6318"/>
                  <a:pt x="1009" y="6150"/>
                  <a:pt x="975" y="5915"/>
                </a:cubicBezTo>
                <a:cubicBezTo>
                  <a:pt x="908" y="5680"/>
                  <a:pt x="908" y="5478"/>
                  <a:pt x="975" y="5209"/>
                </a:cubicBezTo>
                <a:cubicBezTo>
                  <a:pt x="1009" y="4974"/>
                  <a:pt x="1076" y="4672"/>
                  <a:pt x="1177" y="4403"/>
                </a:cubicBezTo>
                <a:cubicBezTo>
                  <a:pt x="1311" y="4067"/>
                  <a:pt x="1513" y="3798"/>
                  <a:pt x="1715" y="3496"/>
                </a:cubicBezTo>
                <a:cubicBezTo>
                  <a:pt x="2017" y="3126"/>
                  <a:pt x="2387" y="2723"/>
                  <a:pt x="2824" y="2387"/>
                </a:cubicBezTo>
                <a:cubicBezTo>
                  <a:pt x="3328" y="2017"/>
                  <a:pt x="3865" y="1681"/>
                  <a:pt x="4403" y="1446"/>
                </a:cubicBezTo>
                <a:cubicBezTo>
                  <a:pt x="4907" y="1210"/>
                  <a:pt x="5378" y="1110"/>
                  <a:pt x="5848" y="1009"/>
                </a:cubicBezTo>
                <a:cubicBezTo>
                  <a:pt x="6016" y="1009"/>
                  <a:pt x="6184" y="975"/>
                  <a:pt x="6352" y="975"/>
                </a:cubicBezTo>
                <a:lnTo>
                  <a:pt x="6386" y="975"/>
                </a:lnTo>
                <a:cubicBezTo>
                  <a:pt x="6621" y="975"/>
                  <a:pt x="6856" y="773"/>
                  <a:pt x="6856" y="505"/>
                </a:cubicBezTo>
                <a:cubicBezTo>
                  <a:pt x="6856" y="269"/>
                  <a:pt x="6621" y="34"/>
                  <a:pt x="6386" y="34"/>
                </a:cubicBezTo>
                <a:cubicBezTo>
                  <a:pt x="6487" y="1"/>
                  <a:pt x="6419" y="1"/>
                  <a:pt x="6419"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dirty="0">
              <a:ln>
                <a:noFill/>
              </a:ln>
              <a:solidFill>
                <a:srgbClr val="000000"/>
              </a:solidFill>
              <a:effectLst/>
              <a:uLnTx/>
              <a:uFillTx/>
              <a:latin typeface="Arial"/>
              <a:ea typeface="+mn-ea"/>
              <a:cs typeface="Arial"/>
              <a:sym typeface="Arial"/>
            </a:endParaRPr>
          </a:p>
        </p:txBody>
      </p:sp>
      <p:pic>
        <p:nvPicPr>
          <p:cNvPr id="2788" name="Google Shape;2788;p67"/>
          <p:cNvPicPr preferRelativeResize="0"/>
          <p:nvPr/>
        </p:nvPicPr>
        <p:blipFill rotWithShape="1">
          <a:blip r:embed="rId3">
            <a:extLst>
              <a:ext uri="{28A0092B-C50C-407E-A947-70E740481C1C}">
                <a14:useLocalDpi xmlns:a14="http://schemas.microsoft.com/office/drawing/2010/main" val="0"/>
              </a:ext>
            </a:extLst>
          </a:blip>
          <a:srcRect l="3563" r="3563"/>
          <a:stretch/>
        </p:blipFill>
        <p:spPr>
          <a:xfrm>
            <a:off x="3649154" y="1513287"/>
            <a:ext cx="4735600" cy="4592800"/>
          </a:xfrm>
          <a:prstGeom prst="ellipse">
            <a:avLst/>
          </a:prstGeom>
          <a:noFill/>
          <a:ln>
            <a:noFill/>
          </a:ln>
        </p:spPr>
      </p:pic>
      <p:grpSp>
        <p:nvGrpSpPr>
          <p:cNvPr id="2789" name="Google Shape;2789;p67"/>
          <p:cNvGrpSpPr/>
          <p:nvPr/>
        </p:nvGrpSpPr>
        <p:grpSpPr>
          <a:xfrm rot="-4563703" flipH="1">
            <a:off x="2159477" y="1704559"/>
            <a:ext cx="801820" cy="394312"/>
            <a:chOff x="3281450" y="846325"/>
            <a:chExt cx="718525" cy="353350"/>
          </a:xfrm>
        </p:grpSpPr>
        <p:sp>
          <p:nvSpPr>
            <p:cNvPr id="2790" name="Google Shape;2790;p67"/>
            <p:cNvSpPr/>
            <p:nvPr/>
          </p:nvSpPr>
          <p:spPr>
            <a:xfrm>
              <a:off x="3377500" y="876225"/>
              <a:ext cx="622475" cy="254900"/>
            </a:xfrm>
            <a:custGeom>
              <a:avLst/>
              <a:gdLst/>
              <a:ahLst/>
              <a:cxnLst/>
              <a:rect l="l" t="t" r="r" b="b"/>
              <a:pathLst>
                <a:path w="24899" h="10196" extrusionOk="0">
                  <a:moveTo>
                    <a:pt x="24233" y="210"/>
                  </a:moveTo>
                  <a:cubicBezTo>
                    <a:pt x="24245" y="219"/>
                    <a:pt x="24256" y="226"/>
                    <a:pt x="24266" y="231"/>
                  </a:cubicBezTo>
                  <a:lnTo>
                    <a:pt x="24266" y="231"/>
                  </a:lnTo>
                  <a:cubicBezTo>
                    <a:pt x="24256" y="246"/>
                    <a:pt x="24245" y="264"/>
                    <a:pt x="24233" y="286"/>
                  </a:cubicBezTo>
                  <a:cubicBezTo>
                    <a:pt x="24119" y="552"/>
                    <a:pt x="23187" y="818"/>
                    <a:pt x="22902" y="932"/>
                  </a:cubicBezTo>
                  <a:cubicBezTo>
                    <a:pt x="22103" y="1237"/>
                    <a:pt x="21247" y="1446"/>
                    <a:pt x="20429" y="1788"/>
                  </a:cubicBezTo>
                  <a:cubicBezTo>
                    <a:pt x="18546" y="2530"/>
                    <a:pt x="16606" y="3025"/>
                    <a:pt x="14685" y="3671"/>
                  </a:cubicBezTo>
                  <a:cubicBezTo>
                    <a:pt x="12935" y="4261"/>
                    <a:pt x="11185" y="4851"/>
                    <a:pt x="9454" y="5440"/>
                  </a:cubicBezTo>
                  <a:cubicBezTo>
                    <a:pt x="8446" y="5802"/>
                    <a:pt x="7419" y="6068"/>
                    <a:pt x="6430" y="6391"/>
                  </a:cubicBezTo>
                  <a:cubicBezTo>
                    <a:pt x="5574" y="6696"/>
                    <a:pt x="4642" y="6848"/>
                    <a:pt x="3805" y="7190"/>
                  </a:cubicBezTo>
                  <a:cubicBezTo>
                    <a:pt x="3101" y="7476"/>
                    <a:pt x="2702" y="7856"/>
                    <a:pt x="2093" y="8332"/>
                  </a:cubicBezTo>
                  <a:cubicBezTo>
                    <a:pt x="1657" y="8707"/>
                    <a:pt x="1214" y="9044"/>
                    <a:pt x="787" y="9410"/>
                  </a:cubicBezTo>
                  <a:lnTo>
                    <a:pt x="787" y="9410"/>
                  </a:lnTo>
                  <a:cubicBezTo>
                    <a:pt x="904" y="8790"/>
                    <a:pt x="2062" y="4814"/>
                    <a:pt x="2150" y="4375"/>
                  </a:cubicBezTo>
                  <a:cubicBezTo>
                    <a:pt x="2207" y="4147"/>
                    <a:pt x="2226" y="3557"/>
                    <a:pt x="2435" y="3386"/>
                  </a:cubicBezTo>
                  <a:cubicBezTo>
                    <a:pt x="2587" y="3272"/>
                    <a:pt x="3386" y="3310"/>
                    <a:pt x="3538" y="3291"/>
                  </a:cubicBezTo>
                  <a:cubicBezTo>
                    <a:pt x="4337" y="3139"/>
                    <a:pt x="5098" y="2873"/>
                    <a:pt x="5878" y="2663"/>
                  </a:cubicBezTo>
                  <a:cubicBezTo>
                    <a:pt x="9834" y="1560"/>
                    <a:pt x="13924" y="1123"/>
                    <a:pt x="18013" y="723"/>
                  </a:cubicBezTo>
                  <a:cubicBezTo>
                    <a:pt x="19858" y="533"/>
                    <a:pt x="21722" y="495"/>
                    <a:pt x="23567" y="305"/>
                  </a:cubicBezTo>
                  <a:lnTo>
                    <a:pt x="24233" y="210"/>
                  </a:lnTo>
                  <a:close/>
                  <a:moveTo>
                    <a:pt x="24709" y="0"/>
                  </a:moveTo>
                  <a:cubicBezTo>
                    <a:pt x="23396" y="77"/>
                    <a:pt x="22103" y="343"/>
                    <a:pt x="20771" y="419"/>
                  </a:cubicBezTo>
                  <a:cubicBezTo>
                    <a:pt x="19497" y="457"/>
                    <a:pt x="18242" y="552"/>
                    <a:pt x="16967" y="704"/>
                  </a:cubicBezTo>
                  <a:cubicBezTo>
                    <a:pt x="14247" y="952"/>
                    <a:pt x="11565" y="1275"/>
                    <a:pt x="8902" y="1807"/>
                  </a:cubicBezTo>
                  <a:cubicBezTo>
                    <a:pt x="7552" y="2093"/>
                    <a:pt x="6239" y="2454"/>
                    <a:pt x="4908" y="2835"/>
                  </a:cubicBezTo>
                  <a:cubicBezTo>
                    <a:pt x="4090" y="3082"/>
                    <a:pt x="3367" y="3139"/>
                    <a:pt x="2530" y="3272"/>
                  </a:cubicBezTo>
                  <a:cubicBezTo>
                    <a:pt x="2505" y="3275"/>
                    <a:pt x="2481" y="3276"/>
                    <a:pt x="2459" y="3276"/>
                  </a:cubicBezTo>
                  <a:cubicBezTo>
                    <a:pt x="2413" y="3276"/>
                    <a:pt x="2373" y="3272"/>
                    <a:pt x="2333" y="3272"/>
                  </a:cubicBezTo>
                  <a:cubicBezTo>
                    <a:pt x="2274" y="3272"/>
                    <a:pt x="2216" y="3282"/>
                    <a:pt x="2150" y="3329"/>
                  </a:cubicBezTo>
                  <a:cubicBezTo>
                    <a:pt x="1903" y="3481"/>
                    <a:pt x="1903" y="3976"/>
                    <a:pt x="1865" y="4185"/>
                  </a:cubicBezTo>
                  <a:cubicBezTo>
                    <a:pt x="1712" y="4756"/>
                    <a:pt x="1598" y="5364"/>
                    <a:pt x="1465" y="5916"/>
                  </a:cubicBezTo>
                  <a:cubicBezTo>
                    <a:pt x="1142" y="7133"/>
                    <a:pt x="457" y="8408"/>
                    <a:pt x="381" y="9625"/>
                  </a:cubicBezTo>
                  <a:cubicBezTo>
                    <a:pt x="381" y="9682"/>
                    <a:pt x="419" y="9682"/>
                    <a:pt x="457" y="9701"/>
                  </a:cubicBezTo>
                  <a:cubicBezTo>
                    <a:pt x="458" y="9701"/>
                    <a:pt x="459" y="9701"/>
                    <a:pt x="461" y="9701"/>
                  </a:cubicBezTo>
                  <a:lnTo>
                    <a:pt x="461" y="9701"/>
                  </a:lnTo>
                  <a:cubicBezTo>
                    <a:pt x="330" y="9823"/>
                    <a:pt x="202" y="9949"/>
                    <a:pt x="77" y="10081"/>
                  </a:cubicBezTo>
                  <a:cubicBezTo>
                    <a:pt x="1" y="10158"/>
                    <a:pt x="58" y="10196"/>
                    <a:pt x="153" y="10196"/>
                  </a:cubicBezTo>
                  <a:lnTo>
                    <a:pt x="229" y="10196"/>
                  </a:lnTo>
                  <a:cubicBezTo>
                    <a:pt x="343" y="10196"/>
                    <a:pt x="552" y="10043"/>
                    <a:pt x="343" y="10043"/>
                  </a:cubicBezTo>
                  <a:cubicBezTo>
                    <a:pt x="666" y="10043"/>
                    <a:pt x="1180" y="9321"/>
                    <a:pt x="1389" y="9130"/>
                  </a:cubicBezTo>
                  <a:cubicBezTo>
                    <a:pt x="1750" y="8807"/>
                    <a:pt x="2169" y="8560"/>
                    <a:pt x="2530" y="8236"/>
                  </a:cubicBezTo>
                  <a:cubicBezTo>
                    <a:pt x="3519" y="7342"/>
                    <a:pt x="4623" y="7190"/>
                    <a:pt x="5859" y="6791"/>
                  </a:cubicBezTo>
                  <a:cubicBezTo>
                    <a:pt x="7932" y="6087"/>
                    <a:pt x="10044" y="5516"/>
                    <a:pt x="12079" y="4794"/>
                  </a:cubicBezTo>
                  <a:cubicBezTo>
                    <a:pt x="14418" y="3957"/>
                    <a:pt x="16777" y="3234"/>
                    <a:pt x="19116" y="2473"/>
                  </a:cubicBezTo>
                  <a:cubicBezTo>
                    <a:pt x="20163" y="2112"/>
                    <a:pt x="21209" y="1674"/>
                    <a:pt x="22255" y="1332"/>
                  </a:cubicBezTo>
                  <a:cubicBezTo>
                    <a:pt x="23168" y="1028"/>
                    <a:pt x="24024" y="685"/>
                    <a:pt x="24785" y="153"/>
                  </a:cubicBezTo>
                  <a:cubicBezTo>
                    <a:pt x="24899" y="77"/>
                    <a:pt x="24804" y="0"/>
                    <a:pt x="24709"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91" name="Google Shape;2791;p67"/>
            <p:cNvSpPr/>
            <p:nvPr/>
          </p:nvSpPr>
          <p:spPr>
            <a:xfrm>
              <a:off x="3464100" y="876775"/>
              <a:ext cx="531250" cy="322900"/>
            </a:xfrm>
            <a:custGeom>
              <a:avLst/>
              <a:gdLst/>
              <a:ahLst/>
              <a:cxnLst/>
              <a:rect l="l" t="t" r="r" b="b"/>
              <a:pathLst>
                <a:path w="21250" h="12916" extrusionOk="0">
                  <a:moveTo>
                    <a:pt x="21047" y="1"/>
                  </a:moveTo>
                  <a:cubicBezTo>
                    <a:pt x="21019" y="1"/>
                    <a:pt x="20989" y="5"/>
                    <a:pt x="20959" y="17"/>
                  </a:cubicBezTo>
                  <a:cubicBezTo>
                    <a:pt x="20674" y="112"/>
                    <a:pt x="20522" y="340"/>
                    <a:pt x="20294" y="530"/>
                  </a:cubicBezTo>
                  <a:cubicBezTo>
                    <a:pt x="19856" y="987"/>
                    <a:pt x="19343" y="1367"/>
                    <a:pt x="18867" y="1766"/>
                  </a:cubicBezTo>
                  <a:cubicBezTo>
                    <a:pt x="17992" y="2508"/>
                    <a:pt x="17041" y="3155"/>
                    <a:pt x="16147" y="3859"/>
                  </a:cubicBezTo>
                  <a:cubicBezTo>
                    <a:pt x="13998" y="5533"/>
                    <a:pt x="11886" y="7206"/>
                    <a:pt x="9585" y="8671"/>
                  </a:cubicBezTo>
                  <a:cubicBezTo>
                    <a:pt x="7512" y="9964"/>
                    <a:pt x="5305" y="10896"/>
                    <a:pt x="3365" y="12399"/>
                  </a:cubicBezTo>
                  <a:cubicBezTo>
                    <a:pt x="3251" y="12496"/>
                    <a:pt x="3055" y="12704"/>
                    <a:pt x="2870" y="12704"/>
                  </a:cubicBezTo>
                  <a:cubicBezTo>
                    <a:pt x="2838" y="12704"/>
                    <a:pt x="2806" y="12698"/>
                    <a:pt x="2775" y="12684"/>
                  </a:cubicBezTo>
                  <a:cubicBezTo>
                    <a:pt x="2585" y="12608"/>
                    <a:pt x="2376" y="11943"/>
                    <a:pt x="2281" y="11714"/>
                  </a:cubicBezTo>
                  <a:cubicBezTo>
                    <a:pt x="2034" y="11163"/>
                    <a:pt x="1824" y="10592"/>
                    <a:pt x="1634" y="10021"/>
                  </a:cubicBezTo>
                  <a:cubicBezTo>
                    <a:pt x="1292" y="9051"/>
                    <a:pt x="1044" y="7929"/>
                    <a:pt x="379" y="7111"/>
                  </a:cubicBezTo>
                  <a:cubicBezTo>
                    <a:pt x="360" y="7092"/>
                    <a:pt x="324" y="7084"/>
                    <a:pt x="284" y="7084"/>
                  </a:cubicBezTo>
                  <a:cubicBezTo>
                    <a:pt x="203" y="7084"/>
                    <a:pt x="106" y="7118"/>
                    <a:pt x="93" y="7168"/>
                  </a:cubicBezTo>
                  <a:cubicBezTo>
                    <a:pt x="55" y="7187"/>
                    <a:pt x="55" y="7206"/>
                    <a:pt x="36" y="7244"/>
                  </a:cubicBezTo>
                  <a:cubicBezTo>
                    <a:pt x="0" y="7299"/>
                    <a:pt x="55" y="7323"/>
                    <a:pt x="126" y="7323"/>
                  </a:cubicBezTo>
                  <a:cubicBezTo>
                    <a:pt x="144" y="7323"/>
                    <a:pt x="162" y="7322"/>
                    <a:pt x="181" y="7319"/>
                  </a:cubicBezTo>
                  <a:lnTo>
                    <a:pt x="181" y="7319"/>
                  </a:lnTo>
                  <a:cubicBezTo>
                    <a:pt x="931" y="8325"/>
                    <a:pt x="1194" y="9779"/>
                    <a:pt x="1634" y="10915"/>
                  </a:cubicBezTo>
                  <a:cubicBezTo>
                    <a:pt x="1805" y="11372"/>
                    <a:pt x="2148" y="12875"/>
                    <a:pt x="2794" y="12913"/>
                  </a:cubicBezTo>
                  <a:cubicBezTo>
                    <a:pt x="2812" y="12914"/>
                    <a:pt x="2831" y="12915"/>
                    <a:pt x="2849" y="12915"/>
                  </a:cubicBezTo>
                  <a:cubicBezTo>
                    <a:pt x="3391" y="12915"/>
                    <a:pt x="4044" y="12123"/>
                    <a:pt x="4430" y="11828"/>
                  </a:cubicBezTo>
                  <a:cubicBezTo>
                    <a:pt x="5667" y="10915"/>
                    <a:pt x="7055" y="10326"/>
                    <a:pt x="8387" y="9565"/>
                  </a:cubicBezTo>
                  <a:cubicBezTo>
                    <a:pt x="10688" y="8253"/>
                    <a:pt x="12856" y="6674"/>
                    <a:pt x="14949" y="5019"/>
                  </a:cubicBezTo>
                  <a:cubicBezTo>
                    <a:pt x="16014" y="4201"/>
                    <a:pt x="17079" y="3383"/>
                    <a:pt x="18182" y="2584"/>
                  </a:cubicBezTo>
                  <a:cubicBezTo>
                    <a:pt x="18715" y="2204"/>
                    <a:pt x="19209" y="1766"/>
                    <a:pt x="19685" y="1348"/>
                  </a:cubicBezTo>
                  <a:cubicBezTo>
                    <a:pt x="20065" y="1006"/>
                    <a:pt x="20636" y="264"/>
                    <a:pt x="21111" y="112"/>
                  </a:cubicBezTo>
                  <a:cubicBezTo>
                    <a:pt x="21249" y="81"/>
                    <a:pt x="21165" y="1"/>
                    <a:pt x="21047"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92" name="Google Shape;2792;p67"/>
            <p:cNvSpPr/>
            <p:nvPr/>
          </p:nvSpPr>
          <p:spPr>
            <a:xfrm>
              <a:off x="3379675" y="1089375"/>
              <a:ext cx="109800" cy="41975"/>
            </a:xfrm>
            <a:custGeom>
              <a:avLst/>
              <a:gdLst/>
              <a:ahLst/>
              <a:cxnLst/>
              <a:rect l="l" t="t" r="r" b="b"/>
              <a:pathLst>
                <a:path w="4392" h="1679" extrusionOk="0">
                  <a:moveTo>
                    <a:pt x="4160" y="0"/>
                  </a:moveTo>
                  <a:cubicBezTo>
                    <a:pt x="4122" y="0"/>
                    <a:pt x="4085" y="5"/>
                    <a:pt x="4060" y="15"/>
                  </a:cubicBezTo>
                  <a:cubicBezTo>
                    <a:pt x="2843" y="700"/>
                    <a:pt x="1397" y="909"/>
                    <a:pt x="142" y="1536"/>
                  </a:cubicBezTo>
                  <a:cubicBezTo>
                    <a:pt x="0" y="1607"/>
                    <a:pt x="59" y="1678"/>
                    <a:pt x="153" y="1678"/>
                  </a:cubicBezTo>
                  <a:cubicBezTo>
                    <a:pt x="186" y="1678"/>
                    <a:pt x="222" y="1670"/>
                    <a:pt x="256" y="1651"/>
                  </a:cubicBezTo>
                  <a:cubicBezTo>
                    <a:pt x="1549" y="1042"/>
                    <a:pt x="3014" y="833"/>
                    <a:pt x="4250" y="110"/>
                  </a:cubicBezTo>
                  <a:cubicBezTo>
                    <a:pt x="4391" y="39"/>
                    <a:pt x="4271" y="0"/>
                    <a:pt x="4160"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93" name="Google Shape;2793;p67"/>
            <p:cNvSpPr/>
            <p:nvPr/>
          </p:nvSpPr>
          <p:spPr>
            <a:xfrm>
              <a:off x="3281450" y="846325"/>
              <a:ext cx="715400" cy="111750"/>
            </a:xfrm>
            <a:custGeom>
              <a:avLst/>
              <a:gdLst/>
              <a:ahLst/>
              <a:cxnLst/>
              <a:rect l="l" t="t" r="r" b="b"/>
              <a:pathLst>
                <a:path w="28616" h="4470" extrusionOk="0">
                  <a:moveTo>
                    <a:pt x="3436" y="0"/>
                  </a:moveTo>
                  <a:cubicBezTo>
                    <a:pt x="3048" y="0"/>
                    <a:pt x="2662" y="14"/>
                    <a:pt x="2283" y="55"/>
                  </a:cubicBezTo>
                  <a:cubicBezTo>
                    <a:pt x="1617" y="150"/>
                    <a:pt x="761" y="207"/>
                    <a:pt x="153" y="512"/>
                  </a:cubicBezTo>
                  <a:cubicBezTo>
                    <a:pt x="95" y="531"/>
                    <a:pt x="0" y="607"/>
                    <a:pt x="76" y="664"/>
                  </a:cubicBezTo>
                  <a:cubicBezTo>
                    <a:pt x="1332" y="1387"/>
                    <a:pt x="2435" y="2281"/>
                    <a:pt x="3614" y="3137"/>
                  </a:cubicBezTo>
                  <a:cubicBezTo>
                    <a:pt x="4014" y="3441"/>
                    <a:pt x="4451" y="3650"/>
                    <a:pt x="4908" y="3916"/>
                  </a:cubicBezTo>
                  <a:cubicBezTo>
                    <a:pt x="5250" y="4107"/>
                    <a:pt x="5497" y="4373"/>
                    <a:pt x="5897" y="4468"/>
                  </a:cubicBezTo>
                  <a:cubicBezTo>
                    <a:pt x="5902" y="4469"/>
                    <a:pt x="5909" y="4470"/>
                    <a:pt x="5915" y="4470"/>
                  </a:cubicBezTo>
                  <a:cubicBezTo>
                    <a:pt x="6022" y="4470"/>
                    <a:pt x="6248" y="4333"/>
                    <a:pt x="6087" y="4297"/>
                  </a:cubicBezTo>
                  <a:cubicBezTo>
                    <a:pt x="5611" y="4183"/>
                    <a:pt x="4832" y="3631"/>
                    <a:pt x="4432" y="3365"/>
                  </a:cubicBezTo>
                  <a:cubicBezTo>
                    <a:pt x="3785" y="2965"/>
                    <a:pt x="3215" y="2452"/>
                    <a:pt x="2644" y="1976"/>
                  </a:cubicBezTo>
                  <a:cubicBezTo>
                    <a:pt x="2188" y="1634"/>
                    <a:pt x="1712" y="1330"/>
                    <a:pt x="1237" y="1006"/>
                  </a:cubicBezTo>
                  <a:cubicBezTo>
                    <a:pt x="970" y="854"/>
                    <a:pt x="457" y="721"/>
                    <a:pt x="818" y="493"/>
                  </a:cubicBezTo>
                  <a:cubicBezTo>
                    <a:pt x="913" y="417"/>
                    <a:pt x="1161" y="436"/>
                    <a:pt x="1294" y="417"/>
                  </a:cubicBezTo>
                  <a:cubicBezTo>
                    <a:pt x="2321" y="234"/>
                    <a:pt x="3368" y="169"/>
                    <a:pt x="4423" y="169"/>
                  </a:cubicBezTo>
                  <a:cubicBezTo>
                    <a:pt x="6336" y="169"/>
                    <a:pt x="8276" y="382"/>
                    <a:pt x="10176" y="493"/>
                  </a:cubicBezTo>
                  <a:cubicBezTo>
                    <a:pt x="13125" y="626"/>
                    <a:pt x="16054" y="873"/>
                    <a:pt x="19002" y="1006"/>
                  </a:cubicBezTo>
                  <a:cubicBezTo>
                    <a:pt x="20543" y="1101"/>
                    <a:pt x="22122" y="1139"/>
                    <a:pt x="23662" y="1196"/>
                  </a:cubicBezTo>
                  <a:cubicBezTo>
                    <a:pt x="23841" y="1205"/>
                    <a:pt x="24022" y="1209"/>
                    <a:pt x="24203" y="1209"/>
                  </a:cubicBezTo>
                  <a:cubicBezTo>
                    <a:pt x="25049" y="1209"/>
                    <a:pt x="25916" y="1129"/>
                    <a:pt x="26770" y="1129"/>
                  </a:cubicBezTo>
                  <a:cubicBezTo>
                    <a:pt x="27289" y="1129"/>
                    <a:pt x="27802" y="1158"/>
                    <a:pt x="28303" y="1254"/>
                  </a:cubicBezTo>
                  <a:cubicBezTo>
                    <a:pt x="28307" y="1255"/>
                    <a:pt x="28312" y="1255"/>
                    <a:pt x="28317" y="1255"/>
                  </a:cubicBezTo>
                  <a:cubicBezTo>
                    <a:pt x="28394" y="1255"/>
                    <a:pt x="28615" y="1136"/>
                    <a:pt x="28456" y="1082"/>
                  </a:cubicBezTo>
                  <a:cubicBezTo>
                    <a:pt x="28035" y="1007"/>
                    <a:pt x="27605" y="983"/>
                    <a:pt x="27172" y="983"/>
                  </a:cubicBezTo>
                  <a:cubicBezTo>
                    <a:pt x="26509" y="983"/>
                    <a:pt x="25840" y="1040"/>
                    <a:pt x="25184" y="1063"/>
                  </a:cubicBezTo>
                  <a:cubicBezTo>
                    <a:pt x="25067" y="1065"/>
                    <a:pt x="24949" y="1066"/>
                    <a:pt x="24832" y="1066"/>
                  </a:cubicBezTo>
                  <a:cubicBezTo>
                    <a:pt x="23637" y="1066"/>
                    <a:pt x="22444" y="984"/>
                    <a:pt x="21266" y="949"/>
                  </a:cubicBezTo>
                  <a:cubicBezTo>
                    <a:pt x="18603" y="854"/>
                    <a:pt x="15940" y="702"/>
                    <a:pt x="13277" y="512"/>
                  </a:cubicBezTo>
                  <a:cubicBezTo>
                    <a:pt x="10671" y="341"/>
                    <a:pt x="8065" y="131"/>
                    <a:pt x="5478" y="55"/>
                  </a:cubicBezTo>
                  <a:cubicBezTo>
                    <a:pt x="4811" y="43"/>
                    <a:pt x="4121" y="0"/>
                    <a:pt x="3436"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2794" name="Google Shape;2794;p67"/>
          <p:cNvSpPr/>
          <p:nvPr/>
        </p:nvSpPr>
        <p:spPr>
          <a:xfrm rot="687660">
            <a:off x="2510314" y="1309071"/>
            <a:ext cx="2550609" cy="3366381"/>
          </a:xfrm>
          <a:custGeom>
            <a:avLst/>
            <a:gdLst/>
            <a:ahLst/>
            <a:cxnLst/>
            <a:rect l="l" t="t" r="r" b="b"/>
            <a:pathLst>
              <a:path w="64003" h="95108" extrusionOk="0">
                <a:moveTo>
                  <a:pt x="64003" y="95108"/>
                </a:moveTo>
                <a:cubicBezTo>
                  <a:pt x="58814" y="94191"/>
                  <a:pt x="39710" y="94131"/>
                  <a:pt x="32866" y="89604"/>
                </a:cubicBezTo>
                <a:cubicBezTo>
                  <a:pt x="26022" y="85077"/>
                  <a:pt x="23211" y="79171"/>
                  <a:pt x="22940" y="67947"/>
                </a:cubicBezTo>
                <a:cubicBezTo>
                  <a:pt x="22669" y="56723"/>
                  <a:pt x="31509" y="32542"/>
                  <a:pt x="31242" y="22261"/>
                </a:cubicBezTo>
                <a:cubicBezTo>
                  <a:pt x="30975" y="11980"/>
                  <a:pt x="21273" y="9942"/>
                  <a:pt x="21336" y="6259"/>
                </a:cubicBezTo>
                <a:cubicBezTo>
                  <a:pt x="21400" y="2576"/>
                  <a:pt x="29020" y="-789"/>
                  <a:pt x="31623" y="163"/>
                </a:cubicBezTo>
                <a:cubicBezTo>
                  <a:pt x="34227" y="1116"/>
                  <a:pt x="37910" y="8990"/>
                  <a:pt x="36957" y="11974"/>
                </a:cubicBezTo>
                <a:cubicBezTo>
                  <a:pt x="36005" y="14959"/>
                  <a:pt x="31052" y="17880"/>
                  <a:pt x="25908" y="18070"/>
                </a:cubicBezTo>
                <a:cubicBezTo>
                  <a:pt x="20765" y="18261"/>
                  <a:pt x="10414" y="13054"/>
                  <a:pt x="6096" y="13117"/>
                </a:cubicBezTo>
                <a:cubicBezTo>
                  <a:pt x="1778" y="13181"/>
                  <a:pt x="1016" y="17562"/>
                  <a:pt x="0" y="18451"/>
                </a:cubicBezTo>
              </a:path>
            </a:pathLst>
          </a:custGeom>
          <a:noFill/>
          <a:ln w="19050" cap="flat" cmpd="sng">
            <a:solidFill>
              <a:schemeClr val="dk2"/>
            </a:solidFill>
            <a:prstDash val="dash"/>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13131"/>
              </a:solidFill>
              <a:effectLst/>
              <a:uLnTx/>
              <a:uFillTx/>
              <a:latin typeface="Arial"/>
              <a:ea typeface="+mn-ea"/>
              <a:cs typeface="+mn-cs"/>
            </a:endParaRPr>
          </a:p>
        </p:txBody>
      </p:sp>
      <p:sp>
        <p:nvSpPr>
          <p:cNvPr id="2795" name="Google Shape;2795;p67"/>
          <p:cNvSpPr/>
          <p:nvPr/>
        </p:nvSpPr>
        <p:spPr>
          <a:xfrm>
            <a:off x="4673195" y="4849822"/>
            <a:ext cx="133360" cy="148007"/>
          </a:xfrm>
          <a:custGeom>
            <a:avLst/>
            <a:gdLst/>
            <a:ahLst/>
            <a:cxnLst/>
            <a:rect l="l" t="t" r="r" b="b"/>
            <a:pathLst>
              <a:path w="3830" h="6010" extrusionOk="0">
                <a:moveTo>
                  <a:pt x="2093" y="1925"/>
                </a:moveTo>
                <a:cubicBezTo>
                  <a:pt x="2176" y="1946"/>
                  <a:pt x="2281" y="2009"/>
                  <a:pt x="2365" y="2030"/>
                </a:cubicBezTo>
                <a:cubicBezTo>
                  <a:pt x="2469" y="2072"/>
                  <a:pt x="2574" y="2156"/>
                  <a:pt x="2637" y="2239"/>
                </a:cubicBezTo>
                <a:cubicBezTo>
                  <a:pt x="2720" y="2344"/>
                  <a:pt x="2804" y="2448"/>
                  <a:pt x="2846" y="2553"/>
                </a:cubicBezTo>
                <a:cubicBezTo>
                  <a:pt x="2888" y="2595"/>
                  <a:pt x="2909" y="2679"/>
                  <a:pt x="2930" y="2762"/>
                </a:cubicBezTo>
                <a:lnTo>
                  <a:pt x="2930" y="2804"/>
                </a:lnTo>
                <a:lnTo>
                  <a:pt x="2930" y="2888"/>
                </a:lnTo>
                <a:cubicBezTo>
                  <a:pt x="2930" y="2951"/>
                  <a:pt x="2909" y="2992"/>
                  <a:pt x="2909" y="3013"/>
                </a:cubicBezTo>
                <a:cubicBezTo>
                  <a:pt x="2888" y="3160"/>
                  <a:pt x="2825" y="3264"/>
                  <a:pt x="2783" y="3369"/>
                </a:cubicBezTo>
                <a:cubicBezTo>
                  <a:pt x="2637" y="3557"/>
                  <a:pt x="2511" y="3788"/>
                  <a:pt x="2323" y="3955"/>
                </a:cubicBezTo>
                <a:cubicBezTo>
                  <a:pt x="2093" y="4185"/>
                  <a:pt x="1800" y="4415"/>
                  <a:pt x="1486" y="4541"/>
                </a:cubicBezTo>
                <a:cubicBezTo>
                  <a:pt x="1363" y="4571"/>
                  <a:pt x="1229" y="4591"/>
                  <a:pt x="1093" y="4591"/>
                </a:cubicBezTo>
                <a:cubicBezTo>
                  <a:pt x="1043" y="4591"/>
                  <a:pt x="992" y="4588"/>
                  <a:pt x="942" y="4583"/>
                </a:cubicBezTo>
                <a:cubicBezTo>
                  <a:pt x="858" y="4562"/>
                  <a:pt x="816" y="4520"/>
                  <a:pt x="753" y="4457"/>
                </a:cubicBezTo>
                <a:cubicBezTo>
                  <a:pt x="733" y="4436"/>
                  <a:pt x="733" y="4415"/>
                  <a:pt x="712" y="4373"/>
                </a:cubicBezTo>
                <a:cubicBezTo>
                  <a:pt x="712" y="4353"/>
                  <a:pt x="691" y="4332"/>
                  <a:pt x="691" y="4311"/>
                </a:cubicBezTo>
                <a:cubicBezTo>
                  <a:pt x="691" y="4248"/>
                  <a:pt x="649" y="4206"/>
                  <a:pt x="649" y="4143"/>
                </a:cubicBezTo>
                <a:lnTo>
                  <a:pt x="649" y="3997"/>
                </a:lnTo>
                <a:cubicBezTo>
                  <a:pt x="649" y="3913"/>
                  <a:pt x="691" y="3850"/>
                  <a:pt x="691" y="3788"/>
                </a:cubicBezTo>
                <a:cubicBezTo>
                  <a:pt x="733" y="3599"/>
                  <a:pt x="816" y="3411"/>
                  <a:pt x="900" y="3264"/>
                </a:cubicBezTo>
                <a:cubicBezTo>
                  <a:pt x="1109" y="2930"/>
                  <a:pt x="1318" y="2637"/>
                  <a:pt x="1569" y="2344"/>
                </a:cubicBezTo>
                <a:cubicBezTo>
                  <a:pt x="1695" y="2218"/>
                  <a:pt x="1841" y="2114"/>
                  <a:pt x="1988" y="2009"/>
                </a:cubicBezTo>
                <a:cubicBezTo>
                  <a:pt x="2009" y="1967"/>
                  <a:pt x="2072" y="1946"/>
                  <a:pt x="2093" y="1925"/>
                </a:cubicBezTo>
                <a:close/>
                <a:moveTo>
                  <a:pt x="1067" y="0"/>
                </a:moveTo>
                <a:cubicBezTo>
                  <a:pt x="963" y="0"/>
                  <a:pt x="900" y="63"/>
                  <a:pt x="837" y="168"/>
                </a:cubicBezTo>
                <a:cubicBezTo>
                  <a:pt x="712" y="356"/>
                  <a:pt x="691" y="607"/>
                  <a:pt x="691" y="816"/>
                </a:cubicBezTo>
                <a:cubicBezTo>
                  <a:pt x="691" y="984"/>
                  <a:pt x="712" y="1130"/>
                  <a:pt x="753" y="1298"/>
                </a:cubicBezTo>
                <a:cubicBezTo>
                  <a:pt x="816" y="1402"/>
                  <a:pt x="858" y="1528"/>
                  <a:pt x="963" y="1570"/>
                </a:cubicBezTo>
                <a:lnTo>
                  <a:pt x="942" y="1612"/>
                </a:lnTo>
                <a:cubicBezTo>
                  <a:pt x="691" y="1946"/>
                  <a:pt x="523" y="2239"/>
                  <a:pt x="398" y="2553"/>
                </a:cubicBezTo>
                <a:cubicBezTo>
                  <a:pt x="209" y="2909"/>
                  <a:pt x="105" y="3285"/>
                  <a:pt x="63" y="3662"/>
                </a:cubicBezTo>
                <a:cubicBezTo>
                  <a:pt x="0" y="4060"/>
                  <a:pt x="21" y="4478"/>
                  <a:pt x="105" y="4855"/>
                </a:cubicBezTo>
                <a:cubicBezTo>
                  <a:pt x="168" y="5064"/>
                  <a:pt x="209" y="5294"/>
                  <a:pt x="335" y="5482"/>
                </a:cubicBezTo>
                <a:cubicBezTo>
                  <a:pt x="440" y="5629"/>
                  <a:pt x="544" y="5754"/>
                  <a:pt x="712" y="5859"/>
                </a:cubicBezTo>
                <a:cubicBezTo>
                  <a:pt x="816" y="5943"/>
                  <a:pt x="963" y="6005"/>
                  <a:pt x="1130" y="6005"/>
                </a:cubicBezTo>
                <a:cubicBezTo>
                  <a:pt x="1151" y="6008"/>
                  <a:pt x="1172" y="6010"/>
                  <a:pt x="1194" y="6010"/>
                </a:cubicBezTo>
                <a:cubicBezTo>
                  <a:pt x="1328" y="6010"/>
                  <a:pt x="1485" y="5961"/>
                  <a:pt x="1611" y="5943"/>
                </a:cubicBezTo>
                <a:cubicBezTo>
                  <a:pt x="1988" y="5859"/>
                  <a:pt x="2281" y="5650"/>
                  <a:pt x="2574" y="5420"/>
                </a:cubicBezTo>
                <a:cubicBezTo>
                  <a:pt x="2825" y="5210"/>
                  <a:pt x="3034" y="4959"/>
                  <a:pt x="3222" y="4687"/>
                </a:cubicBezTo>
                <a:cubicBezTo>
                  <a:pt x="3327" y="4541"/>
                  <a:pt x="3390" y="4373"/>
                  <a:pt x="3474" y="4227"/>
                </a:cubicBezTo>
                <a:cubicBezTo>
                  <a:pt x="3578" y="4018"/>
                  <a:pt x="3641" y="3808"/>
                  <a:pt x="3683" y="3599"/>
                </a:cubicBezTo>
                <a:cubicBezTo>
                  <a:pt x="3787" y="3181"/>
                  <a:pt x="3829" y="2762"/>
                  <a:pt x="3766" y="2323"/>
                </a:cubicBezTo>
                <a:cubicBezTo>
                  <a:pt x="3725" y="1884"/>
                  <a:pt x="3557" y="1507"/>
                  <a:pt x="3348" y="1109"/>
                </a:cubicBezTo>
                <a:cubicBezTo>
                  <a:pt x="3181" y="816"/>
                  <a:pt x="2950" y="565"/>
                  <a:pt x="2658" y="398"/>
                </a:cubicBezTo>
                <a:cubicBezTo>
                  <a:pt x="2427" y="272"/>
                  <a:pt x="2176" y="210"/>
                  <a:pt x="1904" y="147"/>
                </a:cubicBezTo>
                <a:cubicBezTo>
                  <a:pt x="1653" y="63"/>
                  <a:pt x="1360" y="42"/>
                  <a:pt x="1067"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2796" name="Google Shape;2796;p67"/>
          <p:cNvGrpSpPr/>
          <p:nvPr/>
        </p:nvGrpSpPr>
        <p:grpSpPr>
          <a:xfrm>
            <a:off x="10433668" y="564451"/>
            <a:ext cx="1098765" cy="1164967"/>
            <a:chOff x="7460026" y="733525"/>
            <a:chExt cx="824074" cy="873725"/>
          </a:xfrm>
        </p:grpSpPr>
        <p:grpSp>
          <p:nvGrpSpPr>
            <p:cNvPr id="2797" name="Google Shape;2797;p67"/>
            <p:cNvGrpSpPr/>
            <p:nvPr/>
          </p:nvGrpSpPr>
          <p:grpSpPr>
            <a:xfrm>
              <a:off x="7957075" y="733525"/>
              <a:ext cx="327025" cy="444775"/>
              <a:chOff x="4664150" y="3346100"/>
              <a:chExt cx="327025" cy="444775"/>
            </a:xfrm>
          </p:grpSpPr>
          <p:sp>
            <p:nvSpPr>
              <p:cNvPr id="2798" name="Google Shape;2798;p67"/>
              <p:cNvSpPr/>
              <p:nvPr/>
            </p:nvSpPr>
            <p:spPr>
              <a:xfrm>
                <a:off x="4750250" y="3346100"/>
                <a:ext cx="206325" cy="170975"/>
              </a:xfrm>
              <a:custGeom>
                <a:avLst/>
                <a:gdLst/>
                <a:ahLst/>
                <a:cxnLst/>
                <a:rect l="l" t="t" r="r" b="b"/>
                <a:pathLst>
                  <a:path w="8253" h="6839" extrusionOk="0">
                    <a:moveTo>
                      <a:pt x="3853" y="465"/>
                    </a:moveTo>
                    <a:cubicBezTo>
                      <a:pt x="4028" y="465"/>
                      <a:pt x="4206" y="486"/>
                      <a:pt x="4391" y="521"/>
                    </a:cubicBezTo>
                    <a:lnTo>
                      <a:pt x="4391" y="521"/>
                    </a:lnTo>
                    <a:cubicBezTo>
                      <a:pt x="4374" y="617"/>
                      <a:pt x="4402" y="719"/>
                      <a:pt x="4499" y="783"/>
                    </a:cubicBezTo>
                    <a:cubicBezTo>
                      <a:pt x="5922" y="1557"/>
                      <a:pt x="7386" y="2604"/>
                      <a:pt x="6717" y="4466"/>
                    </a:cubicBezTo>
                    <a:cubicBezTo>
                      <a:pt x="6295" y="5653"/>
                      <a:pt x="5046" y="6164"/>
                      <a:pt x="3856" y="6164"/>
                    </a:cubicBezTo>
                    <a:cubicBezTo>
                      <a:pt x="3452" y="6164"/>
                      <a:pt x="3055" y="6105"/>
                      <a:pt x="2699" y="5993"/>
                    </a:cubicBezTo>
                    <a:cubicBezTo>
                      <a:pt x="1172" y="5512"/>
                      <a:pt x="753" y="3964"/>
                      <a:pt x="1277" y="2604"/>
                    </a:cubicBezTo>
                    <a:cubicBezTo>
                      <a:pt x="1528" y="2018"/>
                      <a:pt x="2051" y="1432"/>
                      <a:pt x="2511" y="1013"/>
                    </a:cubicBezTo>
                    <a:cubicBezTo>
                      <a:pt x="2963" y="608"/>
                      <a:pt x="3396" y="465"/>
                      <a:pt x="3853" y="465"/>
                    </a:cubicBezTo>
                    <a:close/>
                    <a:moveTo>
                      <a:pt x="3675" y="0"/>
                    </a:moveTo>
                    <a:cubicBezTo>
                      <a:pt x="3333" y="0"/>
                      <a:pt x="2978" y="108"/>
                      <a:pt x="2511" y="365"/>
                    </a:cubicBezTo>
                    <a:cubicBezTo>
                      <a:pt x="1674" y="825"/>
                      <a:pt x="1005" y="1725"/>
                      <a:pt x="649" y="2583"/>
                    </a:cubicBezTo>
                    <a:cubicBezTo>
                      <a:pt x="0" y="4278"/>
                      <a:pt x="858" y="5910"/>
                      <a:pt x="2448" y="6558"/>
                    </a:cubicBezTo>
                    <a:cubicBezTo>
                      <a:pt x="2900" y="6747"/>
                      <a:pt x="3397" y="6839"/>
                      <a:pt x="3898" y="6839"/>
                    </a:cubicBezTo>
                    <a:cubicBezTo>
                      <a:pt x="5230" y="6839"/>
                      <a:pt x="6590" y="6190"/>
                      <a:pt x="7198" y="4989"/>
                    </a:cubicBezTo>
                    <a:cubicBezTo>
                      <a:pt x="8253" y="2941"/>
                      <a:pt x="6772" y="934"/>
                      <a:pt x="4797" y="302"/>
                    </a:cubicBezTo>
                    <a:lnTo>
                      <a:pt x="4797" y="302"/>
                    </a:lnTo>
                    <a:cubicBezTo>
                      <a:pt x="4365" y="116"/>
                      <a:pt x="4027" y="0"/>
                      <a:pt x="3675"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99" name="Google Shape;2799;p67"/>
              <p:cNvSpPr/>
              <p:nvPr/>
            </p:nvSpPr>
            <p:spPr>
              <a:xfrm>
                <a:off x="4813525" y="3487750"/>
                <a:ext cx="36400" cy="247250"/>
              </a:xfrm>
              <a:custGeom>
                <a:avLst/>
                <a:gdLst/>
                <a:ahLst/>
                <a:cxnLst/>
                <a:rect l="l" t="t" r="r" b="b"/>
                <a:pathLst>
                  <a:path w="1456" h="9890" extrusionOk="0">
                    <a:moveTo>
                      <a:pt x="1329" y="0"/>
                    </a:moveTo>
                    <a:cubicBezTo>
                      <a:pt x="1268" y="0"/>
                      <a:pt x="1204" y="37"/>
                      <a:pt x="1194" y="118"/>
                    </a:cubicBezTo>
                    <a:cubicBezTo>
                      <a:pt x="901" y="1708"/>
                      <a:pt x="671" y="3319"/>
                      <a:pt x="419" y="4910"/>
                    </a:cubicBezTo>
                    <a:cubicBezTo>
                      <a:pt x="210" y="6311"/>
                      <a:pt x="1" y="8320"/>
                      <a:pt x="461" y="9680"/>
                    </a:cubicBezTo>
                    <a:cubicBezTo>
                      <a:pt x="493" y="9816"/>
                      <a:pt x="613" y="9889"/>
                      <a:pt x="731" y="9889"/>
                    </a:cubicBezTo>
                    <a:cubicBezTo>
                      <a:pt x="848" y="9889"/>
                      <a:pt x="963" y="9816"/>
                      <a:pt x="984" y="9659"/>
                    </a:cubicBezTo>
                    <a:cubicBezTo>
                      <a:pt x="1110" y="8299"/>
                      <a:pt x="984" y="6835"/>
                      <a:pt x="1005" y="5433"/>
                    </a:cubicBezTo>
                    <a:cubicBezTo>
                      <a:pt x="1026" y="3654"/>
                      <a:pt x="1340" y="1876"/>
                      <a:pt x="1445" y="118"/>
                    </a:cubicBezTo>
                    <a:cubicBezTo>
                      <a:pt x="1456" y="42"/>
                      <a:pt x="1394" y="0"/>
                      <a:pt x="1329"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00" name="Google Shape;2800;p67"/>
              <p:cNvSpPr/>
              <p:nvPr/>
            </p:nvSpPr>
            <p:spPr>
              <a:xfrm>
                <a:off x="4742650" y="3706925"/>
                <a:ext cx="169775" cy="76800"/>
              </a:xfrm>
              <a:custGeom>
                <a:avLst/>
                <a:gdLst/>
                <a:ahLst/>
                <a:cxnLst/>
                <a:rect l="l" t="t" r="r" b="b"/>
                <a:pathLst>
                  <a:path w="6791" h="3072" extrusionOk="0">
                    <a:moveTo>
                      <a:pt x="2960" y="0"/>
                    </a:moveTo>
                    <a:cubicBezTo>
                      <a:pt x="2866" y="0"/>
                      <a:pt x="2771" y="36"/>
                      <a:pt x="2710" y="97"/>
                    </a:cubicBezTo>
                    <a:cubicBezTo>
                      <a:pt x="2334" y="557"/>
                      <a:pt x="1873" y="788"/>
                      <a:pt x="1371" y="1081"/>
                    </a:cubicBezTo>
                    <a:cubicBezTo>
                      <a:pt x="953" y="1311"/>
                      <a:pt x="555" y="1876"/>
                      <a:pt x="179" y="2189"/>
                    </a:cubicBezTo>
                    <a:cubicBezTo>
                      <a:pt x="0" y="2314"/>
                      <a:pt x="141" y="2500"/>
                      <a:pt x="317" y="2500"/>
                    </a:cubicBezTo>
                    <a:cubicBezTo>
                      <a:pt x="347" y="2500"/>
                      <a:pt x="378" y="2495"/>
                      <a:pt x="409" y="2482"/>
                    </a:cubicBezTo>
                    <a:cubicBezTo>
                      <a:pt x="995" y="2231"/>
                      <a:pt x="1371" y="1729"/>
                      <a:pt x="1915" y="1436"/>
                    </a:cubicBezTo>
                    <a:cubicBezTo>
                      <a:pt x="2331" y="1237"/>
                      <a:pt x="2720" y="1024"/>
                      <a:pt x="3009" y="693"/>
                    </a:cubicBezTo>
                    <a:lnTo>
                      <a:pt x="3009" y="693"/>
                    </a:lnTo>
                    <a:cubicBezTo>
                      <a:pt x="3311" y="824"/>
                      <a:pt x="3673" y="840"/>
                      <a:pt x="3987" y="997"/>
                    </a:cubicBezTo>
                    <a:cubicBezTo>
                      <a:pt x="4907" y="1457"/>
                      <a:pt x="5368" y="2420"/>
                      <a:pt x="6184" y="3005"/>
                    </a:cubicBezTo>
                    <a:cubicBezTo>
                      <a:pt x="6251" y="3052"/>
                      <a:pt x="6317" y="3072"/>
                      <a:pt x="6379" y="3072"/>
                    </a:cubicBezTo>
                    <a:cubicBezTo>
                      <a:pt x="6623" y="3072"/>
                      <a:pt x="6790" y="2754"/>
                      <a:pt x="6623" y="2503"/>
                    </a:cubicBezTo>
                    <a:cubicBezTo>
                      <a:pt x="6205" y="1834"/>
                      <a:pt x="5556" y="1185"/>
                      <a:pt x="4907" y="725"/>
                    </a:cubicBezTo>
                    <a:cubicBezTo>
                      <a:pt x="4594" y="516"/>
                      <a:pt x="4322" y="390"/>
                      <a:pt x="3987" y="285"/>
                    </a:cubicBezTo>
                    <a:cubicBezTo>
                      <a:pt x="3903" y="265"/>
                      <a:pt x="3234" y="202"/>
                      <a:pt x="3213" y="139"/>
                    </a:cubicBezTo>
                    <a:cubicBezTo>
                      <a:pt x="3159" y="42"/>
                      <a:pt x="3060" y="0"/>
                      <a:pt x="2960"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01" name="Google Shape;2801;p67"/>
              <p:cNvSpPr/>
              <p:nvPr/>
            </p:nvSpPr>
            <p:spPr>
              <a:xfrm>
                <a:off x="4709675" y="3579475"/>
                <a:ext cx="209550" cy="32700"/>
              </a:xfrm>
              <a:custGeom>
                <a:avLst/>
                <a:gdLst/>
                <a:ahLst/>
                <a:cxnLst/>
                <a:rect l="l" t="t" r="r" b="b"/>
                <a:pathLst>
                  <a:path w="8382" h="1308" extrusionOk="0">
                    <a:moveTo>
                      <a:pt x="187" y="0"/>
                    </a:moveTo>
                    <a:cubicBezTo>
                      <a:pt x="74" y="0"/>
                      <a:pt x="0" y="171"/>
                      <a:pt x="138" y="257"/>
                    </a:cubicBezTo>
                    <a:cubicBezTo>
                      <a:pt x="1330" y="948"/>
                      <a:pt x="2858" y="885"/>
                      <a:pt x="4197" y="1241"/>
                    </a:cubicBezTo>
                    <a:cubicBezTo>
                      <a:pt x="4366" y="1292"/>
                      <a:pt x="4564" y="1307"/>
                      <a:pt x="4771" y="1307"/>
                    </a:cubicBezTo>
                    <a:cubicBezTo>
                      <a:pt x="5076" y="1307"/>
                      <a:pt x="5402" y="1275"/>
                      <a:pt x="5693" y="1275"/>
                    </a:cubicBezTo>
                    <a:cubicBezTo>
                      <a:pt x="5769" y="1275"/>
                      <a:pt x="5842" y="1277"/>
                      <a:pt x="5913" y="1282"/>
                    </a:cubicBezTo>
                    <a:cubicBezTo>
                      <a:pt x="6186" y="1282"/>
                      <a:pt x="6463" y="1288"/>
                      <a:pt x="6740" y="1288"/>
                    </a:cubicBezTo>
                    <a:cubicBezTo>
                      <a:pt x="7223" y="1288"/>
                      <a:pt x="7706" y="1271"/>
                      <a:pt x="8172" y="1178"/>
                    </a:cubicBezTo>
                    <a:cubicBezTo>
                      <a:pt x="8382" y="1115"/>
                      <a:pt x="8340" y="801"/>
                      <a:pt x="8130" y="759"/>
                    </a:cubicBezTo>
                    <a:cubicBezTo>
                      <a:pt x="7660" y="649"/>
                      <a:pt x="7171" y="621"/>
                      <a:pt x="6676" y="621"/>
                    </a:cubicBezTo>
                    <a:cubicBezTo>
                      <a:pt x="6136" y="621"/>
                      <a:pt x="5590" y="655"/>
                      <a:pt x="5055" y="655"/>
                    </a:cubicBezTo>
                    <a:cubicBezTo>
                      <a:pt x="4343" y="655"/>
                      <a:pt x="3632" y="529"/>
                      <a:pt x="2941" y="425"/>
                    </a:cubicBezTo>
                    <a:cubicBezTo>
                      <a:pt x="2021" y="278"/>
                      <a:pt x="1121" y="383"/>
                      <a:pt x="263" y="27"/>
                    </a:cubicBezTo>
                    <a:cubicBezTo>
                      <a:pt x="237" y="8"/>
                      <a:pt x="211" y="0"/>
                      <a:pt x="187"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02" name="Google Shape;2802;p67"/>
              <p:cNvSpPr/>
              <p:nvPr/>
            </p:nvSpPr>
            <p:spPr>
              <a:xfrm>
                <a:off x="4905600" y="3555025"/>
                <a:ext cx="82150" cy="52675"/>
              </a:xfrm>
              <a:custGeom>
                <a:avLst/>
                <a:gdLst/>
                <a:ahLst/>
                <a:cxnLst/>
                <a:rect l="l" t="t" r="r" b="b"/>
                <a:pathLst>
                  <a:path w="3286" h="2107" extrusionOk="0">
                    <a:moveTo>
                      <a:pt x="2888" y="1"/>
                    </a:moveTo>
                    <a:cubicBezTo>
                      <a:pt x="1800" y="1"/>
                      <a:pt x="1089" y="1256"/>
                      <a:pt x="168" y="1737"/>
                    </a:cubicBezTo>
                    <a:cubicBezTo>
                      <a:pt x="0" y="1830"/>
                      <a:pt x="65" y="2106"/>
                      <a:pt x="229" y="2106"/>
                    </a:cubicBezTo>
                    <a:cubicBezTo>
                      <a:pt x="249" y="2106"/>
                      <a:pt x="271" y="2102"/>
                      <a:pt x="293" y="2093"/>
                    </a:cubicBezTo>
                    <a:cubicBezTo>
                      <a:pt x="754" y="1947"/>
                      <a:pt x="1130" y="1675"/>
                      <a:pt x="1528" y="1423"/>
                    </a:cubicBezTo>
                    <a:cubicBezTo>
                      <a:pt x="2030" y="1068"/>
                      <a:pt x="2490" y="817"/>
                      <a:pt x="3014" y="524"/>
                    </a:cubicBezTo>
                    <a:cubicBezTo>
                      <a:pt x="3286" y="398"/>
                      <a:pt x="3181" y="1"/>
                      <a:pt x="2888"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03" name="Google Shape;2803;p67"/>
              <p:cNvSpPr/>
              <p:nvPr/>
            </p:nvSpPr>
            <p:spPr>
              <a:xfrm>
                <a:off x="4922350" y="3588700"/>
                <a:ext cx="68825" cy="55375"/>
              </a:xfrm>
              <a:custGeom>
                <a:avLst/>
                <a:gdLst/>
                <a:ahLst/>
                <a:cxnLst/>
                <a:rect l="l" t="t" r="r" b="b"/>
                <a:pathLst>
                  <a:path w="2753" h="2215" extrusionOk="0">
                    <a:moveTo>
                      <a:pt x="174" y="0"/>
                    </a:moveTo>
                    <a:cubicBezTo>
                      <a:pt x="105" y="0"/>
                      <a:pt x="42" y="37"/>
                      <a:pt x="42" y="118"/>
                    </a:cubicBezTo>
                    <a:cubicBezTo>
                      <a:pt x="0" y="641"/>
                      <a:pt x="523" y="1102"/>
                      <a:pt x="879" y="1395"/>
                    </a:cubicBezTo>
                    <a:cubicBezTo>
                      <a:pt x="1339" y="1771"/>
                      <a:pt x="1820" y="2127"/>
                      <a:pt x="2406" y="2211"/>
                    </a:cubicBezTo>
                    <a:cubicBezTo>
                      <a:pt x="2420" y="2213"/>
                      <a:pt x="2433" y="2215"/>
                      <a:pt x="2446" y="2215"/>
                    </a:cubicBezTo>
                    <a:cubicBezTo>
                      <a:pt x="2633" y="2215"/>
                      <a:pt x="2752" y="1949"/>
                      <a:pt x="2616" y="1792"/>
                    </a:cubicBezTo>
                    <a:cubicBezTo>
                      <a:pt x="2302" y="1478"/>
                      <a:pt x="1946" y="1311"/>
                      <a:pt x="1590" y="1081"/>
                    </a:cubicBezTo>
                    <a:cubicBezTo>
                      <a:pt x="1297" y="913"/>
                      <a:pt x="439" y="537"/>
                      <a:pt x="335" y="118"/>
                    </a:cubicBezTo>
                    <a:cubicBezTo>
                      <a:pt x="324" y="43"/>
                      <a:pt x="246" y="0"/>
                      <a:pt x="174"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04" name="Google Shape;2804;p67"/>
              <p:cNvSpPr/>
              <p:nvPr/>
            </p:nvSpPr>
            <p:spPr>
              <a:xfrm>
                <a:off x="4664150" y="3548075"/>
                <a:ext cx="70450" cy="48350"/>
              </a:xfrm>
              <a:custGeom>
                <a:avLst/>
                <a:gdLst/>
                <a:ahLst/>
                <a:cxnLst/>
                <a:rect l="l" t="t" r="r" b="b"/>
                <a:pathLst>
                  <a:path w="2818" h="1934" extrusionOk="0">
                    <a:moveTo>
                      <a:pt x="182" y="0"/>
                    </a:moveTo>
                    <a:cubicBezTo>
                      <a:pt x="76" y="0"/>
                      <a:pt x="1" y="143"/>
                      <a:pt x="76" y="237"/>
                    </a:cubicBezTo>
                    <a:cubicBezTo>
                      <a:pt x="368" y="572"/>
                      <a:pt x="787" y="802"/>
                      <a:pt x="1164" y="990"/>
                    </a:cubicBezTo>
                    <a:cubicBezTo>
                      <a:pt x="1373" y="1095"/>
                      <a:pt x="1645" y="1116"/>
                      <a:pt x="1791" y="1304"/>
                    </a:cubicBezTo>
                    <a:cubicBezTo>
                      <a:pt x="1980" y="1513"/>
                      <a:pt x="2147" y="1722"/>
                      <a:pt x="2314" y="1911"/>
                    </a:cubicBezTo>
                    <a:cubicBezTo>
                      <a:pt x="2346" y="1927"/>
                      <a:pt x="2381" y="1934"/>
                      <a:pt x="2416" y="1934"/>
                    </a:cubicBezTo>
                    <a:cubicBezTo>
                      <a:pt x="2472" y="1934"/>
                      <a:pt x="2527" y="1916"/>
                      <a:pt x="2565" y="1890"/>
                    </a:cubicBezTo>
                    <a:cubicBezTo>
                      <a:pt x="2607" y="1806"/>
                      <a:pt x="2670" y="1743"/>
                      <a:pt x="2733" y="1681"/>
                    </a:cubicBezTo>
                    <a:cubicBezTo>
                      <a:pt x="2817" y="1596"/>
                      <a:pt x="2738" y="1443"/>
                      <a:pt x="2638" y="1443"/>
                    </a:cubicBezTo>
                    <a:cubicBezTo>
                      <a:pt x="2614" y="1443"/>
                      <a:pt x="2589" y="1451"/>
                      <a:pt x="2565" y="1471"/>
                    </a:cubicBezTo>
                    <a:cubicBezTo>
                      <a:pt x="2532" y="1488"/>
                      <a:pt x="2499" y="1511"/>
                      <a:pt x="2465" y="1536"/>
                    </a:cubicBezTo>
                    <a:lnTo>
                      <a:pt x="2465" y="1536"/>
                    </a:lnTo>
                    <a:cubicBezTo>
                      <a:pt x="2334" y="1332"/>
                      <a:pt x="2236" y="1126"/>
                      <a:pt x="2084" y="906"/>
                    </a:cubicBezTo>
                    <a:cubicBezTo>
                      <a:pt x="1959" y="739"/>
                      <a:pt x="1791" y="697"/>
                      <a:pt x="1624" y="593"/>
                    </a:cubicBezTo>
                    <a:cubicBezTo>
                      <a:pt x="1143" y="425"/>
                      <a:pt x="703" y="132"/>
                      <a:pt x="222" y="7"/>
                    </a:cubicBezTo>
                    <a:cubicBezTo>
                      <a:pt x="208" y="2"/>
                      <a:pt x="195" y="0"/>
                      <a:pt x="182"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05" name="Google Shape;2805;p67"/>
              <p:cNvSpPr/>
              <p:nvPr/>
            </p:nvSpPr>
            <p:spPr>
              <a:xfrm>
                <a:off x="4672825" y="3573075"/>
                <a:ext cx="47850" cy="34900"/>
              </a:xfrm>
              <a:custGeom>
                <a:avLst/>
                <a:gdLst/>
                <a:ahLst/>
                <a:cxnLst/>
                <a:rect l="l" t="t" r="r" b="b"/>
                <a:pathLst>
                  <a:path w="1914" h="1396" extrusionOk="0">
                    <a:moveTo>
                      <a:pt x="1673" y="0"/>
                    </a:moveTo>
                    <a:cubicBezTo>
                      <a:pt x="1634" y="0"/>
                      <a:pt x="1591" y="16"/>
                      <a:pt x="1549" y="53"/>
                    </a:cubicBezTo>
                    <a:cubicBezTo>
                      <a:pt x="1109" y="409"/>
                      <a:pt x="377" y="576"/>
                      <a:pt x="63" y="1099"/>
                    </a:cubicBezTo>
                    <a:cubicBezTo>
                      <a:pt x="1" y="1162"/>
                      <a:pt x="42" y="1308"/>
                      <a:pt x="126" y="1350"/>
                    </a:cubicBezTo>
                    <a:cubicBezTo>
                      <a:pt x="167" y="1384"/>
                      <a:pt x="198" y="1396"/>
                      <a:pt x="228" y="1396"/>
                    </a:cubicBezTo>
                    <a:cubicBezTo>
                      <a:pt x="290" y="1396"/>
                      <a:pt x="341" y="1343"/>
                      <a:pt x="440" y="1329"/>
                    </a:cubicBezTo>
                    <a:cubicBezTo>
                      <a:pt x="565" y="1308"/>
                      <a:pt x="670" y="1162"/>
                      <a:pt x="775" y="1120"/>
                    </a:cubicBezTo>
                    <a:cubicBezTo>
                      <a:pt x="900" y="1015"/>
                      <a:pt x="1068" y="932"/>
                      <a:pt x="1193" y="827"/>
                    </a:cubicBezTo>
                    <a:cubicBezTo>
                      <a:pt x="1402" y="681"/>
                      <a:pt x="1612" y="513"/>
                      <a:pt x="1800" y="304"/>
                    </a:cubicBezTo>
                    <a:cubicBezTo>
                      <a:pt x="1914" y="190"/>
                      <a:pt x="1813" y="0"/>
                      <a:pt x="1673"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06" name="Google Shape;2806;p67"/>
              <p:cNvSpPr/>
              <p:nvPr/>
            </p:nvSpPr>
            <p:spPr>
              <a:xfrm>
                <a:off x="4694250" y="3582750"/>
                <a:ext cx="30900" cy="64725"/>
              </a:xfrm>
              <a:custGeom>
                <a:avLst/>
                <a:gdLst/>
                <a:ahLst/>
                <a:cxnLst/>
                <a:rect l="l" t="t" r="r" b="b"/>
                <a:pathLst>
                  <a:path w="1236" h="2589" extrusionOk="0">
                    <a:moveTo>
                      <a:pt x="1034" y="1"/>
                    </a:moveTo>
                    <a:cubicBezTo>
                      <a:pt x="943" y="1"/>
                      <a:pt x="849" y="63"/>
                      <a:pt x="838" y="189"/>
                    </a:cubicBezTo>
                    <a:cubicBezTo>
                      <a:pt x="755" y="942"/>
                      <a:pt x="232" y="1612"/>
                      <a:pt x="43" y="2344"/>
                    </a:cubicBezTo>
                    <a:cubicBezTo>
                      <a:pt x="1" y="2486"/>
                      <a:pt x="112" y="2589"/>
                      <a:pt x="227" y="2589"/>
                    </a:cubicBezTo>
                    <a:cubicBezTo>
                      <a:pt x="282" y="2589"/>
                      <a:pt x="337" y="2565"/>
                      <a:pt x="378" y="2511"/>
                    </a:cubicBezTo>
                    <a:cubicBezTo>
                      <a:pt x="859" y="1884"/>
                      <a:pt x="1236" y="984"/>
                      <a:pt x="1215" y="189"/>
                    </a:cubicBezTo>
                    <a:cubicBezTo>
                      <a:pt x="1215" y="63"/>
                      <a:pt x="1126" y="1"/>
                      <a:pt x="1034"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07" name="Google Shape;2807;p67"/>
              <p:cNvSpPr/>
              <p:nvPr/>
            </p:nvSpPr>
            <p:spPr>
              <a:xfrm>
                <a:off x="4919225" y="3601375"/>
                <a:ext cx="46700" cy="63575"/>
              </a:xfrm>
              <a:custGeom>
                <a:avLst/>
                <a:gdLst/>
                <a:ahLst/>
                <a:cxnLst/>
                <a:rect l="l" t="t" r="r" b="b"/>
                <a:pathLst>
                  <a:path w="1868" h="2543" extrusionOk="0">
                    <a:moveTo>
                      <a:pt x="334" y="0"/>
                    </a:moveTo>
                    <a:cubicBezTo>
                      <a:pt x="168" y="0"/>
                      <a:pt x="1" y="188"/>
                      <a:pt x="104" y="365"/>
                    </a:cubicBezTo>
                    <a:cubicBezTo>
                      <a:pt x="481" y="1076"/>
                      <a:pt x="774" y="1892"/>
                      <a:pt x="1360" y="2457"/>
                    </a:cubicBezTo>
                    <a:cubicBezTo>
                      <a:pt x="1414" y="2517"/>
                      <a:pt x="1481" y="2543"/>
                      <a:pt x="1548" y="2543"/>
                    </a:cubicBezTo>
                    <a:cubicBezTo>
                      <a:pt x="1712" y="2543"/>
                      <a:pt x="1868" y="2385"/>
                      <a:pt x="1778" y="2206"/>
                    </a:cubicBezTo>
                    <a:cubicBezTo>
                      <a:pt x="1443" y="1453"/>
                      <a:pt x="1004" y="762"/>
                      <a:pt x="523" y="113"/>
                    </a:cubicBezTo>
                    <a:cubicBezTo>
                      <a:pt x="473" y="33"/>
                      <a:pt x="404" y="0"/>
                      <a:pt x="334"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08" name="Google Shape;2808;p67"/>
              <p:cNvSpPr/>
              <p:nvPr/>
            </p:nvSpPr>
            <p:spPr>
              <a:xfrm>
                <a:off x="4891475" y="3748050"/>
                <a:ext cx="93650" cy="42825"/>
              </a:xfrm>
              <a:custGeom>
                <a:avLst/>
                <a:gdLst/>
                <a:ahLst/>
                <a:cxnLst/>
                <a:rect l="l" t="t" r="r" b="b"/>
                <a:pathLst>
                  <a:path w="3746" h="1713" extrusionOk="0">
                    <a:moveTo>
                      <a:pt x="2302" y="524"/>
                    </a:moveTo>
                    <a:cubicBezTo>
                      <a:pt x="2490" y="524"/>
                      <a:pt x="3014" y="524"/>
                      <a:pt x="3014" y="816"/>
                    </a:cubicBezTo>
                    <a:cubicBezTo>
                      <a:pt x="3014" y="1026"/>
                      <a:pt x="2679" y="1109"/>
                      <a:pt x="2532" y="1130"/>
                    </a:cubicBezTo>
                    <a:cubicBezTo>
                      <a:pt x="2337" y="1178"/>
                      <a:pt x="2143" y="1195"/>
                      <a:pt x="1949" y="1195"/>
                    </a:cubicBezTo>
                    <a:cubicBezTo>
                      <a:pt x="1502" y="1195"/>
                      <a:pt x="1056" y="1105"/>
                      <a:pt x="600" y="1095"/>
                    </a:cubicBezTo>
                    <a:lnTo>
                      <a:pt x="600" y="1095"/>
                    </a:lnTo>
                    <a:cubicBezTo>
                      <a:pt x="1012" y="701"/>
                      <a:pt x="1762" y="584"/>
                      <a:pt x="2302" y="524"/>
                    </a:cubicBezTo>
                    <a:close/>
                    <a:moveTo>
                      <a:pt x="2323" y="0"/>
                    </a:moveTo>
                    <a:cubicBezTo>
                      <a:pt x="1633" y="0"/>
                      <a:pt x="712" y="335"/>
                      <a:pt x="314" y="963"/>
                    </a:cubicBezTo>
                    <a:cubicBezTo>
                      <a:pt x="284" y="1012"/>
                      <a:pt x="278" y="1061"/>
                      <a:pt x="290" y="1102"/>
                    </a:cubicBezTo>
                    <a:lnTo>
                      <a:pt x="290" y="1102"/>
                    </a:lnTo>
                    <a:cubicBezTo>
                      <a:pt x="263" y="1104"/>
                      <a:pt x="236" y="1107"/>
                      <a:pt x="210" y="1109"/>
                    </a:cubicBezTo>
                    <a:cubicBezTo>
                      <a:pt x="1" y="1130"/>
                      <a:pt x="22" y="1423"/>
                      <a:pt x="210" y="1444"/>
                    </a:cubicBezTo>
                    <a:cubicBezTo>
                      <a:pt x="648" y="1521"/>
                      <a:pt x="1430" y="1712"/>
                      <a:pt x="2129" y="1712"/>
                    </a:cubicBezTo>
                    <a:cubicBezTo>
                      <a:pt x="2767" y="1712"/>
                      <a:pt x="3336" y="1553"/>
                      <a:pt x="3516" y="1005"/>
                    </a:cubicBezTo>
                    <a:cubicBezTo>
                      <a:pt x="3746" y="272"/>
                      <a:pt x="2846" y="0"/>
                      <a:pt x="2323"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09" name="Google Shape;2809;p67"/>
              <p:cNvSpPr/>
              <p:nvPr/>
            </p:nvSpPr>
            <p:spPr>
              <a:xfrm>
                <a:off x="4700550" y="3730550"/>
                <a:ext cx="61750" cy="35400"/>
              </a:xfrm>
              <a:custGeom>
                <a:avLst/>
                <a:gdLst/>
                <a:ahLst/>
                <a:cxnLst/>
                <a:rect l="l" t="t" r="r" b="b"/>
                <a:pathLst>
                  <a:path w="2470" h="1416" extrusionOk="0">
                    <a:moveTo>
                      <a:pt x="859" y="0"/>
                    </a:moveTo>
                    <a:cubicBezTo>
                      <a:pt x="810" y="0"/>
                      <a:pt x="761" y="3"/>
                      <a:pt x="712" y="10"/>
                    </a:cubicBezTo>
                    <a:cubicBezTo>
                      <a:pt x="419" y="52"/>
                      <a:pt x="0" y="282"/>
                      <a:pt x="63" y="617"/>
                    </a:cubicBezTo>
                    <a:cubicBezTo>
                      <a:pt x="84" y="889"/>
                      <a:pt x="398" y="1014"/>
                      <a:pt x="607" y="1098"/>
                    </a:cubicBezTo>
                    <a:cubicBezTo>
                      <a:pt x="963" y="1224"/>
                      <a:pt x="1423" y="1328"/>
                      <a:pt x="1800" y="1349"/>
                    </a:cubicBezTo>
                    <a:cubicBezTo>
                      <a:pt x="1930" y="1349"/>
                      <a:pt x="2044" y="1415"/>
                      <a:pt x="2156" y="1415"/>
                    </a:cubicBezTo>
                    <a:cubicBezTo>
                      <a:pt x="2170" y="1415"/>
                      <a:pt x="2183" y="1414"/>
                      <a:pt x="2197" y="1412"/>
                    </a:cubicBezTo>
                    <a:cubicBezTo>
                      <a:pt x="2386" y="1370"/>
                      <a:pt x="2469" y="1161"/>
                      <a:pt x="2365" y="1014"/>
                    </a:cubicBezTo>
                    <a:cubicBezTo>
                      <a:pt x="2177" y="742"/>
                      <a:pt x="1653" y="742"/>
                      <a:pt x="1360" y="721"/>
                    </a:cubicBezTo>
                    <a:cubicBezTo>
                      <a:pt x="1277" y="721"/>
                      <a:pt x="398" y="596"/>
                      <a:pt x="419" y="533"/>
                    </a:cubicBezTo>
                    <a:cubicBezTo>
                      <a:pt x="452" y="380"/>
                      <a:pt x="589" y="324"/>
                      <a:pt x="768" y="324"/>
                    </a:cubicBezTo>
                    <a:cubicBezTo>
                      <a:pt x="1152" y="324"/>
                      <a:pt x="1727" y="580"/>
                      <a:pt x="1884" y="680"/>
                    </a:cubicBezTo>
                    <a:cubicBezTo>
                      <a:pt x="1913" y="691"/>
                      <a:pt x="1940" y="696"/>
                      <a:pt x="1965" y="696"/>
                    </a:cubicBezTo>
                    <a:cubicBezTo>
                      <a:pt x="2117" y="696"/>
                      <a:pt x="2177" y="500"/>
                      <a:pt x="2051" y="428"/>
                    </a:cubicBezTo>
                    <a:cubicBezTo>
                      <a:pt x="1696" y="223"/>
                      <a:pt x="1273" y="0"/>
                      <a:pt x="859"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10" name="Google Shape;2810;p67"/>
            <p:cNvGrpSpPr/>
            <p:nvPr/>
          </p:nvGrpSpPr>
          <p:grpSpPr>
            <a:xfrm>
              <a:off x="7460026" y="794883"/>
              <a:ext cx="435082" cy="516624"/>
              <a:chOff x="7498226" y="697433"/>
              <a:chExt cx="435082" cy="516624"/>
            </a:xfrm>
          </p:grpSpPr>
          <p:grpSp>
            <p:nvGrpSpPr>
              <p:cNvPr id="2811" name="Google Shape;2811;p67"/>
              <p:cNvGrpSpPr/>
              <p:nvPr/>
            </p:nvGrpSpPr>
            <p:grpSpPr>
              <a:xfrm rot="-940905" flipH="1">
                <a:off x="7552251" y="733352"/>
                <a:ext cx="327033" cy="444785"/>
                <a:chOff x="4664150" y="3346100"/>
                <a:chExt cx="327025" cy="444775"/>
              </a:xfrm>
            </p:grpSpPr>
            <p:sp>
              <p:nvSpPr>
                <p:cNvPr id="2812" name="Google Shape;2812;p67"/>
                <p:cNvSpPr/>
                <p:nvPr/>
              </p:nvSpPr>
              <p:spPr>
                <a:xfrm>
                  <a:off x="4750250" y="3346100"/>
                  <a:ext cx="206325" cy="170975"/>
                </a:xfrm>
                <a:custGeom>
                  <a:avLst/>
                  <a:gdLst/>
                  <a:ahLst/>
                  <a:cxnLst/>
                  <a:rect l="l" t="t" r="r" b="b"/>
                  <a:pathLst>
                    <a:path w="8253" h="6839" extrusionOk="0">
                      <a:moveTo>
                        <a:pt x="3853" y="465"/>
                      </a:moveTo>
                      <a:cubicBezTo>
                        <a:pt x="4028" y="465"/>
                        <a:pt x="4206" y="486"/>
                        <a:pt x="4391" y="521"/>
                      </a:cubicBezTo>
                      <a:lnTo>
                        <a:pt x="4391" y="521"/>
                      </a:lnTo>
                      <a:cubicBezTo>
                        <a:pt x="4374" y="617"/>
                        <a:pt x="4402" y="719"/>
                        <a:pt x="4499" y="783"/>
                      </a:cubicBezTo>
                      <a:cubicBezTo>
                        <a:pt x="5922" y="1557"/>
                        <a:pt x="7386" y="2604"/>
                        <a:pt x="6717" y="4466"/>
                      </a:cubicBezTo>
                      <a:cubicBezTo>
                        <a:pt x="6295" y="5653"/>
                        <a:pt x="5046" y="6164"/>
                        <a:pt x="3856" y="6164"/>
                      </a:cubicBezTo>
                      <a:cubicBezTo>
                        <a:pt x="3452" y="6164"/>
                        <a:pt x="3055" y="6105"/>
                        <a:pt x="2699" y="5993"/>
                      </a:cubicBezTo>
                      <a:cubicBezTo>
                        <a:pt x="1172" y="5512"/>
                        <a:pt x="753" y="3964"/>
                        <a:pt x="1277" y="2604"/>
                      </a:cubicBezTo>
                      <a:cubicBezTo>
                        <a:pt x="1528" y="2018"/>
                        <a:pt x="2051" y="1432"/>
                        <a:pt x="2511" y="1013"/>
                      </a:cubicBezTo>
                      <a:cubicBezTo>
                        <a:pt x="2963" y="608"/>
                        <a:pt x="3396" y="465"/>
                        <a:pt x="3853" y="465"/>
                      </a:cubicBezTo>
                      <a:close/>
                      <a:moveTo>
                        <a:pt x="3675" y="0"/>
                      </a:moveTo>
                      <a:cubicBezTo>
                        <a:pt x="3333" y="0"/>
                        <a:pt x="2978" y="108"/>
                        <a:pt x="2511" y="365"/>
                      </a:cubicBezTo>
                      <a:cubicBezTo>
                        <a:pt x="1674" y="825"/>
                        <a:pt x="1005" y="1725"/>
                        <a:pt x="649" y="2583"/>
                      </a:cubicBezTo>
                      <a:cubicBezTo>
                        <a:pt x="0" y="4278"/>
                        <a:pt x="858" y="5910"/>
                        <a:pt x="2448" y="6558"/>
                      </a:cubicBezTo>
                      <a:cubicBezTo>
                        <a:pt x="2900" y="6747"/>
                        <a:pt x="3397" y="6839"/>
                        <a:pt x="3898" y="6839"/>
                      </a:cubicBezTo>
                      <a:cubicBezTo>
                        <a:pt x="5230" y="6839"/>
                        <a:pt x="6590" y="6190"/>
                        <a:pt x="7198" y="4989"/>
                      </a:cubicBezTo>
                      <a:cubicBezTo>
                        <a:pt x="8253" y="2941"/>
                        <a:pt x="6772" y="934"/>
                        <a:pt x="4797" y="302"/>
                      </a:cubicBezTo>
                      <a:lnTo>
                        <a:pt x="4797" y="302"/>
                      </a:lnTo>
                      <a:cubicBezTo>
                        <a:pt x="4365" y="116"/>
                        <a:pt x="4027" y="0"/>
                        <a:pt x="3675"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13" name="Google Shape;2813;p67"/>
                <p:cNvSpPr/>
                <p:nvPr/>
              </p:nvSpPr>
              <p:spPr>
                <a:xfrm>
                  <a:off x="4813525" y="3487750"/>
                  <a:ext cx="36400" cy="247250"/>
                </a:xfrm>
                <a:custGeom>
                  <a:avLst/>
                  <a:gdLst/>
                  <a:ahLst/>
                  <a:cxnLst/>
                  <a:rect l="l" t="t" r="r" b="b"/>
                  <a:pathLst>
                    <a:path w="1456" h="9890" extrusionOk="0">
                      <a:moveTo>
                        <a:pt x="1329" y="0"/>
                      </a:moveTo>
                      <a:cubicBezTo>
                        <a:pt x="1268" y="0"/>
                        <a:pt x="1204" y="37"/>
                        <a:pt x="1194" y="118"/>
                      </a:cubicBezTo>
                      <a:cubicBezTo>
                        <a:pt x="901" y="1708"/>
                        <a:pt x="671" y="3319"/>
                        <a:pt x="419" y="4910"/>
                      </a:cubicBezTo>
                      <a:cubicBezTo>
                        <a:pt x="210" y="6311"/>
                        <a:pt x="1" y="8320"/>
                        <a:pt x="461" y="9680"/>
                      </a:cubicBezTo>
                      <a:cubicBezTo>
                        <a:pt x="493" y="9816"/>
                        <a:pt x="613" y="9889"/>
                        <a:pt x="731" y="9889"/>
                      </a:cubicBezTo>
                      <a:cubicBezTo>
                        <a:pt x="848" y="9889"/>
                        <a:pt x="963" y="9816"/>
                        <a:pt x="984" y="9659"/>
                      </a:cubicBezTo>
                      <a:cubicBezTo>
                        <a:pt x="1110" y="8299"/>
                        <a:pt x="984" y="6835"/>
                        <a:pt x="1005" y="5433"/>
                      </a:cubicBezTo>
                      <a:cubicBezTo>
                        <a:pt x="1026" y="3654"/>
                        <a:pt x="1340" y="1876"/>
                        <a:pt x="1445" y="118"/>
                      </a:cubicBezTo>
                      <a:cubicBezTo>
                        <a:pt x="1456" y="42"/>
                        <a:pt x="1394" y="0"/>
                        <a:pt x="1329"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14" name="Google Shape;2814;p67"/>
                <p:cNvSpPr/>
                <p:nvPr/>
              </p:nvSpPr>
              <p:spPr>
                <a:xfrm>
                  <a:off x="4742650" y="3706925"/>
                  <a:ext cx="169775" cy="76800"/>
                </a:xfrm>
                <a:custGeom>
                  <a:avLst/>
                  <a:gdLst/>
                  <a:ahLst/>
                  <a:cxnLst/>
                  <a:rect l="l" t="t" r="r" b="b"/>
                  <a:pathLst>
                    <a:path w="6791" h="3072" extrusionOk="0">
                      <a:moveTo>
                        <a:pt x="2960" y="0"/>
                      </a:moveTo>
                      <a:cubicBezTo>
                        <a:pt x="2866" y="0"/>
                        <a:pt x="2771" y="36"/>
                        <a:pt x="2710" y="97"/>
                      </a:cubicBezTo>
                      <a:cubicBezTo>
                        <a:pt x="2334" y="557"/>
                        <a:pt x="1873" y="788"/>
                        <a:pt x="1371" y="1081"/>
                      </a:cubicBezTo>
                      <a:cubicBezTo>
                        <a:pt x="953" y="1311"/>
                        <a:pt x="555" y="1876"/>
                        <a:pt x="179" y="2189"/>
                      </a:cubicBezTo>
                      <a:cubicBezTo>
                        <a:pt x="0" y="2314"/>
                        <a:pt x="141" y="2500"/>
                        <a:pt x="317" y="2500"/>
                      </a:cubicBezTo>
                      <a:cubicBezTo>
                        <a:pt x="347" y="2500"/>
                        <a:pt x="378" y="2495"/>
                        <a:pt x="409" y="2482"/>
                      </a:cubicBezTo>
                      <a:cubicBezTo>
                        <a:pt x="995" y="2231"/>
                        <a:pt x="1371" y="1729"/>
                        <a:pt x="1915" y="1436"/>
                      </a:cubicBezTo>
                      <a:cubicBezTo>
                        <a:pt x="2331" y="1237"/>
                        <a:pt x="2720" y="1024"/>
                        <a:pt x="3009" y="693"/>
                      </a:cubicBezTo>
                      <a:lnTo>
                        <a:pt x="3009" y="693"/>
                      </a:lnTo>
                      <a:cubicBezTo>
                        <a:pt x="3311" y="824"/>
                        <a:pt x="3673" y="840"/>
                        <a:pt x="3987" y="997"/>
                      </a:cubicBezTo>
                      <a:cubicBezTo>
                        <a:pt x="4907" y="1457"/>
                        <a:pt x="5368" y="2420"/>
                        <a:pt x="6184" y="3005"/>
                      </a:cubicBezTo>
                      <a:cubicBezTo>
                        <a:pt x="6251" y="3052"/>
                        <a:pt x="6317" y="3072"/>
                        <a:pt x="6379" y="3072"/>
                      </a:cubicBezTo>
                      <a:cubicBezTo>
                        <a:pt x="6623" y="3072"/>
                        <a:pt x="6790" y="2754"/>
                        <a:pt x="6623" y="2503"/>
                      </a:cubicBezTo>
                      <a:cubicBezTo>
                        <a:pt x="6205" y="1834"/>
                        <a:pt x="5556" y="1185"/>
                        <a:pt x="4907" y="725"/>
                      </a:cubicBezTo>
                      <a:cubicBezTo>
                        <a:pt x="4594" y="516"/>
                        <a:pt x="4322" y="390"/>
                        <a:pt x="3987" y="285"/>
                      </a:cubicBezTo>
                      <a:cubicBezTo>
                        <a:pt x="3903" y="265"/>
                        <a:pt x="3234" y="202"/>
                        <a:pt x="3213" y="139"/>
                      </a:cubicBezTo>
                      <a:cubicBezTo>
                        <a:pt x="3159" y="42"/>
                        <a:pt x="3060" y="0"/>
                        <a:pt x="2960"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15" name="Google Shape;2815;p67"/>
                <p:cNvSpPr/>
                <p:nvPr/>
              </p:nvSpPr>
              <p:spPr>
                <a:xfrm>
                  <a:off x="4709675" y="3579475"/>
                  <a:ext cx="209550" cy="32700"/>
                </a:xfrm>
                <a:custGeom>
                  <a:avLst/>
                  <a:gdLst/>
                  <a:ahLst/>
                  <a:cxnLst/>
                  <a:rect l="l" t="t" r="r" b="b"/>
                  <a:pathLst>
                    <a:path w="8382" h="1308" extrusionOk="0">
                      <a:moveTo>
                        <a:pt x="187" y="0"/>
                      </a:moveTo>
                      <a:cubicBezTo>
                        <a:pt x="74" y="0"/>
                        <a:pt x="0" y="171"/>
                        <a:pt x="138" y="257"/>
                      </a:cubicBezTo>
                      <a:cubicBezTo>
                        <a:pt x="1330" y="948"/>
                        <a:pt x="2858" y="885"/>
                        <a:pt x="4197" y="1241"/>
                      </a:cubicBezTo>
                      <a:cubicBezTo>
                        <a:pt x="4366" y="1292"/>
                        <a:pt x="4564" y="1307"/>
                        <a:pt x="4771" y="1307"/>
                      </a:cubicBezTo>
                      <a:cubicBezTo>
                        <a:pt x="5076" y="1307"/>
                        <a:pt x="5402" y="1275"/>
                        <a:pt x="5693" y="1275"/>
                      </a:cubicBezTo>
                      <a:cubicBezTo>
                        <a:pt x="5769" y="1275"/>
                        <a:pt x="5842" y="1277"/>
                        <a:pt x="5913" y="1282"/>
                      </a:cubicBezTo>
                      <a:cubicBezTo>
                        <a:pt x="6186" y="1282"/>
                        <a:pt x="6463" y="1288"/>
                        <a:pt x="6740" y="1288"/>
                      </a:cubicBezTo>
                      <a:cubicBezTo>
                        <a:pt x="7223" y="1288"/>
                        <a:pt x="7706" y="1271"/>
                        <a:pt x="8172" y="1178"/>
                      </a:cubicBezTo>
                      <a:cubicBezTo>
                        <a:pt x="8382" y="1115"/>
                        <a:pt x="8340" y="801"/>
                        <a:pt x="8130" y="759"/>
                      </a:cubicBezTo>
                      <a:cubicBezTo>
                        <a:pt x="7660" y="649"/>
                        <a:pt x="7171" y="621"/>
                        <a:pt x="6676" y="621"/>
                      </a:cubicBezTo>
                      <a:cubicBezTo>
                        <a:pt x="6136" y="621"/>
                        <a:pt x="5590" y="655"/>
                        <a:pt x="5055" y="655"/>
                      </a:cubicBezTo>
                      <a:cubicBezTo>
                        <a:pt x="4343" y="655"/>
                        <a:pt x="3632" y="529"/>
                        <a:pt x="2941" y="425"/>
                      </a:cubicBezTo>
                      <a:cubicBezTo>
                        <a:pt x="2021" y="278"/>
                        <a:pt x="1121" y="383"/>
                        <a:pt x="263" y="27"/>
                      </a:cubicBezTo>
                      <a:cubicBezTo>
                        <a:pt x="237" y="8"/>
                        <a:pt x="211" y="0"/>
                        <a:pt x="187"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16" name="Google Shape;2816;p67"/>
                <p:cNvSpPr/>
                <p:nvPr/>
              </p:nvSpPr>
              <p:spPr>
                <a:xfrm>
                  <a:off x="4905600" y="3555025"/>
                  <a:ext cx="82150" cy="52675"/>
                </a:xfrm>
                <a:custGeom>
                  <a:avLst/>
                  <a:gdLst/>
                  <a:ahLst/>
                  <a:cxnLst/>
                  <a:rect l="l" t="t" r="r" b="b"/>
                  <a:pathLst>
                    <a:path w="3286" h="2107" extrusionOk="0">
                      <a:moveTo>
                        <a:pt x="2888" y="1"/>
                      </a:moveTo>
                      <a:cubicBezTo>
                        <a:pt x="1800" y="1"/>
                        <a:pt x="1089" y="1256"/>
                        <a:pt x="168" y="1737"/>
                      </a:cubicBezTo>
                      <a:cubicBezTo>
                        <a:pt x="0" y="1830"/>
                        <a:pt x="65" y="2106"/>
                        <a:pt x="229" y="2106"/>
                      </a:cubicBezTo>
                      <a:cubicBezTo>
                        <a:pt x="249" y="2106"/>
                        <a:pt x="271" y="2102"/>
                        <a:pt x="293" y="2093"/>
                      </a:cubicBezTo>
                      <a:cubicBezTo>
                        <a:pt x="754" y="1947"/>
                        <a:pt x="1130" y="1675"/>
                        <a:pt x="1528" y="1423"/>
                      </a:cubicBezTo>
                      <a:cubicBezTo>
                        <a:pt x="2030" y="1068"/>
                        <a:pt x="2490" y="817"/>
                        <a:pt x="3014" y="524"/>
                      </a:cubicBezTo>
                      <a:cubicBezTo>
                        <a:pt x="3286" y="398"/>
                        <a:pt x="3181" y="1"/>
                        <a:pt x="2888"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17" name="Google Shape;2817;p67"/>
                <p:cNvSpPr/>
                <p:nvPr/>
              </p:nvSpPr>
              <p:spPr>
                <a:xfrm>
                  <a:off x="4922350" y="3588700"/>
                  <a:ext cx="68825" cy="55375"/>
                </a:xfrm>
                <a:custGeom>
                  <a:avLst/>
                  <a:gdLst/>
                  <a:ahLst/>
                  <a:cxnLst/>
                  <a:rect l="l" t="t" r="r" b="b"/>
                  <a:pathLst>
                    <a:path w="2753" h="2215" extrusionOk="0">
                      <a:moveTo>
                        <a:pt x="174" y="0"/>
                      </a:moveTo>
                      <a:cubicBezTo>
                        <a:pt x="105" y="0"/>
                        <a:pt x="42" y="37"/>
                        <a:pt x="42" y="118"/>
                      </a:cubicBezTo>
                      <a:cubicBezTo>
                        <a:pt x="0" y="641"/>
                        <a:pt x="523" y="1102"/>
                        <a:pt x="879" y="1395"/>
                      </a:cubicBezTo>
                      <a:cubicBezTo>
                        <a:pt x="1339" y="1771"/>
                        <a:pt x="1820" y="2127"/>
                        <a:pt x="2406" y="2211"/>
                      </a:cubicBezTo>
                      <a:cubicBezTo>
                        <a:pt x="2420" y="2213"/>
                        <a:pt x="2433" y="2215"/>
                        <a:pt x="2446" y="2215"/>
                      </a:cubicBezTo>
                      <a:cubicBezTo>
                        <a:pt x="2633" y="2215"/>
                        <a:pt x="2752" y="1949"/>
                        <a:pt x="2616" y="1792"/>
                      </a:cubicBezTo>
                      <a:cubicBezTo>
                        <a:pt x="2302" y="1478"/>
                        <a:pt x="1946" y="1311"/>
                        <a:pt x="1590" y="1081"/>
                      </a:cubicBezTo>
                      <a:cubicBezTo>
                        <a:pt x="1297" y="913"/>
                        <a:pt x="439" y="537"/>
                        <a:pt x="335" y="118"/>
                      </a:cubicBezTo>
                      <a:cubicBezTo>
                        <a:pt x="324" y="43"/>
                        <a:pt x="246" y="0"/>
                        <a:pt x="174"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18" name="Google Shape;2818;p67"/>
                <p:cNvSpPr/>
                <p:nvPr/>
              </p:nvSpPr>
              <p:spPr>
                <a:xfrm>
                  <a:off x="4664150" y="3548075"/>
                  <a:ext cx="70450" cy="48350"/>
                </a:xfrm>
                <a:custGeom>
                  <a:avLst/>
                  <a:gdLst/>
                  <a:ahLst/>
                  <a:cxnLst/>
                  <a:rect l="l" t="t" r="r" b="b"/>
                  <a:pathLst>
                    <a:path w="2818" h="1934" extrusionOk="0">
                      <a:moveTo>
                        <a:pt x="182" y="0"/>
                      </a:moveTo>
                      <a:cubicBezTo>
                        <a:pt x="76" y="0"/>
                        <a:pt x="1" y="143"/>
                        <a:pt x="76" y="237"/>
                      </a:cubicBezTo>
                      <a:cubicBezTo>
                        <a:pt x="368" y="572"/>
                        <a:pt x="787" y="802"/>
                        <a:pt x="1164" y="990"/>
                      </a:cubicBezTo>
                      <a:cubicBezTo>
                        <a:pt x="1373" y="1095"/>
                        <a:pt x="1645" y="1116"/>
                        <a:pt x="1791" y="1304"/>
                      </a:cubicBezTo>
                      <a:cubicBezTo>
                        <a:pt x="1980" y="1513"/>
                        <a:pt x="2147" y="1722"/>
                        <a:pt x="2314" y="1911"/>
                      </a:cubicBezTo>
                      <a:cubicBezTo>
                        <a:pt x="2346" y="1927"/>
                        <a:pt x="2381" y="1934"/>
                        <a:pt x="2416" y="1934"/>
                      </a:cubicBezTo>
                      <a:cubicBezTo>
                        <a:pt x="2472" y="1934"/>
                        <a:pt x="2527" y="1916"/>
                        <a:pt x="2565" y="1890"/>
                      </a:cubicBezTo>
                      <a:cubicBezTo>
                        <a:pt x="2607" y="1806"/>
                        <a:pt x="2670" y="1743"/>
                        <a:pt x="2733" y="1681"/>
                      </a:cubicBezTo>
                      <a:cubicBezTo>
                        <a:pt x="2817" y="1596"/>
                        <a:pt x="2738" y="1443"/>
                        <a:pt x="2638" y="1443"/>
                      </a:cubicBezTo>
                      <a:cubicBezTo>
                        <a:pt x="2614" y="1443"/>
                        <a:pt x="2589" y="1451"/>
                        <a:pt x="2565" y="1471"/>
                      </a:cubicBezTo>
                      <a:cubicBezTo>
                        <a:pt x="2532" y="1488"/>
                        <a:pt x="2499" y="1511"/>
                        <a:pt x="2465" y="1536"/>
                      </a:cubicBezTo>
                      <a:lnTo>
                        <a:pt x="2465" y="1536"/>
                      </a:lnTo>
                      <a:cubicBezTo>
                        <a:pt x="2334" y="1332"/>
                        <a:pt x="2236" y="1126"/>
                        <a:pt x="2084" y="906"/>
                      </a:cubicBezTo>
                      <a:cubicBezTo>
                        <a:pt x="1959" y="739"/>
                        <a:pt x="1791" y="697"/>
                        <a:pt x="1624" y="593"/>
                      </a:cubicBezTo>
                      <a:cubicBezTo>
                        <a:pt x="1143" y="425"/>
                        <a:pt x="703" y="132"/>
                        <a:pt x="222" y="7"/>
                      </a:cubicBezTo>
                      <a:cubicBezTo>
                        <a:pt x="208" y="2"/>
                        <a:pt x="195" y="0"/>
                        <a:pt x="182"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19" name="Google Shape;2819;p67"/>
                <p:cNvSpPr/>
                <p:nvPr/>
              </p:nvSpPr>
              <p:spPr>
                <a:xfrm>
                  <a:off x="4672825" y="3573075"/>
                  <a:ext cx="47850" cy="34900"/>
                </a:xfrm>
                <a:custGeom>
                  <a:avLst/>
                  <a:gdLst/>
                  <a:ahLst/>
                  <a:cxnLst/>
                  <a:rect l="l" t="t" r="r" b="b"/>
                  <a:pathLst>
                    <a:path w="1914" h="1396" extrusionOk="0">
                      <a:moveTo>
                        <a:pt x="1673" y="0"/>
                      </a:moveTo>
                      <a:cubicBezTo>
                        <a:pt x="1634" y="0"/>
                        <a:pt x="1591" y="16"/>
                        <a:pt x="1549" y="53"/>
                      </a:cubicBezTo>
                      <a:cubicBezTo>
                        <a:pt x="1109" y="409"/>
                        <a:pt x="377" y="576"/>
                        <a:pt x="63" y="1099"/>
                      </a:cubicBezTo>
                      <a:cubicBezTo>
                        <a:pt x="1" y="1162"/>
                        <a:pt x="42" y="1308"/>
                        <a:pt x="126" y="1350"/>
                      </a:cubicBezTo>
                      <a:cubicBezTo>
                        <a:pt x="167" y="1384"/>
                        <a:pt x="198" y="1396"/>
                        <a:pt x="228" y="1396"/>
                      </a:cubicBezTo>
                      <a:cubicBezTo>
                        <a:pt x="290" y="1396"/>
                        <a:pt x="341" y="1343"/>
                        <a:pt x="440" y="1329"/>
                      </a:cubicBezTo>
                      <a:cubicBezTo>
                        <a:pt x="565" y="1308"/>
                        <a:pt x="670" y="1162"/>
                        <a:pt x="775" y="1120"/>
                      </a:cubicBezTo>
                      <a:cubicBezTo>
                        <a:pt x="900" y="1015"/>
                        <a:pt x="1068" y="932"/>
                        <a:pt x="1193" y="827"/>
                      </a:cubicBezTo>
                      <a:cubicBezTo>
                        <a:pt x="1402" y="681"/>
                        <a:pt x="1612" y="513"/>
                        <a:pt x="1800" y="304"/>
                      </a:cubicBezTo>
                      <a:cubicBezTo>
                        <a:pt x="1914" y="190"/>
                        <a:pt x="1813" y="0"/>
                        <a:pt x="1673"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20" name="Google Shape;2820;p67"/>
                <p:cNvSpPr/>
                <p:nvPr/>
              </p:nvSpPr>
              <p:spPr>
                <a:xfrm>
                  <a:off x="4694250" y="3582750"/>
                  <a:ext cx="30900" cy="64725"/>
                </a:xfrm>
                <a:custGeom>
                  <a:avLst/>
                  <a:gdLst/>
                  <a:ahLst/>
                  <a:cxnLst/>
                  <a:rect l="l" t="t" r="r" b="b"/>
                  <a:pathLst>
                    <a:path w="1236" h="2589" extrusionOk="0">
                      <a:moveTo>
                        <a:pt x="1034" y="1"/>
                      </a:moveTo>
                      <a:cubicBezTo>
                        <a:pt x="943" y="1"/>
                        <a:pt x="849" y="63"/>
                        <a:pt x="838" y="189"/>
                      </a:cubicBezTo>
                      <a:cubicBezTo>
                        <a:pt x="755" y="942"/>
                        <a:pt x="232" y="1612"/>
                        <a:pt x="43" y="2344"/>
                      </a:cubicBezTo>
                      <a:cubicBezTo>
                        <a:pt x="1" y="2486"/>
                        <a:pt x="112" y="2589"/>
                        <a:pt x="227" y="2589"/>
                      </a:cubicBezTo>
                      <a:cubicBezTo>
                        <a:pt x="282" y="2589"/>
                        <a:pt x="337" y="2565"/>
                        <a:pt x="378" y="2511"/>
                      </a:cubicBezTo>
                      <a:cubicBezTo>
                        <a:pt x="859" y="1884"/>
                        <a:pt x="1236" y="984"/>
                        <a:pt x="1215" y="189"/>
                      </a:cubicBezTo>
                      <a:cubicBezTo>
                        <a:pt x="1215" y="63"/>
                        <a:pt x="1126" y="1"/>
                        <a:pt x="1034"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21" name="Google Shape;2821;p67"/>
                <p:cNvSpPr/>
                <p:nvPr/>
              </p:nvSpPr>
              <p:spPr>
                <a:xfrm>
                  <a:off x="4919225" y="3601375"/>
                  <a:ext cx="46700" cy="63575"/>
                </a:xfrm>
                <a:custGeom>
                  <a:avLst/>
                  <a:gdLst/>
                  <a:ahLst/>
                  <a:cxnLst/>
                  <a:rect l="l" t="t" r="r" b="b"/>
                  <a:pathLst>
                    <a:path w="1868" h="2543" extrusionOk="0">
                      <a:moveTo>
                        <a:pt x="334" y="0"/>
                      </a:moveTo>
                      <a:cubicBezTo>
                        <a:pt x="168" y="0"/>
                        <a:pt x="1" y="188"/>
                        <a:pt x="104" y="365"/>
                      </a:cubicBezTo>
                      <a:cubicBezTo>
                        <a:pt x="481" y="1076"/>
                        <a:pt x="774" y="1892"/>
                        <a:pt x="1360" y="2457"/>
                      </a:cubicBezTo>
                      <a:cubicBezTo>
                        <a:pt x="1414" y="2517"/>
                        <a:pt x="1481" y="2543"/>
                        <a:pt x="1548" y="2543"/>
                      </a:cubicBezTo>
                      <a:cubicBezTo>
                        <a:pt x="1712" y="2543"/>
                        <a:pt x="1868" y="2385"/>
                        <a:pt x="1778" y="2206"/>
                      </a:cubicBezTo>
                      <a:cubicBezTo>
                        <a:pt x="1443" y="1453"/>
                        <a:pt x="1004" y="762"/>
                        <a:pt x="523" y="113"/>
                      </a:cubicBezTo>
                      <a:cubicBezTo>
                        <a:pt x="473" y="33"/>
                        <a:pt x="404" y="0"/>
                        <a:pt x="334"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22" name="Google Shape;2822;p67"/>
                <p:cNvSpPr/>
                <p:nvPr/>
              </p:nvSpPr>
              <p:spPr>
                <a:xfrm>
                  <a:off x="4891475" y="3748050"/>
                  <a:ext cx="93650" cy="42825"/>
                </a:xfrm>
                <a:custGeom>
                  <a:avLst/>
                  <a:gdLst/>
                  <a:ahLst/>
                  <a:cxnLst/>
                  <a:rect l="l" t="t" r="r" b="b"/>
                  <a:pathLst>
                    <a:path w="3746" h="1713" extrusionOk="0">
                      <a:moveTo>
                        <a:pt x="2302" y="524"/>
                      </a:moveTo>
                      <a:cubicBezTo>
                        <a:pt x="2490" y="524"/>
                        <a:pt x="3014" y="524"/>
                        <a:pt x="3014" y="816"/>
                      </a:cubicBezTo>
                      <a:cubicBezTo>
                        <a:pt x="3014" y="1026"/>
                        <a:pt x="2679" y="1109"/>
                        <a:pt x="2532" y="1130"/>
                      </a:cubicBezTo>
                      <a:cubicBezTo>
                        <a:pt x="2337" y="1178"/>
                        <a:pt x="2143" y="1195"/>
                        <a:pt x="1949" y="1195"/>
                      </a:cubicBezTo>
                      <a:cubicBezTo>
                        <a:pt x="1502" y="1195"/>
                        <a:pt x="1056" y="1105"/>
                        <a:pt x="600" y="1095"/>
                      </a:cubicBezTo>
                      <a:lnTo>
                        <a:pt x="600" y="1095"/>
                      </a:lnTo>
                      <a:cubicBezTo>
                        <a:pt x="1012" y="701"/>
                        <a:pt x="1762" y="584"/>
                        <a:pt x="2302" y="524"/>
                      </a:cubicBezTo>
                      <a:close/>
                      <a:moveTo>
                        <a:pt x="2323" y="0"/>
                      </a:moveTo>
                      <a:cubicBezTo>
                        <a:pt x="1633" y="0"/>
                        <a:pt x="712" y="335"/>
                        <a:pt x="314" y="963"/>
                      </a:cubicBezTo>
                      <a:cubicBezTo>
                        <a:pt x="284" y="1012"/>
                        <a:pt x="278" y="1061"/>
                        <a:pt x="290" y="1102"/>
                      </a:cubicBezTo>
                      <a:lnTo>
                        <a:pt x="290" y="1102"/>
                      </a:lnTo>
                      <a:cubicBezTo>
                        <a:pt x="263" y="1104"/>
                        <a:pt x="236" y="1107"/>
                        <a:pt x="210" y="1109"/>
                      </a:cubicBezTo>
                      <a:cubicBezTo>
                        <a:pt x="1" y="1130"/>
                        <a:pt x="22" y="1423"/>
                        <a:pt x="210" y="1444"/>
                      </a:cubicBezTo>
                      <a:cubicBezTo>
                        <a:pt x="648" y="1521"/>
                        <a:pt x="1430" y="1712"/>
                        <a:pt x="2129" y="1712"/>
                      </a:cubicBezTo>
                      <a:cubicBezTo>
                        <a:pt x="2767" y="1712"/>
                        <a:pt x="3336" y="1553"/>
                        <a:pt x="3516" y="1005"/>
                      </a:cubicBezTo>
                      <a:cubicBezTo>
                        <a:pt x="3746" y="272"/>
                        <a:pt x="2846" y="0"/>
                        <a:pt x="2323"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23" name="Google Shape;2823;p67"/>
                <p:cNvSpPr/>
                <p:nvPr/>
              </p:nvSpPr>
              <p:spPr>
                <a:xfrm>
                  <a:off x="4700550" y="3730550"/>
                  <a:ext cx="61750" cy="35400"/>
                </a:xfrm>
                <a:custGeom>
                  <a:avLst/>
                  <a:gdLst/>
                  <a:ahLst/>
                  <a:cxnLst/>
                  <a:rect l="l" t="t" r="r" b="b"/>
                  <a:pathLst>
                    <a:path w="2470" h="1416" extrusionOk="0">
                      <a:moveTo>
                        <a:pt x="859" y="0"/>
                      </a:moveTo>
                      <a:cubicBezTo>
                        <a:pt x="810" y="0"/>
                        <a:pt x="761" y="3"/>
                        <a:pt x="712" y="10"/>
                      </a:cubicBezTo>
                      <a:cubicBezTo>
                        <a:pt x="419" y="52"/>
                        <a:pt x="0" y="282"/>
                        <a:pt x="63" y="617"/>
                      </a:cubicBezTo>
                      <a:cubicBezTo>
                        <a:pt x="84" y="889"/>
                        <a:pt x="398" y="1014"/>
                        <a:pt x="607" y="1098"/>
                      </a:cubicBezTo>
                      <a:cubicBezTo>
                        <a:pt x="963" y="1224"/>
                        <a:pt x="1423" y="1328"/>
                        <a:pt x="1800" y="1349"/>
                      </a:cubicBezTo>
                      <a:cubicBezTo>
                        <a:pt x="1930" y="1349"/>
                        <a:pt x="2044" y="1415"/>
                        <a:pt x="2156" y="1415"/>
                      </a:cubicBezTo>
                      <a:cubicBezTo>
                        <a:pt x="2170" y="1415"/>
                        <a:pt x="2183" y="1414"/>
                        <a:pt x="2197" y="1412"/>
                      </a:cubicBezTo>
                      <a:cubicBezTo>
                        <a:pt x="2386" y="1370"/>
                        <a:pt x="2469" y="1161"/>
                        <a:pt x="2365" y="1014"/>
                      </a:cubicBezTo>
                      <a:cubicBezTo>
                        <a:pt x="2177" y="742"/>
                        <a:pt x="1653" y="742"/>
                        <a:pt x="1360" y="721"/>
                      </a:cubicBezTo>
                      <a:cubicBezTo>
                        <a:pt x="1277" y="721"/>
                        <a:pt x="398" y="596"/>
                        <a:pt x="419" y="533"/>
                      </a:cubicBezTo>
                      <a:cubicBezTo>
                        <a:pt x="452" y="380"/>
                        <a:pt x="589" y="324"/>
                        <a:pt x="768" y="324"/>
                      </a:cubicBezTo>
                      <a:cubicBezTo>
                        <a:pt x="1152" y="324"/>
                        <a:pt x="1727" y="580"/>
                        <a:pt x="1884" y="680"/>
                      </a:cubicBezTo>
                      <a:cubicBezTo>
                        <a:pt x="1913" y="691"/>
                        <a:pt x="1940" y="696"/>
                        <a:pt x="1965" y="696"/>
                      </a:cubicBezTo>
                      <a:cubicBezTo>
                        <a:pt x="2117" y="696"/>
                        <a:pt x="2177" y="500"/>
                        <a:pt x="2051" y="428"/>
                      </a:cubicBezTo>
                      <a:cubicBezTo>
                        <a:pt x="1696" y="223"/>
                        <a:pt x="1273" y="0"/>
                        <a:pt x="859"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cxnSp>
            <p:nvCxnSpPr>
              <p:cNvPr id="2824" name="Google Shape;2824;p67"/>
              <p:cNvCxnSpPr/>
              <p:nvPr/>
            </p:nvCxnSpPr>
            <p:spPr>
              <a:xfrm rot="10800000" flipH="1">
                <a:off x="7716825" y="1113925"/>
                <a:ext cx="95400" cy="42000"/>
              </a:xfrm>
              <a:prstGeom prst="straightConnector1">
                <a:avLst/>
              </a:prstGeom>
              <a:noFill/>
              <a:ln w="9525" cap="flat" cmpd="sng">
                <a:solidFill>
                  <a:schemeClr val="dk2"/>
                </a:solidFill>
                <a:prstDash val="solid"/>
                <a:round/>
                <a:headEnd type="none" w="med" len="med"/>
                <a:tailEnd type="none" w="med" len="med"/>
              </a:ln>
            </p:spPr>
          </p:cxnSp>
        </p:grpSp>
        <p:grpSp>
          <p:nvGrpSpPr>
            <p:cNvPr id="2825" name="Google Shape;2825;p67"/>
            <p:cNvGrpSpPr/>
            <p:nvPr/>
          </p:nvGrpSpPr>
          <p:grpSpPr>
            <a:xfrm>
              <a:off x="7895088" y="1359353"/>
              <a:ext cx="327029" cy="247897"/>
              <a:chOff x="4564025" y="2781300"/>
              <a:chExt cx="296625" cy="224850"/>
            </a:xfrm>
          </p:grpSpPr>
          <p:sp>
            <p:nvSpPr>
              <p:cNvPr id="2826" name="Google Shape;2826;p67"/>
              <p:cNvSpPr/>
              <p:nvPr/>
            </p:nvSpPr>
            <p:spPr>
              <a:xfrm>
                <a:off x="4660800" y="2829650"/>
                <a:ext cx="82675" cy="160675"/>
              </a:xfrm>
              <a:custGeom>
                <a:avLst/>
                <a:gdLst/>
                <a:ahLst/>
                <a:cxnLst/>
                <a:rect l="l" t="t" r="r" b="b"/>
                <a:pathLst>
                  <a:path w="3307" h="6427" extrusionOk="0">
                    <a:moveTo>
                      <a:pt x="2248" y="544"/>
                    </a:moveTo>
                    <a:cubicBezTo>
                      <a:pt x="2574" y="544"/>
                      <a:pt x="2675" y="1132"/>
                      <a:pt x="2720" y="1543"/>
                    </a:cubicBezTo>
                    <a:cubicBezTo>
                      <a:pt x="2762" y="2212"/>
                      <a:pt x="2720" y="2966"/>
                      <a:pt x="2532" y="3656"/>
                    </a:cubicBezTo>
                    <a:cubicBezTo>
                      <a:pt x="2382" y="4239"/>
                      <a:pt x="1822" y="5813"/>
                      <a:pt x="1115" y="5813"/>
                    </a:cubicBezTo>
                    <a:cubicBezTo>
                      <a:pt x="933" y="5813"/>
                      <a:pt x="741" y="5709"/>
                      <a:pt x="544" y="5456"/>
                    </a:cubicBezTo>
                    <a:cubicBezTo>
                      <a:pt x="539" y="5449"/>
                      <a:pt x="534" y="5443"/>
                      <a:pt x="528" y="5438"/>
                    </a:cubicBezTo>
                    <a:lnTo>
                      <a:pt x="528" y="5438"/>
                    </a:lnTo>
                    <a:cubicBezTo>
                      <a:pt x="841" y="4557"/>
                      <a:pt x="871" y="3599"/>
                      <a:pt x="1026" y="2694"/>
                    </a:cubicBezTo>
                    <a:cubicBezTo>
                      <a:pt x="1130" y="2024"/>
                      <a:pt x="1298" y="1355"/>
                      <a:pt x="1779" y="832"/>
                    </a:cubicBezTo>
                    <a:cubicBezTo>
                      <a:pt x="1973" y="626"/>
                      <a:pt x="2126" y="544"/>
                      <a:pt x="2248" y="544"/>
                    </a:cubicBezTo>
                    <a:close/>
                    <a:moveTo>
                      <a:pt x="2256" y="1"/>
                    </a:moveTo>
                    <a:cubicBezTo>
                      <a:pt x="2055" y="1"/>
                      <a:pt x="1825" y="92"/>
                      <a:pt x="1570" y="308"/>
                    </a:cubicBezTo>
                    <a:cubicBezTo>
                      <a:pt x="942" y="832"/>
                      <a:pt x="670" y="1564"/>
                      <a:pt x="523" y="2338"/>
                    </a:cubicBezTo>
                    <a:cubicBezTo>
                      <a:pt x="440" y="2757"/>
                      <a:pt x="377" y="3175"/>
                      <a:pt x="335" y="3593"/>
                    </a:cubicBezTo>
                    <a:cubicBezTo>
                      <a:pt x="260" y="4154"/>
                      <a:pt x="386" y="4832"/>
                      <a:pt x="279" y="5387"/>
                    </a:cubicBezTo>
                    <a:lnTo>
                      <a:pt x="279" y="5387"/>
                    </a:lnTo>
                    <a:cubicBezTo>
                      <a:pt x="125" y="5439"/>
                      <a:pt x="0" y="5612"/>
                      <a:pt x="105" y="5770"/>
                    </a:cubicBezTo>
                    <a:cubicBezTo>
                      <a:pt x="410" y="6238"/>
                      <a:pt x="739" y="6427"/>
                      <a:pt x="1061" y="6427"/>
                    </a:cubicBezTo>
                    <a:cubicBezTo>
                      <a:pt x="1646" y="6427"/>
                      <a:pt x="2210" y="5808"/>
                      <a:pt x="2574" y="5121"/>
                    </a:cubicBezTo>
                    <a:cubicBezTo>
                      <a:pt x="3181" y="4012"/>
                      <a:pt x="3306" y="2631"/>
                      <a:pt x="3202" y="1396"/>
                    </a:cubicBezTo>
                    <a:cubicBezTo>
                      <a:pt x="3155" y="704"/>
                      <a:pt x="2815" y="1"/>
                      <a:pt x="2256"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27" name="Google Shape;2827;p67"/>
              <p:cNvSpPr/>
              <p:nvPr/>
            </p:nvSpPr>
            <p:spPr>
              <a:xfrm>
                <a:off x="4592275" y="2781300"/>
                <a:ext cx="104950" cy="118725"/>
              </a:xfrm>
              <a:custGeom>
                <a:avLst/>
                <a:gdLst/>
                <a:ahLst/>
                <a:cxnLst/>
                <a:rect l="l" t="t" r="r" b="b"/>
                <a:pathLst>
                  <a:path w="4198" h="4749" extrusionOk="0">
                    <a:moveTo>
                      <a:pt x="1310" y="1"/>
                    </a:moveTo>
                    <a:cubicBezTo>
                      <a:pt x="1128" y="1"/>
                      <a:pt x="948" y="47"/>
                      <a:pt x="774" y="150"/>
                    </a:cubicBezTo>
                    <a:cubicBezTo>
                      <a:pt x="21" y="589"/>
                      <a:pt x="0" y="1406"/>
                      <a:pt x="168" y="2222"/>
                    </a:cubicBezTo>
                    <a:cubicBezTo>
                      <a:pt x="272" y="2640"/>
                      <a:pt x="461" y="3058"/>
                      <a:pt x="628" y="3477"/>
                    </a:cubicBezTo>
                    <a:cubicBezTo>
                      <a:pt x="837" y="3958"/>
                      <a:pt x="1507" y="4335"/>
                      <a:pt x="1925" y="4691"/>
                    </a:cubicBezTo>
                    <a:cubicBezTo>
                      <a:pt x="1970" y="4731"/>
                      <a:pt x="2019" y="4748"/>
                      <a:pt x="2066" y="4748"/>
                    </a:cubicBezTo>
                    <a:cubicBezTo>
                      <a:pt x="2237" y="4748"/>
                      <a:pt x="2382" y="4520"/>
                      <a:pt x="2218" y="4356"/>
                    </a:cubicBezTo>
                    <a:cubicBezTo>
                      <a:pt x="1632" y="3791"/>
                      <a:pt x="984" y="3435"/>
                      <a:pt x="670" y="2682"/>
                    </a:cubicBezTo>
                    <a:cubicBezTo>
                      <a:pt x="377" y="2012"/>
                      <a:pt x="126" y="1029"/>
                      <a:pt x="774" y="485"/>
                    </a:cubicBezTo>
                    <a:cubicBezTo>
                      <a:pt x="922" y="361"/>
                      <a:pt x="1085" y="306"/>
                      <a:pt x="1257" y="306"/>
                    </a:cubicBezTo>
                    <a:cubicBezTo>
                      <a:pt x="2301" y="306"/>
                      <a:pt x="3676" y="2319"/>
                      <a:pt x="4018" y="2912"/>
                    </a:cubicBezTo>
                    <a:cubicBezTo>
                      <a:pt x="4035" y="2954"/>
                      <a:pt x="4068" y="2973"/>
                      <a:pt x="4102" y="2973"/>
                    </a:cubicBezTo>
                    <a:cubicBezTo>
                      <a:pt x="4150" y="2973"/>
                      <a:pt x="4197" y="2933"/>
                      <a:pt x="4185" y="2870"/>
                    </a:cubicBezTo>
                    <a:cubicBezTo>
                      <a:pt x="3839" y="2069"/>
                      <a:pt x="2527" y="1"/>
                      <a:pt x="1310"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28" name="Google Shape;2828;p67"/>
              <p:cNvSpPr/>
              <p:nvPr/>
            </p:nvSpPr>
            <p:spPr>
              <a:xfrm>
                <a:off x="4564025" y="2877500"/>
                <a:ext cx="110275" cy="108875"/>
              </a:xfrm>
              <a:custGeom>
                <a:avLst/>
                <a:gdLst/>
                <a:ahLst/>
                <a:cxnLst/>
                <a:rect l="l" t="t" r="r" b="b"/>
                <a:pathLst>
                  <a:path w="4411" h="4355" extrusionOk="0">
                    <a:moveTo>
                      <a:pt x="1884" y="0"/>
                    </a:moveTo>
                    <a:cubicBezTo>
                      <a:pt x="1843" y="0"/>
                      <a:pt x="1801" y="2"/>
                      <a:pt x="1758" y="6"/>
                    </a:cubicBezTo>
                    <a:cubicBezTo>
                      <a:pt x="1381" y="47"/>
                      <a:pt x="1047" y="319"/>
                      <a:pt x="775" y="591"/>
                    </a:cubicBezTo>
                    <a:cubicBezTo>
                      <a:pt x="210" y="1135"/>
                      <a:pt x="0" y="1972"/>
                      <a:pt x="251" y="2705"/>
                    </a:cubicBezTo>
                    <a:cubicBezTo>
                      <a:pt x="544" y="3458"/>
                      <a:pt x="1444" y="4023"/>
                      <a:pt x="2135" y="4274"/>
                    </a:cubicBezTo>
                    <a:cubicBezTo>
                      <a:pt x="2279" y="4329"/>
                      <a:pt x="2464" y="4355"/>
                      <a:pt x="2667" y="4355"/>
                    </a:cubicBezTo>
                    <a:cubicBezTo>
                      <a:pt x="3318" y="4355"/>
                      <a:pt x="4150" y="4083"/>
                      <a:pt x="4373" y="3604"/>
                    </a:cubicBezTo>
                    <a:cubicBezTo>
                      <a:pt x="4410" y="3476"/>
                      <a:pt x="4351" y="3300"/>
                      <a:pt x="4223" y="3300"/>
                    </a:cubicBezTo>
                    <a:cubicBezTo>
                      <a:pt x="4205" y="3300"/>
                      <a:pt x="4185" y="3304"/>
                      <a:pt x="4164" y="3311"/>
                    </a:cubicBezTo>
                    <a:cubicBezTo>
                      <a:pt x="3599" y="3458"/>
                      <a:pt x="3139" y="3772"/>
                      <a:pt x="2553" y="3856"/>
                    </a:cubicBezTo>
                    <a:cubicBezTo>
                      <a:pt x="2522" y="3860"/>
                      <a:pt x="2490" y="3862"/>
                      <a:pt x="2458" y="3862"/>
                    </a:cubicBezTo>
                    <a:cubicBezTo>
                      <a:pt x="2020" y="3862"/>
                      <a:pt x="1527" y="3481"/>
                      <a:pt x="1235" y="3228"/>
                    </a:cubicBezTo>
                    <a:cubicBezTo>
                      <a:pt x="607" y="2705"/>
                      <a:pt x="503" y="1993"/>
                      <a:pt x="879" y="1303"/>
                    </a:cubicBezTo>
                    <a:cubicBezTo>
                      <a:pt x="1088" y="926"/>
                      <a:pt x="1444" y="675"/>
                      <a:pt x="1863" y="571"/>
                    </a:cubicBezTo>
                    <a:cubicBezTo>
                      <a:pt x="1893" y="561"/>
                      <a:pt x="1931" y="558"/>
                      <a:pt x="1975" y="558"/>
                    </a:cubicBezTo>
                    <a:cubicBezTo>
                      <a:pt x="2220" y="558"/>
                      <a:pt x="2651" y="677"/>
                      <a:pt x="2955" y="677"/>
                    </a:cubicBezTo>
                    <a:cubicBezTo>
                      <a:pt x="2975" y="677"/>
                      <a:pt x="2995" y="676"/>
                      <a:pt x="3013" y="675"/>
                    </a:cubicBezTo>
                    <a:cubicBezTo>
                      <a:pt x="3181" y="675"/>
                      <a:pt x="3264" y="319"/>
                      <a:pt x="3055" y="278"/>
                    </a:cubicBezTo>
                    <a:cubicBezTo>
                      <a:pt x="2636" y="182"/>
                      <a:pt x="2303" y="0"/>
                      <a:pt x="1884"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29" name="Google Shape;2829;p67"/>
              <p:cNvSpPr/>
              <p:nvPr/>
            </p:nvSpPr>
            <p:spPr>
              <a:xfrm>
                <a:off x="4726100" y="2805325"/>
                <a:ext cx="134550" cy="120350"/>
              </a:xfrm>
              <a:custGeom>
                <a:avLst/>
                <a:gdLst/>
                <a:ahLst/>
                <a:cxnLst/>
                <a:rect l="l" t="t" r="r" b="b"/>
                <a:pathLst>
                  <a:path w="5382" h="4814" extrusionOk="0">
                    <a:moveTo>
                      <a:pt x="3147" y="1"/>
                    </a:moveTo>
                    <a:cubicBezTo>
                      <a:pt x="1922" y="1"/>
                      <a:pt x="549" y="1078"/>
                      <a:pt x="46" y="2056"/>
                    </a:cubicBezTo>
                    <a:cubicBezTo>
                      <a:pt x="1" y="2176"/>
                      <a:pt x="74" y="2274"/>
                      <a:pt x="157" y="2274"/>
                    </a:cubicBezTo>
                    <a:cubicBezTo>
                      <a:pt x="190" y="2274"/>
                      <a:pt x="225" y="2259"/>
                      <a:pt x="255" y="2223"/>
                    </a:cubicBezTo>
                    <a:cubicBezTo>
                      <a:pt x="864" y="1398"/>
                      <a:pt x="1935" y="605"/>
                      <a:pt x="3005" y="605"/>
                    </a:cubicBezTo>
                    <a:cubicBezTo>
                      <a:pt x="3184" y="605"/>
                      <a:pt x="3363" y="627"/>
                      <a:pt x="3540" y="675"/>
                    </a:cubicBezTo>
                    <a:cubicBezTo>
                      <a:pt x="4481" y="905"/>
                      <a:pt x="4691" y="2202"/>
                      <a:pt x="4523" y="2976"/>
                    </a:cubicBezTo>
                    <a:cubicBezTo>
                      <a:pt x="4272" y="4148"/>
                      <a:pt x="2640" y="4148"/>
                      <a:pt x="1719" y="4336"/>
                    </a:cubicBezTo>
                    <a:cubicBezTo>
                      <a:pt x="1489" y="4399"/>
                      <a:pt x="1531" y="4734"/>
                      <a:pt x="1761" y="4776"/>
                    </a:cubicBezTo>
                    <a:cubicBezTo>
                      <a:pt x="1924" y="4800"/>
                      <a:pt x="2101" y="4813"/>
                      <a:pt x="2288" y="4813"/>
                    </a:cubicBezTo>
                    <a:cubicBezTo>
                      <a:pt x="3206" y="4813"/>
                      <a:pt x="4329" y="4502"/>
                      <a:pt x="4816" y="3771"/>
                    </a:cubicBezTo>
                    <a:cubicBezTo>
                      <a:pt x="5381" y="2851"/>
                      <a:pt x="5256" y="1679"/>
                      <a:pt x="4628" y="779"/>
                    </a:cubicBezTo>
                    <a:cubicBezTo>
                      <a:pt x="4229" y="223"/>
                      <a:pt x="3703" y="1"/>
                      <a:pt x="3147"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30" name="Google Shape;2830;p67"/>
              <p:cNvSpPr/>
              <p:nvPr/>
            </p:nvSpPr>
            <p:spPr>
              <a:xfrm>
                <a:off x="4713800" y="2910650"/>
                <a:ext cx="120675" cy="95500"/>
              </a:xfrm>
              <a:custGeom>
                <a:avLst/>
                <a:gdLst/>
                <a:ahLst/>
                <a:cxnLst/>
                <a:rect l="l" t="t" r="r" b="b"/>
                <a:pathLst>
                  <a:path w="4827" h="3820" extrusionOk="0">
                    <a:moveTo>
                      <a:pt x="2484" y="1"/>
                    </a:moveTo>
                    <a:cubicBezTo>
                      <a:pt x="2371" y="1"/>
                      <a:pt x="2239" y="151"/>
                      <a:pt x="2337" y="249"/>
                    </a:cubicBezTo>
                    <a:cubicBezTo>
                      <a:pt x="2860" y="835"/>
                      <a:pt x="4241" y="2655"/>
                      <a:pt x="3048" y="3178"/>
                    </a:cubicBezTo>
                    <a:cubicBezTo>
                      <a:pt x="2748" y="3313"/>
                      <a:pt x="2349" y="3397"/>
                      <a:pt x="1952" y="3397"/>
                    </a:cubicBezTo>
                    <a:cubicBezTo>
                      <a:pt x="1242" y="3397"/>
                      <a:pt x="540" y="3129"/>
                      <a:pt x="433" y="2404"/>
                    </a:cubicBezTo>
                    <a:cubicBezTo>
                      <a:pt x="422" y="2268"/>
                      <a:pt x="318" y="2200"/>
                      <a:pt x="216" y="2200"/>
                    </a:cubicBezTo>
                    <a:cubicBezTo>
                      <a:pt x="114" y="2200"/>
                      <a:pt x="14" y="2268"/>
                      <a:pt x="14" y="2404"/>
                    </a:cubicBezTo>
                    <a:cubicBezTo>
                      <a:pt x="0" y="3424"/>
                      <a:pt x="1032" y="3819"/>
                      <a:pt x="2024" y="3819"/>
                    </a:cubicBezTo>
                    <a:cubicBezTo>
                      <a:pt x="2518" y="3819"/>
                      <a:pt x="3001" y="3721"/>
                      <a:pt x="3341" y="3555"/>
                    </a:cubicBezTo>
                    <a:cubicBezTo>
                      <a:pt x="4827" y="2822"/>
                      <a:pt x="3320" y="772"/>
                      <a:pt x="2567" y="40"/>
                    </a:cubicBezTo>
                    <a:cubicBezTo>
                      <a:pt x="2544" y="12"/>
                      <a:pt x="2515" y="1"/>
                      <a:pt x="2484"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31" name="Google Shape;2831;p67"/>
              <p:cNvSpPr/>
              <p:nvPr/>
            </p:nvSpPr>
            <p:spPr>
              <a:xfrm>
                <a:off x="4629925" y="2819975"/>
                <a:ext cx="37175" cy="38950"/>
              </a:xfrm>
              <a:custGeom>
                <a:avLst/>
                <a:gdLst/>
                <a:ahLst/>
                <a:cxnLst/>
                <a:rect l="l" t="t" r="r" b="b"/>
                <a:pathLst>
                  <a:path w="1487" h="1558" extrusionOk="0">
                    <a:moveTo>
                      <a:pt x="589" y="1"/>
                    </a:moveTo>
                    <a:cubicBezTo>
                      <a:pt x="424" y="1"/>
                      <a:pt x="328" y="240"/>
                      <a:pt x="503" y="298"/>
                    </a:cubicBezTo>
                    <a:cubicBezTo>
                      <a:pt x="733" y="382"/>
                      <a:pt x="984" y="486"/>
                      <a:pt x="1089" y="716"/>
                    </a:cubicBezTo>
                    <a:cubicBezTo>
                      <a:pt x="1172" y="884"/>
                      <a:pt x="1089" y="1030"/>
                      <a:pt x="984" y="1156"/>
                    </a:cubicBezTo>
                    <a:cubicBezTo>
                      <a:pt x="920" y="1220"/>
                      <a:pt x="848" y="1245"/>
                      <a:pt x="773" y="1245"/>
                    </a:cubicBezTo>
                    <a:cubicBezTo>
                      <a:pt x="726" y="1245"/>
                      <a:pt x="677" y="1235"/>
                      <a:pt x="628" y="1219"/>
                    </a:cubicBezTo>
                    <a:cubicBezTo>
                      <a:pt x="252" y="1030"/>
                      <a:pt x="231" y="507"/>
                      <a:pt x="210" y="131"/>
                    </a:cubicBezTo>
                    <a:cubicBezTo>
                      <a:pt x="210" y="112"/>
                      <a:pt x="189" y="101"/>
                      <a:pt x="166" y="101"/>
                    </a:cubicBezTo>
                    <a:cubicBezTo>
                      <a:pt x="137" y="101"/>
                      <a:pt x="105" y="117"/>
                      <a:pt x="105" y="151"/>
                    </a:cubicBezTo>
                    <a:cubicBezTo>
                      <a:pt x="84" y="612"/>
                      <a:pt x="1" y="1114"/>
                      <a:pt x="440" y="1449"/>
                    </a:cubicBezTo>
                    <a:cubicBezTo>
                      <a:pt x="534" y="1524"/>
                      <a:pt x="650" y="1557"/>
                      <a:pt x="768" y="1557"/>
                    </a:cubicBezTo>
                    <a:cubicBezTo>
                      <a:pt x="911" y="1557"/>
                      <a:pt x="1058" y="1508"/>
                      <a:pt x="1172" y="1428"/>
                    </a:cubicBezTo>
                    <a:cubicBezTo>
                      <a:pt x="1382" y="1239"/>
                      <a:pt x="1486" y="947"/>
                      <a:pt x="1403" y="695"/>
                    </a:cubicBezTo>
                    <a:cubicBezTo>
                      <a:pt x="1340" y="319"/>
                      <a:pt x="963" y="110"/>
                      <a:pt x="628" y="5"/>
                    </a:cubicBezTo>
                    <a:cubicBezTo>
                      <a:pt x="615" y="2"/>
                      <a:pt x="602" y="1"/>
                      <a:pt x="589"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32" name="Google Shape;2832;p67"/>
              <p:cNvSpPr/>
              <p:nvPr/>
            </p:nvSpPr>
            <p:spPr>
              <a:xfrm>
                <a:off x="4760175" y="2855125"/>
                <a:ext cx="44500" cy="28325"/>
              </a:xfrm>
              <a:custGeom>
                <a:avLst/>
                <a:gdLst/>
                <a:ahLst/>
                <a:cxnLst/>
                <a:rect l="l" t="t" r="r" b="b"/>
                <a:pathLst>
                  <a:path w="1780" h="1133" extrusionOk="0">
                    <a:moveTo>
                      <a:pt x="472" y="220"/>
                    </a:moveTo>
                    <a:cubicBezTo>
                      <a:pt x="484" y="263"/>
                      <a:pt x="515" y="300"/>
                      <a:pt x="566" y="315"/>
                    </a:cubicBezTo>
                    <a:cubicBezTo>
                      <a:pt x="775" y="336"/>
                      <a:pt x="1089" y="357"/>
                      <a:pt x="1277" y="482"/>
                    </a:cubicBezTo>
                    <a:cubicBezTo>
                      <a:pt x="1361" y="566"/>
                      <a:pt x="1172" y="649"/>
                      <a:pt x="1110" y="670"/>
                    </a:cubicBezTo>
                    <a:cubicBezTo>
                      <a:pt x="1026" y="726"/>
                      <a:pt x="905" y="754"/>
                      <a:pt x="790" y="754"/>
                    </a:cubicBezTo>
                    <a:cubicBezTo>
                      <a:pt x="733" y="754"/>
                      <a:pt x="677" y="747"/>
                      <a:pt x="628" y="733"/>
                    </a:cubicBezTo>
                    <a:cubicBezTo>
                      <a:pt x="545" y="691"/>
                      <a:pt x="545" y="649"/>
                      <a:pt x="482" y="629"/>
                    </a:cubicBezTo>
                    <a:cubicBezTo>
                      <a:pt x="440" y="587"/>
                      <a:pt x="315" y="545"/>
                      <a:pt x="315" y="461"/>
                    </a:cubicBezTo>
                    <a:cubicBezTo>
                      <a:pt x="315" y="383"/>
                      <a:pt x="423" y="269"/>
                      <a:pt x="472" y="220"/>
                    </a:cubicBezTo>
                    <a:close/>
                    <a:moveTo>
                      <a:pt x="843" y="1"/>
                    </a:moveTo>
                    <a:cubicBezTo>
                      <a:pt x="753" y="1"/>
                      <a:pt x="666" y="9"/>
                      <a:pt x="587" y="22"/>
                    </a:cubicBezTo>
                    <a:cubicBezTo>
                      <a:pt x="546" y="28"/>
                      <a:pt x="515" y="50"/>
                      <a:pt x="494" y="80"/>
                    </a:cubicBezTo>
                    <a:lnTo>
                      <a:pt x="494" y="80"/>
                    </a:lnTo>
                    <a:cubicBezTo>
                      <a:pt x="469" y="58"/>
                      <a:pt x="433" y="45"/>
                      <a:pt x="398" y="45"/>
                    </a:cubicBezTo>
                    <a:cubicBezTo>
                      <a:pt x="375" y="45"/>
                      <a:pt x="353" y="50"/>
                      <a:pt x="336" y="64"/>
                    </a:cubicBezTo>
                    <a:cubicBezTo>
                      <a:pt x="210" y="168"/>
                      <a:pt x="43" y="315"/>
                      <a:pt x="22" y="482"/>
                    </a:cubicBezTo>
                    <a:cubicBezTo>
                      <a:pt x="1" y="733"/>
                      <a:pt x="210" y="796"/>
                      <a:pt x="315" y="942"/>
                    </a:cubicBezTo>
                    <a:cubicBezTo>
                      <a:pt x="421" y="1084"/>
                      <a:pt x="608" y="1133"/>
                      <a:pt x="792" y="1133"/>
                    </a:cubicBezTo>
                    <a:cubicBezTo>
                      <a:pt x="933" y="1133"/>
                      <a:pt x="1073" y="1104"/>
                      <a:pt x="1172" y="1068"/>
                    </a:cubicBezTo>
                    <a:cubicBezTo>
                      <a:pt x="1444" y="984"/>
                      <a:pt x="1779" y="754"/>
                      <a:pt x="1675" y="440"/>
                    </a:cubicBezTo>
                    <a:cubicBezTo>
                      <a:pt x="1559" y="110"/>
                      <a:pt x="1182" y="1"/>
                      <a:pt x="843"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33" name="Google Shape;2833;p67"/>
              <p:cNvSpPr/>
              <p:nvPr/>
            </p:nvSpPr>
            <p:spPr>
              <a:xfrm>
                <a:off x="4745000" y="2946450"/>
                <a:ext cx="27225" cy="32950"/>
              </a:xfrm>
              <a:custGeom>
                <a:avLst/>
                <a:gdLst/>
                <a:ahLst/>
                <a:cxnLst/>
                <a:rect l="l" t="t" r="r" b="b"/>
                <a:pathLst>
                  <a:path w="1089" h="1318" extrusionOk="0">
                    <a:moveTo>
                      <a:pt x="581" y="0"/>
                    </a:moveTo>
                    <a:cubicBezTo>
                      <a:pt x="450" y="0"/>
                      <a:pt x="411" y="223"/>
                      <a:pt x="524" y="261"/>
                    </a:cubicBezTo>
                    <a:cubicBezTo>
                      <a:pt x="838" y="386"/>
                      <a:pt x="775" y="846"/>
                      <a:pt x="545" y="1014"/>
                    </a:cubicBezTo>
                    <a:cubicBezTo>
                      <a:pt x="515" y="1037"/>
                      <a:pt x="487" y="1047"/>
                      <a:pt x="461" y="1047"/>
                    </a:cubicBezTo>
                    <a:cubicBezTo>
                      <a:pt x="325" y="1047"/>
                      <a:pt x="249" y="767"/>
                      <a:pt x="231" y="679"/>
                    </a:cubicBezTo>
                    <a:cubicBezTo>
                      <a:pt x="210" y="491"/>
                      <a:pt x="252" y="323"/>
                      <a:pt x="252" y="156"/>
                    </a:cubicBezTo>
                    <a:cubicBezTo>
                      <a:pt x="274" y="101"/>
                      <a:pt x="238" y="75"/>
                      <a:pt x="199" y="75"/>
                    </a:cubicBezTo>
                    <a:cubicBezTo>
                      <a:pt x="164" y="75"/>
                      <a:pt x="127" y="96"/>
                      <a:pt x="127" y="135"/>
                    </a:cubicBezTo>
                    <a:cubicBezTo>
                      <a:pt x="106" y="428"/>
                      <a:pt x="1" y="679"/>
                      <a:pt x="85" y="972"/>
                    </a:cubicBezTo>
                    <a:cubicBezTo>
                      <a:pt x="134" y="1171"/>
                      <a:pt x="329" y="1317"/>
                      <a:pt x="522" y="1317"/>
                    </a:cubicBezTo>
                    <a:cubicBezTo>
                      <a:pt x="572" y="1317"/>
                      <a:pt x="623" y="1307"/>
                      <a:pt x="671" y="1286"/>
                    </a:cubicBezTo>
                    <a:cubicBezTo>
                      <a:pt x="922" y="1181"/>
                      <a:pt x="1047" y="888"/>
                      <a:pt x="1068" y="658"/>
                    </a:cubicBezTo>
                    <a:cubicBezTo>
                      <a:pt x="1089" y="344"/>
                      <a:pt x="943" y="114"/>
                      <a:pt x="629" y="9"/>
                    </a:cubicBezTo>
                    <a:cubicBezTo>
                      <a:pt x="611" y="3"/>
                      <a:pt x="595" y="0"/>
                      <a:pt x="581"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34" name="Google Shape;2834;p67"/>
              <p:cNvSpPr/>
              <p:nvPr/>
            </p:nvSpPr>
            <p:spPr>
              <a:xfrm>
                <a:off x="4616325" y="2910250"/>
                <a:ext cx="32475" cy="39650"/>
              </a:xfrm>
              <a:custGeom>
                <a:avLst/>
                <a:gdLst/>
                <a:ahLst/>
                <a:cxnLst/>
                <a:rect l="l" t="t" r="r" b="b"/>
                <a:pathLst>
                  <a:path w="1299" h="1586" extrusionOk="0">
                    <a:moveTo>
                      <a:pt x="670" y="0"/>
                    </a:moveTo>
                    <a:cubicBezTo>
                      <a:pt x="580" y="0"/>
                      <a:pt x="487" y="86"/>
                      <a:pt x="545" y="202"/>
                    </a:cubicBezTo>
                    <a:cubicBezTo>
                      <a:pt x="628" y="369"/>
                      <a:pt x="754" y="537"/>
                      <a:pt x="859" y="683"/>
                    </a:cubicBezTo>
                    <a:cubicBezTo>
                      <a:pt x="942" y="788"/>
                      <a:pt x="921" y="893"/>
                      <a:pt x="838" y="997"/>
                    </a:cubicBezTo>
                    <a:cubicBezTo>
                      <a:pt x="775" y="1081"/>
                      <a:pt x="733" y="1185"/>
                      <a:pt x="670" y="1227"/>
                    </a:cubicBezTo>
                    <a:cubicBezTo>
                      <a:pt x="615" y="1274"/>
                      <a:pt x="531" y="1299"/>
                      <a:pt x="451" y="1299"/>
                    </a:cubicBezTo>
                    <a:cubicBezTo>
                      <a:pt x="349" y="1299"/>
                      <a:pt x="254" y="1258"/>
                      <a:pt x="231" y="1165"/>
                    </a:cubicBezTo>
                    <a:cubicBezTo>
                      <a:pt x="168" y="976"/>
                      <a:pt x="210" y="746"/>
                      <a:pt x="315" y="579"/>
                    </a:cubicBezTo>
                    <a:cubicBezTo>
                      <a:pt x="390" y="564"/>
                      <a:pt x="357" y="505"/>
                      <a:pt x="301" y="505"/>
                    </a:cubicBezTo>
                    <a:cubicBezTo>
                      <a:pt x="279" y="505"/>
                      <a:pt x="254" y="514"/>
                      <a:pt x="231" y="537"/>
                    </a:cubicBezTo>
                    <a:cubicBezTo>
                      <a:pt x="43" y="725"/>
                      <a:pt x="1" y="1039"/>
                      <a:pt x="43" y="1269"/>
                    </a:cubicBezTo>
                    <a:cubicBezTo>
                      <a:pt x="100" y="1480"/>
                      <a:pt x="334" y="1586"/>
                      <a:pt x="533" y="1586"/>
                    </a:cubicBezTo>
                    <a:cubicBezTo>
                      <a:pt x="551" y="1586"/>
                      <a:pt x="569" y="1585"/>
                      <a:pt x="587" y="1583"/>
                    </a:cubicBezTo>
                    <a:cubicBezTo>
                      <a:pt x="733" y="1562"/>
                      <a:pt x="859" y="1499"/>
                      <a:pt x="942" y="1395"/>
                    </a:cubicBezTo>
                    <a:cubicBezTo>
                      <a:pt x="963" y="1374"/>
                      <a:pt x="1005" y="1290"/>
                      <a:pt x="1005" y="1248"/>
                    </a:cubicBezTo>
                    <a:cubicBezTo>
                      <a:pt x="1005" y="1185"/>
                      <a:pt x="1152" y="1060"/>
                      <a:pt x="1172" y="976"/>
                    </a:cubicBezTo>
                    <a:cubicBezTo>
                      <a:pt x="1298" y="641"/>
                      <a:pt x="942" y="328"/>
                      <a:pt x="775" y="56"/>
                    </a:cubicBezTo>
                    <a:cubicBezTo>
                      <a:pt x="749" y="17"/>
                      <a:pt x="710" y="0"/>
                      <a:pt x="670"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35" name="Google Shape;2835;p67"/>
              <p:cNvSpPr/>
              <p:nvPr/>
            </p:nvSpPr>
            <p:spPr>
              <a:xfrm>
                <a:off x="4695650" y="2785650"/>
                <a:ext cx="23225" cy="55550"/>
              </a:xfrm>
              <a:custGeom>
                <a:avLst/>
                <a:gdLst/>
                <a:ahLst/>
                <a:cxnLst/>
                <a:rect l="l" t="t" r="r" b="b"/>
                <a:pathLst>
                  <a:path w="929" h="2222" extrusionOk="0">
                    <a:moveTo>
                      <a:pt x="348" y="0"/>
                    </a:moveTo>
                    <a:cubicBezTo>
                      <a:pt x="284" y="0"/>
                      <a:pt x="221" y="46"/>
                      <a:pt x="259" y="123"/>
                    </a:cubicBezTo>
                    <a:cubicBezTo>
                      <a:pt x="406" y="583"/>
                      <a:pt x="699" y="1776"/>
                      <a:pt x="113" y="2048"/>
                    </a:cubicBezTo>
                    <a:cubicBezTo>
                      <a:pt x="1" y="2085"/>
                      <a:pt x="72" y="2222"/>
                      <a:pt x="162" y="2222"/>
                    </a:cubicBezTo>
                    <a:cubicBezTo>
                      <a:pt x="174" y="2222"/>
                      <a:pt x="185" y="2219"/>
                      <a:pt x="196" y="2215"/>
                    </a:cubicBezTo>
                    <a:cubicBezTo>
                      <a:pt x="929" y="1943"/>
                      <a:pt x="740" y="583"/>
                      <a:pt x="448" y="60"/>
                    </a:cubicBezTo>
                    <a:cubicBezTo>
                      <a:pt x="431" y="19"/>
                      <a:pt x="390" y="0"/>
                      <a:pt x="348"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36" name="Google Shape;2836;p67"/>
              <p:cNvSpPr/>
              <p:nvPr/>
            </p:nvSpPr>
            <p:spPr>
              <a:xfrm>
                <a:off x="4714925" y="2783800"/>
                <a:ext cx="47025" cy="58675"/>
              </a:xfrm>
              <a:custGeom>
                <a:avLst/>
                <a:gdLst/>
                <a:ahLst/>
                <a:cxnLst/>
                <a:rect l="l" t="t" r="r" b="b"/>
                <a:pathLst>
                  <a:path w="1881" h="2347" extrusionOk="0">
                    <a:moveTo>
                      <a:pt x="1642" y="1"/>
                    </a:moveTo>
                    <a:cubicBezTo>
                      <a:pt x="1601" y="1"/>
                      <a:pt x="1558" y="15"/>
                      <a:pt x="1518" y="50"/>
                    </a:cubicBezTo>
                    <a:cubicBezTo>
                      <a:pt x="1162" y="364"/>
                      <a:pt x="806" y="699"/>
                      <a:pt x="472" y="1033"/>
                    </a:cubicBezTo>
                    <a:cubicBezTo>
                      <a:pt x="367" y="1138"/>
                      <a:pt x="409" y="1347"/>
                      <a:pt x="367" y="1473"/>
                    </a:cubicBezTo>
                    <a:cubicBezTo>
                      <a:pt x="304" y="1724"/>
                      <a:pt x="158" y="1933"/>
                      <a:pt x="53" y="2142"/>
                    </a:cubicBezTo>
                    <a:cubicBezTo>
                      <a:pt x="0" y="2261"/>
                      <a:pt x="89" y="2346"/>
                      <a:pt x="188" y="2346"/>
                    </a:cubicBezTo>
                    <a:cubicBezTo>
                      <a:pt x="246" y="2346"/>
                      <a:pt x="307" y="2317"/>
                      <a:pt x="346" y="2247"/>
                    </a:cubicBezTo>
                    <a:cubicBezTo>
                      <a:pt x="451" y="2059"/>
                      <a:pt x="576" y="1870"/>
                      <a:pt x="681" y="1682"/>
                    </a:cubicBezTo>
                    <a:cubicBezTo>
                      <a:pt x="723" y="1557"/>
                      <a:pt x="765" y="1326"/>
                      <a:pt x="869" y="1222"/>
                    </a:cubicBezTo>
                    <a:cubicBezTo>
                      <a:pt x="1183" y="929"/>
                      <a:pt x="1497" y="615"/>
                      <a:pt x="1769" y="280"/>
                    </a:cubicBezTo>
                    <a:cubicBezTo>
                      <a:pt x="1881" y="153"/>
                      <a:pt x="1773" y="1"/>
                      <a:pt x="1642"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sp>
        <p:nvSpPr>
          <p:cNvPr id="2837" name="Google Shape;2837;p67"/>
          <p:cNvSpPr/>
          <p:nvPr/>
        </p:nvSpPr>
        <p:spPr>
          <a:xfrm>
            <a:off x="7393900" y="5901600"/>
            <a:ext cx="379800" cy="443867"/>
          </a:xfrm>
          <a:custGeom>
            <a:avLst/>
            <a:gdLst/>
            <a:ahLst/>
            <a:cxnLst/>
            <a:rect l="l" t="t" r="r" b="b"/>
            <a:pathLst>
              <a:path w="11394" h="13316" extrusionOk="0">
                <a:moveTo>
                  <a:pt x="2454" y="5770"/>
                </a:moveTo>
                <a:cubicBezTo>
                  <a:pt x="2420" y="5803"/>
                  <a:pt x="2420" y="5803"/>
                  <a:pt x="2454" y="5837"/>
                </a:cubicBezTo>
                <a:lnTo>
                  <a:pt x="2454" y="5770"/>
                </a:lnTo>
                <a:close/>
                <a:moveTo>
                  <a:pt x="4739" y="3081"/>
                </a:moveTo>
                <a:cubicBezTo>
                  <a:pt x="5210" y="3081"/>
                  <a:pt x="5647" y="3148"/>
                  <a:pt x="6117" y="3283"/>
                </a:cubicBezTo>
                <a:cubicBezTo>
                  <a:pt x="6487" y="3350"/>
                  <a:pt x="6823" y="3518"/>
                  <a:pt x="7159" y="3686"/>
                </a:cubicBezTo>
                <a:cubicBezTo>
                  <a:pt x="7394" y="3821"/>
                  <a:pt x="7596" y="3955"/>
                  <a:pt x="7764" y="4123"/>
                </a:cubicBezTo>
                <a:cubicBezTo>
                  <a:pt x="7898" y="4257"/>
                  <a:pt x="7965" y="4358"/>
                  <a:pt x="8066" y="4493"/>
                </a:cubicBezTo>
                <a:cubicBezTo>
                  <a:pt x="8100" y="4627"/>
                  <a:pt x="8167" y="4728"/>
                  <a:pt x="8234" y="4829"/>
                </a:cubicBezTo>
                <a:cubicBezTo>
                  <a:pt x="8167" y="4930"/>
                  <a:pt x="8234" y="5064"/>
                  <a:pt x="8234" y="5165"/>
                </a:cubicBezTo>
                <a:cubicBezTo>
                  <a:pt x="8234" y="5333"/>
                  <a:pt x="8167" y="5467"/>
                  <a:pt x="8167" y="5635"/>
                </a:cubicBezTo>
                <a:cubicBezTo>
                  <a:pt x="8133" y="5702"/>
                  <a:pt x="8133" y="5803"/>
                  <a:pt x="8100" y="5837"/>
                </a:cubicBezTo>
                <a:cubicBezTo>
                  <a:pt x="8066" y="5871"/>
                  <a:pt x="8066" y="5938"/>
                  <a:pt x="7999" y="5971"/>
                </a:cubicBezTo>
                <a:lnTo>
                  <a:pt x="7932" y="6039"/>
                </a:lnTo>
                <a:cubicBezTo>
                  <a:pt x="7898" y="6106"/>
                  <a:pt x="7831" y="6106"/>
                  <a:pt x="7797" y="6106"/>
                </a:cubicBezTo>
                <a:cubicBezTo>
                  <a:pt x="7730" y="6106"/>
                  <a:pt x="7663" y="6139"/>
                  <a:pt x="7596" y="6139"/>
                </a:cubicBezTo>
                <a:cubicBezTo>
                  <a:pt x="7461" y="6139"/>
                  <a:pt x="7293" y="6106"/>
                  <a:pt x="7159" y="6039"/>
                </a:cubicBezTo>
                <a:cubicBezTo>
                  <a:pt x="6890" y="5971"/>
                  <a:pt x="6621" y="5837"/>
                  <a:pt x="6386" y="5702"/>
                </a:cubicBezTo>
                <a:cubicBezTo>
                  <a:pt x="5949" y="5467"/>
                  <a:pt x="5546" y="5165"/>
                  <a:pt x="5210" y="4829"/>
                </a:cubicBezTo>
                <a:cubicBezTo>
                  <a:pt x="5042" y="4661"/>
                  <a:pt x="4806" y="4459"/>
                  <a:pt x="4706" y="4190"/>
                </a:cubicBezTo>
                <a:cubicBezTo>
                  <a:pt x="4605" y="4089"/>
                  <a:pt x="4571" y="3921"/>
                  <a:pt x="4470" y="3787"/>
                </a:cubicBezTo>
                <a:cubicBezTo>
                  <a:pt x="4403" y="3619"/>
                  <a:pt x="4370" y="3451"/>
                  <a:pt x="4302" y="3283"/>
                </a:cubicBezTo>
                <a:cubicBezTo>
                  <a:pt x="4302" y="3249"/>
                  <a:pt x="4269" y="3148"/>
                  <a:pt x="4269" y="3115"/>
                </a:cubicBezTo>
                <a:cubicBezTo>
                  <a:pt x="4437" y="3115"/>
                  <a:pt x="4571" y="3081"/>
                  <a:pt x="4739" y="3081"/>
                </a:cubicBezTo>
                <a:close/>
                <a:moveTo>
                  <a:pt x="3529" y="6778"/>
                </a:moveTo>
                <a:cubicBezTo>
                  <a:pt x="3765" y="6778"/>
                  <a:pt x="3966" y="6811"/>
                  <a:pt x="4235" y="6845"/>
                </a:cubicBezTo>
                <a:cubicBezTo>
                  <a:pt x="4504" y="6946"/>
                  <a:pt x="4806" y="7047"/>
                  <a:pt x="5075" y="7215"/>
                </a:cubicBezTo>
                <a:cubicBezTo>
                  <a:pt x="5075" y="7215"/>
                  <a:pt x="5075" y="7215"/>
                  <a:pt x="5075" y="7215"/>
                </a:cubicBezTo>
                <a:lnTo>
                  <a:pt x="5075" y="7215"/>
                </a:lnTo>
                <a:cubicBezTo>
                  <a:pt x="5075" y="7215"/>
                  <a:pt x="5086" y="7215"/>
                  <a:pt x="5096" y="7228"/>
                </a:cubicBezTo>
                <a:lnTo>
                  <a:pt x="5096" y="7228"/>
                </a:lnTo>
                <a:cubicBezTo>
                  <a:pt x="5089" y="7223"/>
                  <a:pt x="5082" y="7219"/>
                  <a:pt x="5075" y="7215"/>
                </a:cubicBezTo>
                <a:lnTo>
                  <a:pt x="5075" y="7215"/>
                </a:lnTo>
                <a:cubicBezTo>
                  <a:pt x="5075" y="7282"/>
                  <a:pt x="5109" y="7282"/>
                  <a:pt x="5109" y="7282"/>
                </a:cubicBezTo>
                <a:cubicBezTo>
                  <a:pt x="5109" y="7254"/>
                  <a:pt x="5103" y="7237"/>
                  <a:pt x="5096" y="7228"/>
                </a:cubicBezTo>
                <a:lnTo>
                  <a:pt x="5096" y="7228"/>
                </a:lnTo>
                <a:cubicBezTo>
                  <a:pt x="5358" y="7391"/>
                  <a:pt x="5619" y="7558"/>
                  <a:pt x="5848" y="7820"/>
                </a:cubicBezTo>
                <a:cubicBezTo>
                  <a:pt x="5949" y="7887"/>
                  <a:pt x="6016" y="7988"/>
                  <a:pt x="6117" y="8122"/>
                </a:cubicBezTo>
                <a:cubicBezTo>
                  <a:pt x="6151" y="8156"/>
                  <a:pt x="6151" y="8189"/>
                  <a:pt x="6184" y="8290"/>
                </a:cubicBezTo>
                <a:cubicBezTo>
                  <a:pt x="6117" y="8290"/>
                  <a:pt x="6117" y="8324"/>
                  <a:pt x="6117" y="8324"/>
                </a:cubicBezTo>
                <a:lnTo>
                  <a:pt x="6117" y="8357"/>
                </a:lnTo>
                <a:lnTo>
                  <a:pt x="6083" y="8391"/>
                </a:lnTo>
                <a:cubicBezTo>
                  <a:pt x="6050" y="8391"/>
                  <a:pt x="5983" y="8458"/>
                  <a:pt x="5949" y="8458"/>
                </a:cubicBezTo>
                <a:cubicBezTo>
                  <a:pt x="5815" y="8492"/>
                  <a:pt x="5747" y="8492"/>
                  <a:pt x="5613" y="8492"/>
                </a:cubicBezTo>
                <a:cubicBezTo>
                  <a:pt x="5311" y="8492"/>
                  <a:pt x="5042" y="8458"/>
                  <a:pt x="4773" y="8357"/>
                </a:cubicBezTo>
                <a:cubicBezTo>
                  <a:pt x="4571" y="8290"/>
                  <a:pt x="4370" y="8189"/>
                  <a:pt x="4202" y="8122"/>
                </a:cubicBezTo>
                <a:cubicBezTo>
                  <a:pt x="3933" y="7988"/>
                  <a:pt x="3731" y="7786"/>
                  <a:pt x="3529" y="7618"/>
                </a:cubicBezTo>
                <a:cubicBezTo>
                  <a:pt x="3294" y="7349"/>
                  <a:pt x="3093" y="7114"/>
                  <a:pt x="2925" y="6845"/>
                </a:cubicBezTo>
                <a:cubicBezTo>
                  <a:pt x="3093" y="6811"/>
                  <a:pt x="3294" y="6778"/>
                  <a:pt x="3529" y="6778"/>
                </a:cubicBezTo>
                <a:close/>
                <a:moveTo>
                  <a:pt x="6224" y="0"/>
                </a:moveTo>
                <a:cubicBezTo>
                  <a:pt x="5838" y="0"/>
                  <a:pt x="5453" y="52"/>
                  <a:pt x="5075" y="158"/>
                </a:cubicBezTo>
                <a:cubicBezTo>
                  <a:pt x="4739" y="292"/>
                  <a:pt x="4403" y="460"/>
                  <a:pt x="4134" y="729"/>
                </a:cubicBezTo>
                <a:lnTo>
                  <a:pt x="3933" y="930"/>
                </a:lnTo>
                <a:cubicBezTo>
                  <a:pt x="3865" y="998"/>
                  <a:pt x="3798" y="1099"/>
                  <a:pt x="3765" y="1233"/>
                </a:cubicBezTo>
                <a:cubicBezTo>
                  <a:pt x="3697" y="1401"/>
                  <a:pt x="3597" y="1603"/>
                  <a:pt x="3563" y="1771"/>
                </a:cubicBezTo>
                <a:cubicBezTo>
                  <a:pt x="3529" y="1972"/>
                  <a:pt x="3462" y="2208"/>
                  <a:pt x="3462" y="2443"/>
                </a:cubicBezTo>
                <a:lnTo>
                  <a:pt x="3462" y="2476"/>
                </a:lnTo>
                <a:cubicBezTo>
                  <a:pt x="3395" y="2510"/>
                  <a:pt x="3261" y="2510"/>
                  <a:pt x="3193" y="2577"/>
                </a:cubicBezTo>
                <a:cubicBezTo>
                  <a:pt x="2958" y="2644"/>
                  <a:pt x="2723" y="2779"/>
                  <a:pt x="2555" y="2947"/>
                </a:cubicBezTo>
                <a:cubicBezTo>
                  <a:pt x="2286" y="3148"/>
                  <a:pt x="2118" y="3417"/>
                  <a:pt x="1950" y="3686"/>
                </a:cubicBezTo>
                <a:cubicBezTo>
                  <a:pt x="1782" y="3989"/>
                  <a:pt x="1715" y="4325"/>
                  <a:pt x="1681" y="4627"/>
                </a:cubicBezTo>
                <a:cubicBezTo>
                  <a:pt x="1614" y="4963"/>
                  <a:pt x="1681" y="5299"/>
                  <a:pt x="1715" y="5635"/>
                </a:cubicBezTo>
                <a:cubicBezTo>
                  <a:pt x="1748" y="5938"/>
                  <a:pt x="1849" y="6207"/>
                  <a:pt x="1950" y="6475"/>
                </a:cubicBezTo>
                <a:cubicBezTo>
                  <a:pt x="1715" y="6610"/>
                  <a:pt x="1513" y="6778"/>
                  <a:pt x="1278" y="6980"/>
                </a:cubicBezTo>
                <a:cubicBezTo>
                  <a:pt x="875" y="7383"/>
                  <a:pt x="538" y="7887"/>
                  <a:pt x="337" y="8492"/>
                </a:cubicBezTo>
                <a:cubicBezTo>
                  <a:pt x="34" y="9298"/>
                  <a:pt x="1" y="10138"/>
                  <a:pt x="202" y="10911"/>
                </a:cubicBezTo>
                <a:cubicBezTo>
                  <a:pt x="236" y="11147"/>
                  <a:pt x="337" y="11348"/>
                  <a:pt x="404" y="11550"/>
                </a:cubicBezTo>
                <a:cubicBezTo>
                  <a:pt x="505" y="11752"/>
                  <a:pt x="606" y="11987"/>
                  <a:pt x="740" y="12188"/>
                </a:cubicBezTo>
                <a:cubicBezTo>
                  <a:pt x="1009" y="12592"/>
                  <a:pt x="1379" y="12961"/>
                  <a:pt x="1748" y="13230"/>
                </a:cubicBezTo>
                <a:cubicBezTo>
                  <a:pt x="1807" y="13289"/>
                  <a:pt x="1879" y="13316"/>
                  <a:pt x="1953" y="13316"/>
                </a:cubicBezTo>
                <a:cubicBezTo>
                  <a:pt x="2047" y="13316"/>
                  <a:pt x="2143" y="13272"/>
                  <a:pt x="2219" y="13197"/>
                </a:cubicBezTo>
                <a:cubicBezTo>
                  <a:pt x="2353" y="13062"/>
                  <a:pt x="2286" y="12861"/>
                  <a:pt x="2185" y="12726"/>
                </a:cubicBezTo>
                <a:cubicBezTo>
                  <a:pt x="2051" y="12659"/>
                  <a:pt x="1916" y="12524"/>
                  <a:pt x="1782" y="12390"/>
                </a:cubicBezTo>
                <a:cubicBezTo>
                  <a:pt x="1580" y="12188"/>
                  <a:pt x="1379" y="11953"/>
                  <a:pt x="1244" y="11684"/>
                </a:cubicBezTo>
                <a:cubicBezTo>
                  <a:pt x="1076" y="11449"/>
                  <a:pt x="1009" y="11147"/>
                  <a:pt x="908" y="10844"/>
                </a:cubicBezTo>
                <a:cubicBezTo>
                  <a:pt x="841" y="10542"/>
                  <a:pt x="774" y="10273"/>
                  <a:pt x="774" y="9970"/>
                </a:cubicBezTo>
                <a:cubicBezTo>
                  <a:pt x="774" y="9634"/>
                  <a:pt x="841" y="9298"/>
                  <a:pt x="908" y="8996"/>
                </a:cubicBezTo>
                <a:cubicBezTo>
                  <a:pt x="1009" y="8693"/>
                  <a:pt x="1110" y="8458"/>
                  <a:pt x="1244" y="8156"/>
                </a:cubicBezTo>
                <a:cubicBezTo>
                  <a:pt x="1379" y="7920"/>
                  <a:pt x="1547" y="7685"/>
                  <a:pt x="1748" y="7517"/>
                </a:cubicBezTo>
                <a:cubicBezTo>
                  <a:pt x="1916" y="7349"/>
                  <a:pt x="2084" y="7248"/>
                  <a:pt x="2286" y="7114"/>
                </a:cubicBezTo>
                <a:cubicBezTo>
                  <a:pt x="2387" y="7282"/>
                  <a:pt x="2521" y="7450"/>
                  <a:pt x="2588" y="7551"/>
                </a:cubicBezTo>
                <a:cubicBezTo>
                  <a:pt x="3025" y="8122"/>
                  <a:pt x="3529" y="8593"/>
                  <a:pt x="4134" y="8861"/>
                </a:cubicBezTo>
                <a:cubicBezTo>
                  <a:pt x="4470" y="9029"/>
                  <a:pt x="4874" y="9130"/>
                  <a:pt x="5243" y="9164"/>
                </a:cubicBezTo>
                <a:cubicBezTo>
                  <a:pt x="5355" y="9175"/>
                  <a:pt x="5467" y="9183"/>
                  <a:pt x="5579" y="9183"/>
                </a:cubicBezTo>
                <a:cubicBezTo>
                  <a:pt x="5803" y="9183"/>
                  <a:pt x="6027" y="9153"/>
                  <a:pt x="6251" y="9063"/>
                </a:cubicBezTo>
                <a:cubicBezTo>
                  <a:pt x="6386" y="9029"/>
                  <a:pt x="6487" y="8962"/>
                  <a:pt x="6588" y="8861"/>
                </a:cubicBezTo>
                <a:cubicBezTo>
                  <a:pt x="6655" y="8794"/>
                  <a:pt x="6722" y="8660"/>
                  <a:pt x="6756" y="8525"/>
                </a:cubicBezTo>
                <a:cubicBezTo>
                  <a:pt x="6789" y="8391"/>
                  <a:pt x="6756" y="8324"/>
                  <a:pt x="6756" y="8189"/>
                </a:cubicBezTo>
                <a:cubicBezTo>
                  <a:pt x="6722" y="8021"/>
                  <a:pt x="6621" y="7887"/>
                  <a:pt x="6554" y="7719"/>
                </a:cubicBezTo>
                <a:cubicBezTo>
                  <a:pt x="6453" y="7618"/>
                  <a:pt x="6319" y="7484"/>
                  <a:pt x="6218" y="7349"/>
                </a:cubicBezTo>
                <a:cubicBezTo>
                  <a:pt x="6083" y="7215"/>
                  <a:pt x="5915" y="7047"/>
                  <a:pt x="5747" y="6980"/>
                </a:cubicBezTo>
                <a:cubicBezTo>
                  <a:pt x="5411" y="6711"/>
                  <a:pt x="5075" y="6543"/>
                  <a:pt x="4706" y="6375"/>
                </a:cubicBezTo>
                <a:cubicBezTo>
                  <a:pt x="4288" y="6235"/>
                  <a:pt x="3838" y="6160"/>
                  <a:pt x="3390" y="6160"/>
                </a:cubicBezTo>
                <a:cubicBezTo>
                  <a:pt x="3189" y="6160"/>
                  <a:pt x="2988" y="6175"/>
                  <a:pt x="2790" y="6207"/>
                </a:cubicBezTo>
                <a:cubicBezTo>
                  <a:pt x="2723" y="6207"/>
                  <a:pt x="2622" y="6274"/>
                  <a:pt x="2588" y="6274"/>
                </a:cubicBezTo>
                <a:cubicBezTo>
                  <a:pt x="2555" y="6139"/>
                  <a:pt x="2454" y="5971"/>
                  <a:pt x="2420" y="5837"/>
                </a:cubicBezTo>
                <a:cubicBezTo>
                  <a:pt x="2353" y="5602"/>
                  <a:pt x="2286" y="5299"/>
                  <a:pt x="2286" y="4997"/>
                </a:cubicBezTo>
                <a:cubicBezTo>
                  <a:pt x="2286" y="4795"/>
                  <a:pt x="2353" y="4627"/>
                  <a:pt x="2387" y="4425"/>
                </a:cubicBezTo>
                <a:cubicBezTo>
                  <a:pt x="2420" y="4257"/>
                  <a:pt x="2521" y="4089"/>
                  <a:pt x="2588" y="3955"/>
                </a:cubicBezTo>
                <a:cubicBezTo>
                  <a:pt x="2689" y="3821"/>
                  <a:pt x="2756" y="3686"/>
                  <a:pt x="2857" y="3619"/>
                </a:cubicBezTo>
                <a:cubicBezTo>
                  <a:pt x="2925" y="3518"/>
                  <a:pt x="3025" y="3451"/>
                  <a:pt x="3126" y="3417"/>
                </a:cubicBezTo>
                <a:cubicBezTo>
                  <a:pt x="3261" y="3316"/>
                  <a:pt x="3429" y="3283"/>
                  <a:pt x="3563" y="3249"/>
                </a:cubicBezTo>
                <a:cubicBezTo>
                  <a:pt x="3597" y="3518"/>
                  <a:pt x="3731" y="3787"/>
                  <a:pt x="3798" y="4089"/>
                </a:cubicBezTo>
                <a:cubicBezTo>
                  <a:pt x="3899" y="4325"/>
                  <a:pt x="4033" y="4594"/>
                  <a:pt x="4202" y="4795"/>
                </a:cubicBezTo>
                <a:cubicBezTo>
                  <a:pt x="4370" y="4997"/>
                  <a:pt x="4538" y="5198"/>
                  <a:pt x="4706" y="5366"/>
                </a:cubicBezTo>
                <a:cubicBezTo>
                  <a:pt x="4907" y="5602"/>
                  <a:pt x="5109" y="5770"/>
                  <a:pt x="5311" y="5938"/>
                </a:cubicBezTo>
                <a:cubicBezTo>
                  <a:pt x="5579" y="6106"/>
                  <a:pt x="5815" y="6274"/>
                  <a:pt x="6117" y="6442"/>
                </a:cubicBezTo>
                <a:cubicBezTo>
                  <a:pt x="6386" y="6543"/>
                  <a:pt x="6621" y="6677"/>
                  <a:pt x="6890" y="6778"/>
                </a:cubicBezTo>
                <a:cubicBezTo>
                  <a:pt x="7111" y="6822"/>
                  <a:pt x="7339" y="6860"/>
                  <a:pt x="7559" y="6860"/>
                </a:cubicBezTo>
                <a:cubicBezTo>
                  <a:pt x="7840" y="6860"/>
                  <a:pt x="8109" y="6798"/>
                  <a:pt x="8335" y="6610"/>
                </a:cubicBezTo>
                <a:cubicBezTo>
                  <a:pt x="8570" y="6442"/>
                  <a:pt x="8671" y="6173"/>
                  <a:pt x="8772" y="5971"/>
                </a:cubicBezTo>
                <a:cubicBezTo>
                  <a:pt x="8839" y="5669"/>
                  <a:pt x="8906" y="5333"/>
                  <a:pt x="8839" y="5030"/>
                </a:cubicBezTo>
                <a:cubicBezTo>
                  <a:pt x="8806" y="4795"/>
                  <a:pt x="8705" y="4526"/>
                  <a:pt x="8604" y="4291"/>
                </a:cubicBezTo>
                <a:cubicBezTo>
                  <a:pt x="8469" y="4022"/>
                  <a:pt x="8268" y="3821"/>
                  <a:pt x="8100" y="3619"/>
                </a:cubicBezTo>
                <a:cubicBezTo>
                  <a:pt x="7865" y="3417"/>
                  <a:pt x="7629" y="3283"/>
                  <a:pt x="7428" y="3115"/>
                </a:cubicBezTo>
                <a:cubicBezTo>
                  <a:pt x="7159" y="2980"/>
                  <a:pt x="6924" y="2846"/>
                  <a:pt x="6655" y="2779"/>
                </a:cubicBezTo>
                <a:cubicBezTo>
                  <a:pt x="6083" y="2577"/>
                  <a:pt x="5479" y="2476"/>
                  <a:pt x="4907" y="2443"/>
                </a:cubicBezTo>
                <a:cubicBezTo>
                  <a:pt x="4638" y="2443"/>
                  <a:pt x="4437" y="2443"/>
                  <a:pt x="4168" y="2476"/>
                </a:cubicBezTo>
                <a:cubicBezTo>
                  <a:pt x="4168" y="2308"/>
                  <a:pt x="4235" y="2140"/>
                  <a:pt x="4269" y="1972"/>
                </a:cubicBezTo>
                <a:cubicBezTo>
                  <a:pt x="4302" y="1838"/>
                  <a:pt x="4336" y="1737"/>
                  <a:pt x="4437" y="1603"/>
                </a:cubicBezTo>
                <a:cubicBezTo>
                  <a:pt x="4504" y="1502"/>
                  <a:pt x="4571" y="1401"/>
                  <a:pt x="4638" y="1300"/>
                </a:cubicBezTo>
                <a:cubicBezTo>
                  <a:pt x="4739" y="1233"/>
                  <a:pt x="4840" y="1132"/>
                  <a:pt x="4974" y="1065"/>
                </a:cubicBezTo>
                <a:cubicBezTo>
                  <a:pt x="5142" y="964"/>
                  <a:pt x="5311" y="897"/>
                  <a:pt x="5512" y="830"/>
                </a:cubicBezTo>
                <a:cubicBezTo>
                  <a:pt x="5815" y="762"/>
                  <a:pt x="6117" y="762"/>
                  <a:pt x="6420" y="762"/>
                </a:cubicBezTo>
                <a:cubicBezTo>
                  <a:pt x="6789" y="762"/>
                  <a:pt x="7159" y="830"/>
                  <a:pt x="7495" y="930"/>
                </a:cubicBezTo>
                <a:cubicBezTo>
                  <a:pt x="7932" y="1065"/>
                  <a:pt x="8301" y="1233"/>
                  <a:pt x="8671" y="1435"/>
                </a:cubicBezTo>
                <a:cubicBezTo>
                  <a:pt x="9007" y="1636"/>
                  <a:pt x="9343" y="1838"/>
                  <a:pt x="9612" y="2140"/>
                </a:cubicBezTo>
                <a:cubicBezTo>
                  <a:pt x="9847" y="2409"/>
                  <a:pt x="10083" y="2678"/>
                  <a:pt x="10251" y="2980"/>
                </a:cubicBezTo>
                <a:cubicBezTo>
                  <a:pt x="10385" y="3283"/>
                  <a:pt x="10519" y="3585"/>
                  <a:pt x="10620" y="3854"/>
                </a:cubicBezTo>
                <a:cubicBezTo>
                  <a:pt x="10654" y="4089"/>
                  <a:pt x="10687" y="4325"/>
                  <a:pt x="10755" y="4526"/>
                </a:cubicBezTo>
                <a:cubicBezTo>
                  <a:pt x="10755" y="4694"/>
                  <a:pt x="10956" y="4829"/>
                  <a:pt x="11124" y="4829"/>
                </a:cubicBezTo>
                <a:cubicBezTo>
                  <a:pt x="11292" y="4795"/>
                  <a:pt x="11393" y="4627"/>
                  <a:pt x="11393" y="4459"/>
                </a:cubicBezTo>
                <a:lnTo>
                  <a:pt x="11393" y="4257"/>
                </a:lnTo>
                <a:cubicBezTo>
                  <a:pt x="11259" y="3753"/>
                  <a:pt x="11124" y="3283"/>
                  <a:pt x="10923" y="2846"/>
                </a:cubicBezTo>
                <a:cubicBezTo>
                  <a:pt x="10687" y="2409"/>
                  <a:pt x="10419" y="2006"/>
                  <a:pt x="10083" y="1636"/>
                </a:cubicBezTo>
                <a:cubicBezTo>
                  <a:pt x="9410" y="964"/>
                  <a:pt x="8570" y="460"/>
                  <a:pt x="7629" y="225"/>
                </a:cubicBezTo>
                <a:cubicBezTo>
                  <a:pt x="7167" y="77"/>
                  <a:pt x="6695" y="0"/>
                  <a:pt x="6224"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2838" name="Google Shape;2838;p67"/>
          <p:cNvGrpSpPr/>
          <p:nvPr/>
        </p:nvGrpSpPr>
        <p:grpSpPr>
          <a:xfrm rot="7862540" flipH="1">
            <a:off x="10075050" y="3695533"/>
            <a:ext cx="801892" cy="394347"/>
            <a:chOff x="3281450" y="846325"/>
            <a:chExt cx="718525" cy="353350"/>
          </a:xfrm>
        </p:grpSpPr>
        <p:sp>
          <p:nvSpPr>
            <p:cNvPr id="2839" name="Google Shape;2839;p67"/>
            <p:cNvSpPr/>
            <p:nvPr/>
          </p:nvSpPr>
          <p:spPr>
            <a:xfrm>
              <a:off x="3377500" y="876225"/>
              <a:ext cx="622475" cy="254900"/>
            </a:xfrm>
            <a:custGeom>
              <a:avLst/>
              <a:gdLst/>
              <a:ahLst/>
              <a:cxnLst/>
              <a:rect l="l" t="t" r="r" b="b"/>
              <a:pathLst>
                <a:path w="24899" h="10196" extrusionOk="0">
                  <a:moveTo>
                    <a:pt x="24233" y="210"/>
                  </a:moveTo>
                  <a:cubicBezTo>
                    <a:pt x="24245" y="219"/>
                    <a:pt x="24256" y="226"/>
                    <a:pt x="24266" y="231"/>
                  </a:cubicBezTo>
                  <a:lnTo>
                    <a:pt x="24266" y="231"/>
                  </a:lnTo>
                  <a:cubicBezTo>
                    <a:pt x="24256" y="246"/>
                    <a:pt x="24245" y="264"/>
                    <a:pt x="24233" y="286"/>
                  </a:cubicBezTo>
                  <a:cubicBezTo>
                    <a:pt x="24119" y="552"/>
                    <a:pt x="23187" y="818"/>
                    <a:pt x="22902" y="932"/>
                  </a:cubicBezTo>
                  <a:cubicBezTo>
                    <a:pt x="22103" y="1237"/>
                    <a:pt x="21247" y="1446"/>
                    <a:pt x="20429" y="1788"/>
                  </a:cubicBezTo>
                  <a:cubicBezTo>
                    <a:pt x="18546" y="2530"/>
                    <a:pt x="16606" y="3025"/>
                    <a:pt x="14685" y="3671"/>
                  </a:cubicBezTo>
                  <a:cubicBezTo>
                    <a:pt x="12935" y="4261"/>
                    <a:pt x="11185" y="4851"/>
                    <a:pt x="9454" y="5440"/>
                  </a:cubicBezTo>
                  <a:cubicBezTo>
                    <a:pt x="8446" y="5802"/>
                    <a:pt x="7419" y="6068"/>
                    <a:pt x="6430" y="6391"/>
                  </a:cubicBezTo>
                  <a:cubicBezTo>
                    <a:pt x="5574" y="6696"/>
                    <a:pt x="4642" y="6848"/>
                    <a:pt x="3805" y="7190"/>
                  </a:cubicBezTo>
                  <a:cubicBezTo>
                    <a:pt x="3101" y="7476"/>
                    <a:pt x="2702" y="7856"/>
                    <a:pt x="2093" y="8332"/>
                  </a:cubicBezTo>
                  <a:cubicBezTo>
                    <a:pt x="1657" y="8707"/>
                    <a:pt x="1214" y="9044"/>
                    <a:pt x="787" y="9410"/>
                  </a:cubicBezTo>
                  <a:lnTo>
                    <a:pt x="787" y="9410"/>
                  </a:lnTo>
                  <a:cubicBezTo>
                    <a:pt x="904" y="8790"/>
                    <a:pt x="2062" y="4814"/>
                    <a:pt x="2150" y="4375"/>
                  </a:cubicBezTo>
                  <a:cubicBezTo>
                    <a:pt x="2207" y="4147"/>
                    <a:pt x="2226" y="3557"/>
                    <a:pt x="2435" y="3386"/>
                  </a:cubicBezTo>
                  <a:cubicBezTo>
                    <a:pt x="2587" y="3272"/>
                    <a:pt x="3386" y="3310"/>
                    <a:pt x="3538" y="3291"/>
                  </a:cubicBezTo>
                  <a:cubicBezTo>
                    <a:pt x="4337" y="3139"/>
                    <a:pt x="5098" y="2873"/>
                    <a:pt x="5878" y="2663"/>
                  </a:cubicBezTo>
                  <a:cubicBezTo>
                    <a:pt x="9834" y="1560"/>
                    <a:pt x="13924" y="1123"/>
                    <a:pt x="18013" y="723"/>
                  </a:cubicBezTo>
                  <a:cubicBezTo>
                    <a:pt x="19858" y="533"/>
                    <a:pt x="21722" y="495"/>
                    <a:pt x="23567" y="305"/>
                  </a:cubicBezTo>
                  <a:lnTo>
                    <a:pt x="24233" y="210"/>
                  </a:lnTo>
                  <a:close/>
                  <a:moveTo>
                    <a:pt x="24709" y="0"/>
                  </a:moveTo>
                  <a:cubicBezTo>
                    <a:pt x="23396" y="77"/>
                    <a:pt x="22103" y="343"/>
                    <a:pt x="20771" y="419"/>
                  </a:cubicBezTo>
                  <a:cubicBezTo>
                    <a:pt x="19497" y="457"/>
                    <a:pt x="18242" y="552"/>
                    <a:pt x="16967" y="704"/>
                  </a:cubicBezTo>
                  <a:cubicBezTo>
                    <a:pt x="14247" y="952"/>
                    <a:pt x="11565" y="1275"/>
                    <a:pt x="8902" y="1807"/>
                  </a:cubicBezTo>
                  <a:cubicBezTo>
                    <a:pt x="7552" y="2093"/>
                    <a:pt x="6239" y="2454"/>
                    <a:pt x="4908" y="2835"/>
                  </a:cubicBezTo>
                  <a:cubicBezTo>
                    <a:pt x="4090" y="3082"/>
                    <a:pt x="3367" y="3139"/>
                    <a:pt x="2530" y="3272"/>
                  </a:cubicBezTo>
                  <a:cubicBezTo>
                    <a:pt x="2505" y="3275"/>
                    <a:pt x="2481" y="3276"/>
                    <a:pt x="2459" y="3276"/>
                  </a:cubicBezTo>
                  <a:cubicBezTo>
                    <a:pt x="2413" y="3276"/>
                    <a:pt x="2373" y="3272"/>
                    <a:pt x="2333" y="3272"/>
                  </a:cubicBezTo>
                  <a:cubicBezTo>
                    <a:pt x="2274" y="3272"/>
                    <a:pt x="2216" y="3282"/>
                    <a:pt x="2150" y="3329"/>
                  </a:cubicBezTo>
                  <a:cubicBezTo>
                    <a:pt x="1903" y="3481"/>
                    <a:pt x="1903" y="3976"/>
                    <a:pt x="1865" y="4185"/>
                  </a:cubicBezTo>
                  <a:cubicBezTo>
                    <a:pt x="1712" y="4756"/>
                    <a:pt x="1598" y="5364"/>
                    <a:pt x="1465" y="5916"/>
                  </a:cubicBezTo>
                  <a:cubicBezTo>
                    <a:pt x="1142" y="7133"/>
                    <a:pt x="457" y="8408"/>
                    <a:pt x="381" y="9625"/>
                  </a:cubicBezTo>
                  <a:cubicBezTo>
                    <a:pt x="381" y="9682"/>
                    <a:pt x="419" y="9682"/>
                    <a:pt x="457" y="9701"/>
                  </a:cubicBezTo>
                  <a:cubicBezTo>
                    <a:pt x="458" y="9701"/>
                    <a:pt x="459" y="9701"/>
                    <a:pt x="461" y="9701"/>
                  </a:cubicBezTo>
                  <a:lnTo>
                    <a:pt x="461" y="9701"/>
                  </a:lnTo>
                  <a:cubicBezTo>
                    <a:pt x="330" y="9823"/>
                    <a:pt x="202" y="9949"/>
                    <a:pt x="77" y="10081"/>
                  </a:cubicBezTo>
                  <a:cubicBezTo>
                    <a:pt x="1" y="10158"/>
                    <a:pt x="58" y="10196"/>
                    <a:pt x="153" y="10196"/>
                  </a:cubicBezTo>
                  <a:lnTo>
                    <a:pt x="229" y="10196"/>
                  </a:lnTo>
                  <a:cubicBezTo>
                    <a:pt x="343" y="10196"/>
                    <a:pt x="552" y="10043"/>
                    <a:pt x="343" y="10043"/>
                  </a:cubicBezTo>
                  <a:cubicBezTo>
                    <a:pt x="666" y="10043"/>
                    <a:pt x="1180" y="9321"/>
                    <a:pt x="1389" y="9130"/>
                  </a:cubicBezTo>
                  <a:cubicBezTo>
                    <a:pt x="1750" y="8807"/>
                    <a:pt x="2169" y="8560"/>
                    <a:pt x="2530" y="8236"/>
                  </a:cubicBezTo>
                  <a:cubicBezTo>
                    <a:pt x="3519" y="7342"/>
                    <a:pt x="4623" y="7190"/>
                    <a:pt x="5859" y="6791"/>
                  </a:cubicBezTo>
                  <a:cubicBezTo>
                    <a:pt x="7932" y="6087"/>
                    <a:pt x="10044" y="5516"/>
                    <a:pt x="12079" y="4794"/>
                  </a:cubicBezTo>
                  <a:cubicBezTo>
                    <a:pt x="14418" y="3957"/>
                    <a:pt x="16777" y="3234"/>
                    <a:pt x="19116" y="2473"/>
                  </a:cubicBezTo>
                  <a:cubicBezTo>
                    <a:pt x="20163" y="2112"/>
                    <a:pt x="21209" y="1674"/>
                    <a:pt x="22255" y="1332"/>
                  </a:cubicBezTo>
                  <a:cubicBezTo>
                    <a:pt x="23168" y="1028"/>
                    <a:pt x="24024" y="685"/>
                    <a:pt x="24785" y="153"/>
                  </a:cubicBezTo>
                  <a:cubicBezTo>
                    <a:pt x="24899" y="77"/>
                    <a:pt x="24804" y="0"/>
                    <a:pt x="24709"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40" name="Google Shape;2840;p67"/>
            <p:cNvSpPr/>
            <p:nvPr/>
          </p:nvSpPr>
          <p:spPr>
            <a:xfrm>
              <a:off x="3464100" y="876775"/>
              <a:ext cx="531250" cy="322900"/>
            </a:xfrm>
            <a:custGeom>
              <a:avLst/>
              <a:gdLst/>
              <a:ahLst/>
              <a:cxnLst/>
              <a:rect l="l" t="t" r="r" b="b"/>
              <a:pathLst>
                <a:path w="21250" h="12916" extrusionOk="0">
                  <a:moveTo>
                    <a:pt x="21047" y="1"/>
                  </a:moveTo>
                  <a:cubicBezTo>
                    <a:pt x="21019" y="1"/>
                    <a:pt x="20989" y="5"/>
                    <a:pt x="20959" y="17"/>
                  </a:cubicBezTo>
                  <a:cubicBezTo>
                    <a:pt x="20674" y="112"/>
                    <a:pt x="20522" y="340"/>
                    <a:pt x="20294" y="530"/>
                  </a:cubicBezTo>
                  <a:cubicBezTo>
                    <a:pt x="19856" y="987"/>
                    <a:pt x="19343" y="1367"/>
                    <a:pt x="18867" y="1766"/>
                  </a:cubicBezTo>
                  <a:cubicBezTo>
                    <a:pt x="17992" y="2508"/>
                    <a:pt x="17041" y="3155"/>
                    <a:pt x="16147" y="3859"/>
                  </a:cubicBezTo>
                  <a:cubicBezTo>
                    <a:pt x="13998" y="5533"/>
                    <a:pt x="11886" y="7206"/>
                    <a:pt x="9585" y="8671"/>
                  </a:cubicBezTo>
                  <a:cubicBezTo>
                    <a:pt x="7512" y="9964"/>
                    <a:pt x="5305" y="10896"/>
                    <a:pt x="3365" y="12399"/>
                  </a:cubicBezTo>
                  <a:cubicBezTo>
                    <a:pt x="3251" y="12496"/>
                    <a:pt x="3055" y="12704"/>
                    <a:pt x="2870" y="12704"/>
                  </a:cubicBezTo>
                  <a:cubicBezTo>
                    <a:pt x="2838" y="12704"/>
                    <a:pt x="2806" y="12698"/>
                    <a:pt x="2775" y="12684"/>
                  </a:cubicBezTo>
                  <a:cubicBezTo>
                    <a:pt x="2585" y="12608"/>
                    <a:pt x="2376" y="11943"/>
                    <a:pt x="2281" y="11714"/>
                  </a:cubicBezTo>
                  <a:cubicBezTo>
                    <a:pt x="2034" y="11163"/>
                    <a:pt x="1824" y="10592"/>
                    <a:pt x="1634" y="10021"/>
                  </a:cubicBezTo>
                  <a:cubicBezTo>
                    <a:pt x="1292" y="9051"/>
                    <a:pt x="1044" y="7929"/>
                    <a:pt x="379" y="7111"/>
                  </a:cubicBezTo>
                  <a:cubicBezTo>
                    <a:pt x="360" y="7092"/>
                    <a:pt x="324" y="7084"/>
                    <a:pt x="284" y="7084"/>
                  </a:cubicBezTo>
                  <a:cubicBezTo>
                    <a:pt x="203" y="7084"/>
                    <a:pt x="106" y="7118"/>
                    <a:pt x="93" y="7168"/>
                  </a:cubicBezTo>
                  <a:cubicBezTo>
                    <a:pt x="55" y="7187"/>
                    <a:pt x="55" y="7206"/>
                    <a:pt x="36" y="7244"/>
                  </a:cubicBezTo>
                  <a:cubicBezTo>
                    <a:pt x="0" y="7299"/>
                    <a:pt x="55" y="7323"/>
                    <a:pt x="126" y="7323"/>
                  </a:cubicBezTo>
                  <a:cubicBezTo>
                    <a:pt x="144" y="7323"/>
                    <a:pt x="162" y="7322"/>
                    <a:pt x="181" y="7319"/>
                  </a:cubicBezTo>
                  <a:lnTo>
                    <a:pt x="181" y="7319"/>
                  </a:lnTo>
                  <a:cubicBezTo>
                    <a:pt x="931" y="8325"/>
                    <a:pt x="1194" y="9779"/>
                    <a:pt x="1634" y="10915"/>
                  </a:cubicBezTo>
                  <a:cubicBezTo>
                    <a:pt x="1805" y="11372"/>
                    <a:pt x="2148" y="12875"/>
                    <a:pt x="2794" y="12913"/>
                  </a:cubicBezTo>
                  <a:cubicBezTo>
                    <a:pt x="2812" y="12914"/>
                    <a:pt x="2831" y="12915"/>
                    <a:pt x="2849" y="12915"/>
                  </a:cubicBezTo>
                  <a:cubicBezTo>
                    <a:pt x="3391" y="12915"/>
                    <a:pt x="4044" y="12123"/>
                    <a:pt x="4430" y="11828"/>
                  </a:cubicBezTo>
                  <a:cubicBezTo>
                    <a:pt x="5667" y="10915"/>
                    <a:pt x="7055" y="10326"/>
                    <a:pt x="8387" y="9565"/>
                  </a:cubicBezTo>
                  <a:cubicBezTo>
                    <a:pt x="10688" y="8253"/>
                    <a:pt x="12856" y="6674"/>
                    <a:pt x="14949" y="5019"/>
                  </a:cubicBezTo>
                  <a:cubicBezTo>
                    <a:pt x="16014" y="4201"/>
                    <a:pt x="17079" y="3383"/>
                    <a:pt x="18182" y="2584"/>
                  </a:cubicBezTo>
                  <a:cubicBezTo>
                    <a:pt x="18715" y="2204"/>
                    <a:pt x="19209" y="1766"/>
                    <a:pt x="19685" y="1348"/>
                  </a:cubicBezTo>
                  <a:cubicBezTo>
                    <a:pt x="20065" y="1006"/>
                    <a:pt x="20636" y="264"/>
                    <a:pt x="21111" y="112"/>
                  </a:cubicBezTo>
                  <a:cubicBezTo>
                    <a:pt x="21249" y="81"/>
                    <a:pt x="21165" y="1"/>
                    <a:pt x="21047"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41" name="Google Shape;2841;p67"/>
            <p:cNvSpPr/>
            <p:nvPr/>
          </p:nvSpPr>
          <p:spPr>
            <a:xfrm>
              <a:off x="3379675" y="1089375"/>
              <a:ext cx="109800" cy="41975"/>
            </a:xfrm>
            <a:custGeom>
              <a:avLst/>
              <a:gdLst/>
              <a:ahLst/>
              <a:cxnLst/>
              <a:rect l="l" t="t" r="r" b="b"/>
              <a:pathLst>
                <a:path w="4392" h="1679" extrusionOk="0">
                  <a:moveTo>
                    <a:pt x="4160" y="0"/>
                  </a:moveTo>
                  <a:cubicBezTo>
                    <a:pt x="4122" y="0"/>
                    <a:pt x="4085" y="5"/>
                    <a:pt x="4060" y="15"/>
                  </a:cubicBezTo>
                  <a:cubicBezTo>
                    <a:pt x="2843" y="700"/>
                    <a:pt x="1397" y="909"/>
                    <a:pt x="142" y="1536"/>
                  </a:cubicBezTo>
                  <a:cubicBezTo>
                    <a:pt x="0" y="1607"/>
                    <a:pt x="59" y="1678"/>
                    <a:pt x="153" y="1678"/>
                  </a:cubicBezTo>
                  <a:cubicBezTo>
                    <a:pt x="186" y="1678"/>
                    <a:pt x="222" y="1670"/>
                    <a:pt x="256" y="1651"/>
                  </a:cubicBezTo>
                  <a:cubicBezTo>
                    <a:pt x="1549" y="1042"/>
                    <a:pt x="3014" y="833"/>
                    <a:pt x="4250" y="110"/>
                  </a:cubicBezTo>
                  <a:cubicBezTo>
                    <a:pt x="4391" y="39"/>
                    <a:pt x="4271" y="0"/>
                    <a:pt x="4160"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42" name="Google Shape;2842;p67"/>
            <p:cNvSpPr/>
            <p:nvPr/>
          </p:nvSpPr>
          <p:spPr>
            <a:xfrm>
              <a:off x="3281450" y="846325"/>
              <a:ext cx="715400" cy="111750"/>
            </a:xfrm>
            <a:custGeom>
              <a:avLst/>
              <a:gdLst/>
              <a:ahLst/>
              <a:cxnLst/>
              <a:rect l="l" t="t" r="r" b="b"/>
              <a:pathLst>
                <a:path w="28616" h="4470" extrusionOk="0">
                  <a:moveTo>
                    <a:pt x="3436" y="0"/>
                  </a:moveTo>
                  <a:cubicBezTo>
                    <a:pt x="3048" y="0"/>
                    <a:pt x="2662" y="14"/>
                    <a:pt x="2283" y="55"/>
                  </a:cubicBezTo>
                  <a:cubicBezTo>
                    <a:pt x="1617" y="150"/>
                    <a:pt x="761" y="207"/>
                    <a:pt x="153" y="512"/>
                  </a:cubicBezTo>
                  <a:cubicBezTo>
                    <a:pt x="95" y="531"/>
                    <a:pt x="0" y="607"/>
                    <a:pt x="76" y="664"/>
                  </a:cubicBezTo>
                  <a:cubicBezTo>
                    <a:pt x="1332" y="1387"/>
                    <a:pt x="2435" y="2281"/>
                    <a:pt x="3614" y="3137"/>
                  </a:cubicBezTo>
                  <a:cubicBezTo>
                    <a:pt x="4014" y="3441"/>
                    <a:pt x="4451" y="3650"/>
                    <a:pt x="4908" y="3916"/>
                  </a:cubicBezTo>
                  <a:cubicBezTo>
                    <a:pt x="5250" y="4107"/>
                    <a:pt x="5497" y="4373"/>
                    <a:pt x="5897" y="4468"/>
                  </a:cubicBezTo>
                  <a:cubicBezTo>
                    <a:pt x="5902" y="4469"/>
                    <a:pt x="5909" y="4470"/>
                    <a:pt x="5915" y="4470"/>
                  </a:cubicBezTo>
                  <a:cubicBezTo>
                    <a:pt x="6022" y="4470"/>
                    <a:pt x="6248" y="4333"/>
                    <a:pt x="6087" y="4297"/>
                  </a:cubicBezTo>
                  <a:cubicBezTo>
                    <a:pt x="5611" y="4183"/>
                    <a:pt x="4832" y="3631"/>
                    <a:pt x="4432" y="3365"/>
                  </a:cubicBezTo>
                  <a:cubicBezTo>
                    <a:pt x="3785" y="2965"/>
                    <a:pt x="3215" y="2452"/>
                    <a:pt x="2644" y="1976"/>
                  </a:cubicBezTo>
                  <a:cubicBezTo>
                    <a:pt x="2188" y="1634"/>
                    <a:pt x="1712" y="1330"/>
                    <a:pt x="1237" y="1006"/>
                  </a:cubicBezTo>
                  <a:cubicBezTo>
                    <a:pt x="970" y="854"/>
                    <a:pt x="457" y="721"/>
                    <a:pt x="818" y="493"/>
                  </a:cubicBezTo>
                  <a:cubicBezTo>
                    <a:pt x="913" y="417"/>
                    <a:pt x="1161" y="436"/>
                    <a:pt x="1294" y="417"/>
                  </a:cubicBezTo>
                  <a:cubicBezTo>
                    <a:pt x="2321" y="234"/>
                    <a:pt x="3368" y="169"/>
                    <a:pt x="4423" y="169"/>
                  </a:cubicBezTo>
                  <a:cubicBezTo>
                    <a:pt x="6336" y="169"/>
                    <a:pt x="8276" y="382"/>
                    <a:pt x="10176" y="493"/>
                  </a:cubicBezTo>
                  <a:cubicBezTo>
                    <a:pt x="13125" y="626"/>
                    <a:pt x="16054" y="873"/>
                    <a:pt x="19002" y="1006"/>
                  </a:cubicBezTo>
                  <a:cubicBezTo>
                    <a:pt x="20543" y="1101"/>
                    <a:pt x="22122" y="1139"/>
                    <a:pt x="23662" y="1196"/>
                  </a:cubicBezTo>
                  <a:cubicBezTo>
                    <a:pt x="23841" y="1205"/>
                    <a:pt x="24022" y="1209"/>
                    <a:pt x="24203" y="1209"/>
                  </a:cubicBezTo>
                  <a:cubicBezTo>
                    <a:pt x="25049" y="1209"/>
                    <a:pt x="25916" y="1129"/>
                    <a:pt x="26770" y="1129"/>
                  </a:cubicBezTo>
                  <a:cubicBezTo>
                    <a:pt x="27289" y="1129"/>
                    <a:pt x="27802" y="1158"/>
                    <a:pt x="28303" y="1254"/>
                  </a:cubicBezTo>
                  <a:cubicBezTo>
                    <a:pt x="28307" y="1255"/>
                    <a:pt x="28312" y="1255"/>
                    <a:pt x="28317" y="1255"/>
                  </a:cubicBezTo>
                  <a:cubicBezTo>
                    <a:pt x="28394" y="1255"/>
                    <a:pt x="28615" y="1136"/>
                    <a:pt x="28456" y="1082"/>
                  </a:cubicBezTo>
                  <a:cubicBezTo>
                    <a:pt x="28035" y="1007"/>
                    <a:pt x="27605" y="983"/>
                    <a:pt x="27172" y="983"/>
                  </a:cubicBezTo>
                  <a:cubicBezTo>
                    <a:pt x="26509" y="983"/>
                    <a:pt x="25840" y="1040"/>
                    <a:pt x="25184" y="1063"/>
                  </a:cubicBezTo>
                  <a:cubicBezTo>
                    <a:pt x="25067" y="1065"/>
                    <a:pt x="24949" y="1066"/>
                    <a:pt x="24832" y="1066"/>
                  </a:cubicBezTo>
                  <a:cubicBezTo>
                    <a:pt x="23637" y="1066"/>
                    <a:pt x="22444" y="984"/>
                    <a:pt x="21266" y="949"/>
                  </a:cubicBezTo>
                  <a:cubicBezTo>
                    <a:pt x="18603" y="854"/>
                    <a:pt x="15940" y="702"/>
                    <a:pt x="13277" y="512"/>
                  </a:cubicBezTo>
                  <a:cubicBezTo>
                    <a:pt x="10671" y="341"/>
                    <a:pt x="8065" y="131"/>
                    <a:pt x="5478" y="55"/>
                  </a:cubicBezTo>
                  <a:cubicBezTo>
                    <a:pt x="4811" y="43"/>
                    <a:pt x="4121" y="0"/>
                    <a:pt x="3436"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2843" name="Google Shape;2843;p67"/>
          <p:cNvSpPr/>
          <p:nvPr/>
        </p:nvSpPr>
        <p:spPr>
          <a:xfrm>
            <a:off x="7662201" y="4254367"/>
            <a:ext cx="2571300" cy="1645600"/>
          </a:xfrm>
          <a:custGeom>
            <a:avLst/>
            <a:gdLst/>
            <a:ahLst/>
            <a:cxnLst/>
            <a:rect l="l" t="t" r="r" b="b"/>
            <a:pathLst>
              <a:path w="77139" h="49368" extrusionOk="0">
                <a:moveTo>
                  <a:pt x="0" y="13871"/>
                </a:moveTo>
                <a:cubicBezTo>
                  <a:pt x="2985" y="17917"/>
                  <a:pt x="9465" y="35043"/>
                  <a:pt x="17910" y="38145"/>
                </a:cubicBezTo>
                <a:cubicBezTo>
                  <a:pt x="26355" y="41247"/>
                  <a:pt x="46681" y="35033"/>
                  <a:pt x="50670" y="32485"/>
                </a:cubicBezTo>
                <a:cubicBezTo>
                  <a:pt x="54659" y="29938"/>
                  <a:pt x="45389" y="24130"/>
                  <a:pt x="41846" y="22860"/>
                </a:cubicBezTo>
                <a:cubicBezTo>
                  <a:pt x="38303" y="21590"/>
                  <a:pt x="29414" y="20855"/>
                  <a:pt x="29414" y="24865"/>
                </a:cubicBezTo>
                <a:cubicBezTo>
                  <a:pt x="29414" y="28876"/>
                  <a:pt x="36031" y="43314"/>
                  <a:pt x="41846" y="46923"/>
                </a:cubicBezTo>
                <a:cubicBezTo>
                  <a:pt x="47661" y="50533"/>
                  <a:pt x="61030" y="49931"/>
                  <a:pt x="64305" y="46522"/>
                </a:cubicBezTo>
                <a:cubicBezTo>
                  <a:pt x="67580" y="43113"/>
                  <a:pt x="59426" y="30547"/>
                  <a:pt x="61498" y="26469"/>
                </a:cubicBezTo>
                <a:cubicBezTo>
                  <a:pt x="63570" y="22392"/>
                  <a:pt x="75468" y="24998"/>
                  <a:pt x="76738" y="22057"/>
                </a:cubicBezTo>
                <a:cubicBezTo>
                  <a:pt x="78008" y="19116"/>
                  <a:pt x="69051" y="12499"/>
                  <a:pt x="69118" y="8823"/>
                </a:cubicBezTo>
                <a:cubicBezTo>
                  <a:pt x="69185" y="5147"/>
                  <a:pt x="75802" y="1471"/>
                  <a:pt x="77139" y="0"/>
                </a:cubicBezTo>
              </a:path>
            </a:pathLst>
          </a:custGeom>
          <a:noFill/>
          <a:ln w="19050" cap="flat" cmpd="sng">
            <a:solidFill>
              <a:schemeClr val="dk2"/>
            </a:solidFill>
            <a:prstDash val="dash"/>
            <a:round/>
            <a:headEnd type="none" w="med" len="med"/>
            <a:tailEnd type="none" w="med" len="med"/>
          </a:ln>
        </p:spPr>
      </p:sp>
      <p:sp>
        <p:nvSpPr>
          <p:cNvPr id="2844" name="Google Shape;2844;p67"/>
          <p:cNvSpPr/>
          <p:nvPr/>
        </p:nvSpPr>
        <p:spPr>
          <a:xfrm rot="-4499875">
            <a:off x="7560868" y="4604335"/>
            <a:ext cx="133361" cy="148000"/>
          </a:xfrm>
          <a:custGeom>
            <a:avLst/>
            <a:gdLst/>
            <a:ahLst/>
            <a:cxnLst/>
            <a:rect l="l" t="t" r="r" b="b"/>
            <a:pathLst>
              <a:path w="3830" h="6010" extrusionOk="0">
                <a:moveTo>
                  <a:pt x="2093" y="1925"/>
                </a:moveTo>
                <a:cubicBezTo>
                  <a:pt x="2176" y="1946"/>
                  <a:pt x="2281" y="2009"/>
                  <a:pt x="2365" y="2030"/>
                </a:cubicBezTo>
                <a:cubicBezTo>
                  <a:pt x="2469" y="2072"/>
                  <a:pt x="2574" y="2156"/>
                  <a:pt x="2637" y="2239"/>
                </a:cubicBezTo>
                <a:cubicBezTo>
                  <a:pt x="2720" y="2344"/>
                  <a:pt x="2804" y="2448"/>
                  <a:pt x="2846" y="2553"/>
                </a:cubicBezTo>
                <a:cubicBezTo>
                  <a:pt x="2888" y="2595"/>
                  <a:pt x="2909" y="2679"/>
                  <a:pt x="2930" y="2762"/>
                </a:cubicBezTo>
                <a:lnTo>
                  <a:pt x="2930" y="2804"/>
                </a:lnTo>
                <a:lnTo>
                  <a:pt x="2930" y="2888"/>
                </a:lnTo>
                <a:cubicBezTo>
                  <a:pt x="2930" y="2951"/>
                  <a:pt x="2909" y="2992"/>
                  <a:pt x="2909" y="3013"/>
                </a:cubicBezTo>
                <a:cubicBezTo>
                  <a:pt x="2888" y="3160"/>
                  <a:pt x="2825" y="3264"/>
                  <a:pt x="2783" y="3369"/>
                </a:cubicBezTo>
                <a:cubicBezTo>
                  <a:pt x="2637" y="3557"/>
                  <a:pt x="2511" y="3788"/>
                  <a:pt x="2323" y="3955"/>
                </a:cubicBezTo>
                <a:cubicBezTo>
                  <a:pt x="2093" y="4185"/>
                  <a:pt x="1800" y="4415"/>
                  <a:pt x="1486" y="4541"/>
                </a:cubicBezTo>
                <a:cubicBezTo>
                  <a:pt x="1363" y="4571"/>
                  <a:pt x="1229" y="4591"/>
                  <a:pt x="1093" y="4591"/>
                </a:cubicBezTo>
                <a:cubicBezTo>
                  <a:pt x="1043" y="4591"/>
                  <a:pt x="992" y="4588"/>
                  <a:pt x="942" y="4583"/>
                </a:cubicBezTo>
                <a:cubicBezTo>
                  <a:pt x="858" y="4562"/>
                  <a:pt x="816" y="4520"/>
                  <a:pt x="753" y="4457"/>
                </a:cubicBezTo>
                <a:cubicBezTo>
                  <a:pt x="733" y="4436"/>
                  <a:pt x="733" y="4415"/>
                  <a:pt x="712" y="4373"/>
                </a:cubicBezTo>
                <a:cubicBezTo>
                  <a:pt x="712" y="4353"/>
                  <a:pt x="691" y="4332"/>
                  <a:pt x="691" y="4311"/>
                </a:cubicBezTo>
                <a:cubicBezTo>
                  <a:pt x="691" y="4248"/>
                  <a:pt x="649" y="4206"/>
                  <a:pt x="649" y="4143"/>
                </a:cubicBezTo>
                <a:lnTo>
                  <a:pt x="649" y="3997"/>
                </a:lnTo>
                <a:cubicBezTo>
                  <a:pt x="649" y="3913"/>
                  <a:pt x="691" y="3850"/>
                  <a:pt x="691" y="3788"/>
                </a:cubicBezTo>
                <a:cubicBezTo>
                  <a:pt x="733" y="3599"/>
                  <a:pt x="816" y="3411"/>
                  <a:pt x="900" y="3264"/>
                </a:cubicBezTo>
                <a:cubicBezTo>
                  <a:pt x="1109" y="2930"/>
                  <a:pt x="1318" y="2637"/>
                  <a:pt x="1569" y="2344"/>
                </a:cubicBezTo>
                <a:cubicBezTo>
                  <a:pt x="1695" y="2218"/>
                  <a:pt x="1841" y="2114"/>
                  <a:pt x="1988" y="2009"/>
                </a:cubicBezTo>
                <a:cubicBezTo>
                  <a:pt x="2009" y="1967"/>
                  <a:pt x="2072" y="1946"/>
                  <a:pt x="2093" y="1925"/>
                </a:cubicBezTo>
                <a:close/>
                <a:moveTo>
                  <a:pt x="1067" y="0"/>
                </a:moveTo>
                <a:cubicBezTo>
                  <a:pt x="963" y="0"/>
                  <a:pt x="900" y="63"/>
                  <a:pt x="837" y="168"/>
                </a:cubicBezTo>
                <a:cubicBezTo>
                  <a:pt x="712" y="356"/>
                  <a:pt x="691" y="607"/>
                  <a:pt x="691" y="816"/>
                </a:cubicBezTo>
                <a:cubicBezTo>
                  <a:pt x="691" y="984"/>
                  <a:pt x="712" y="1130"/>
                  <a:pt x="753" y="1298"/>
                </a:cubicBezTo>
                <a:cubicBezTo>
                  <a:pt x="816" y="1402"/>
                  <a:pt x="858" y="1528"/>
                  <a:pt x="963" y="1570"/>
                </a:cubicBezTo>
                <a:lnTo>
                  <a:pt x="942" y="1612"/>
                </a:lnTo>
                <a:cubicBezTo>
                  <a:pt x="691" y="1946"/>
                  <a:pt x="523" y="2239"/>
                  <a:pt x="398" y="2553"/>
                </a:cubicBezTo>
                <a:cubicBezTo>
                  <a:pt x="209" y="2909"/>
                  <a:pt x="105" y="3285"/>
                  <a:pt x="63" y="3662"/>
                </a:cubicBezTo>
                <a:cubicBezTo>
                  <a:pt x="0" y="4060"/>
                  <a:pt x="21" y="4478"/>
                  <a:pt x="105" y="4855"/>
                </a:cubicBezTo>
                <a:cubicBezTo>
                  <a:pt x="168" y="5064"/>
                  <a:pt x="209" y="5294"/>
                  <a:pt x="335" y="5482"/>
                </a:cubicBezTo>
                <a:cubicBezTo>
                  <a:pt x="440" y="5629"/>
                  <a:pt x="544" y="5754"/>
                  <a:pt x="712" y="5859"/>
                </a:cubicBezTo>
                <a:cubicBezTo>
                  <a:pt x="816" y="5943"/>
                  <a:pt x="963" y="6005"/>
                  <a:pt x="1130" y="6005"/>
                </a:cubicBezTo>
                <a:cubicBezTo>
                  <a:pt x="1151" y="6008"/>
                  <a:pt x="1172" y="6010"/>
                  <a:pt x="1194" y="6010"/>
                </a:cubicBezTo>
                <a:cubicBezTo>
                  <a:pt x="1328" y="6010"/>
                  <a:pt x="1485" y="5961"/>
                  <a:pt x="1611" y="5943"/>
                </a:cubicBezTo>
                <a:cubicBezTo>
                  <a:pt x="1988" y="5859"/>
                  <a:pt x="2281" y="5650"/>
                  <a:pt x="2574" y="5420"/>
                </a:cubicBezTo>
                <a:cubicBezTo>
                  <a:pt x="2825" y="5210"/>
                  <a:pt x="3034" y="4959"/>
                  <a:pt x="3222" y="4687"/>
                </a:cubicBezTo>
                <a:cubicBezTo>
                  <a:pt x="3327" y="4541"/>
                  <a:pt x="3390" y="4373"/>
                  <a:pt x="3474" y="4227"/>
                </a:cubicBezTo>
                <a:cubicBezTo>
                  <a:pt x="3578" y="4018"/>
                  <a:pt x="3641" y="3808"/>
                  <a:pt x="3683" y="3599"/>
                </a:cubicBezTo>
                <a:cubicBezTo>
                  <a:pt x="3787" y="3181"/>
                  <a:pt x="3829" y="2762"/>
                  <a:pt x="3766" y="2323"/>
                </a:cubicBezTo>
                <a:cubicBezTo>
                  <a:pt x="3725" y="1884"/>
                  <a:pt x="3557" y="1507"/>
                  <a:pt x="3348" y="1109"/>
                </a:cubicBezTo>
                <a:cubicBezTo>
                  <a:pt x="3181" y="816"/>
                  <a:pt x="2950" y="565"/>
                  <a:pt x="2658" y="398"/>
                </a:cubicBezTo>
                <a:cubicBezTo>
                  <a:pt x="2427" y="272"/>
                  <a:pt x="2176" y="210"/>
                  <a:pt x="1904" y="147"/>
                </a:cubicBezTo>
                <a:cubicBezTo>
                  <a:pt x="1653" y="63"/>
                  <a:pt x="1360" y="42"/>
                  <a:pt x="1067"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2845" name="Google Shape;2845;p67"/>
          <p:cNvGrpSpPr/>
          <p:nvPr/>
        </p:nvGrpSpPr>
        <p:grpSpPr>
          <a:xfrm>
            <a:off x="6301025" y="3508834"/>
            <a:ext cx="207540" cy="260471"/>
            <a:chOff x="4593151" y="1545950"/>
            <a:chExt cx="155655" cy="195353"/>
          </a:xfrm>
        </p:grpSpPr>
        <p:sp>
          <p:nvSpPr>
            <p:cNvPr id="2846" name="Google Shape;2846;p67"/>
            <p:cNvSpPr/>
            <p:nvPr/>
          </p:nvSpPr>
          <p:spPr>
            <a:xfrm rot="4219280">
              <a:off x="4553816" y="1618629"/>
              <a:ext cx="189588" cy="49995"/>
            </a:xfrm>
            <a:custGeom>
              <a:avLst/>
              <a:gdLst/>
              <a:ahLst/>
              <a:cxnLst/>
              <a:rect l="l" t="t" r="r" b="b"/>
              <a:pathLst>
                <a:path w="4793" h="1658" extrusionOk="0">
                  <a:moveTo>
                    <a:pt x="3950" y="0"/>
                  </a:moveTo>
                  <a:cubicBezTo>
                    <a:pt x="3876" y="0"/>
                    <a:pt x="3797" y="14"/>
                    <a:pt x="3712" y="46"/>
                  </a:cubicBezTo>
                  <a:cubicBezTo>
                    <a:pt x="3161" y="256"/>
                    <a:pt x="2591" y="365"/>
                    <a:pt x="2014" y="365"/>
                  </a:cubicBezTo>
                  <a:cubicBezTo>
                    <a:pt x="1730" y="365"/>
                    <a:pt x="1444" y="339"/>
                    <a:pt x="1158" y="285"/>
                  </a:cubicBezTo>
                  <a:cubicBezTo>
                    <a:pt x="1107" y="275"/>
                    <a:pt x="1057" y="270"/>
                    <a:pt x="1010" y="270"/>
                  </a:cubicBezTo>
                  <a:cubicBezTo>
                    <a:pt x="280" y="270"/>
                    <a:pt x="0" y="1385"/>
                    <a:pt x="799" y="1539"/>
                  </a:cubicBezTo>
                  <a:cubicBezTo>
                    <a:pt x="1212" y="1617"/>
                    <a:pt x="1627" y="1658"/>
                    <a:pt x="2039" y="1658"/>
                  </a:cubicBezTo>
                  <a:cubicBezTo>
                    <a:pt x="2731" y="1658"/>
                    <a:pt x="3415" y="1544"/>
                    <a:pt x="4070" y="1300"/>
                  </a:cubicBezTo>
                  <a:cubicBezTo>
                    <a:pt x="4792" y="1033"/>
                    <a:pt x="4581" y="0"/>
                    <a:pt x="3950"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47" name="Google Shape;2847;p67"/>
            <p:cNvSpPr/>
            <p:nvPr/>
          </p:nvSpPr>
          <p:spPr>
            <a:xfrm rot="4219025">
              <a:off x="4640375" y="1589161"/>
              <a:ext cx="127006" cy="49999"/>
            </a:xfrm>
            <a:custGeom>
              <a:avLst/>
              <a:gdLst/>
              <a:ahLst/>
              <a:cxnLst/>
              <a:rect l="l" t="t" r="r" b="b"/>
              <a:pathLst>
                <a:path w="4793" h="1658" extrusionOk="0">
                  <a:moveTo>
                    <a:pt x="3950" y="0"/>
                  </a:moveTo>
                  <a:cubicBezTo>
                    <a:pt x="3876" y="0"/>
                    <a:pt x="3797" y="14"/>
                    <a:pt x="3712" y="46"/>
                  </a:cubicBezTo>
                  <a:cubicBezTo>
                    <a:pt x="3161" y="256"/>
                    <a:pt x="2591" y="365"/>
                    <a:pt x="2014" y="365"/>
                  </a:cubicBezTo>
                  <a:cubicBezTo>
                    <a:pt x="1730" y="365"/>
                    <a:pt x="1444" y="339"/>
                    <a:pt x="1158" y="285"/>
                  </a:cubicBezTo>
                  <a:cubicBezTo>
                    <a:pt x="1107" y="275"/>
                    <a:pt x="1057" y="270"/>
                    <a:pt x="1010" y="270"/>
                  </a:cubicBezTo>
                  <a:cubicBezTo>
                    <a:pt x="280" y="270"/>
                    <a:pt x="0" y="1385"/>
                    <a:pt x="799" y="1539"/>
                  </a:cubicBezTo>
                  <a:cubicBezTo>
                    <a:pt x="1212" y="1617"/>
                    <a:pt x="1627" y="1658"/>
                    <a:pt x="2039" y="1658"/>
                  </a:cubicBezTo>
                  <a:cubicBezTo>
                    <a:pt x="2731" y="1658"/>
                    <a:pt x="3415" y="1544"/>
                    <a:pt x="4070" y="1300"/>
                  </a:cubicBezTo>
                  <a:cubicBezTo>
                    <a:pt x="4792" y="1033"/>
                    <a:pt x="4581" y="0"/>
                    <a:pt x="3950"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848" name="Google Shape;2848;p67"/>
          <p:cNvGrpSpPr/>
          <p:nvPr/>
        </p:nvGrpSpPr>
        <p:grpSpPr>
          <a:xfrm rot="10446999" flipH="1">
            <a:off x="4060708" y="3383321"/>
            <a:ext cx="207533" cy="260463"/>
            <a:chOff x="4593151" y="1545950"/>
            <a:chExt cx="155655" cy="195353"/>
          </a:xfrm>
        </p:grpSpPr>
        <p:sp>
          <p:nvSpPr>
            <p:cNvPr id="2849" name="Google Shape;2849;p67"/>
            <p:cNvSpPr/>
            <p:nvPr/>
          </p:nvSpPr>
          <p:spPr>
            <a:xfrm rot="4219280">
              <a:off x="4553816" y="1618629"/>
              <a:ext cx="189588" cy="49995"/>
            </a:xfrm>
            <a:custGeom>
              <a:avLst/>
              <a:gdLst/>
              <a:ahLst/>
              <a:cxnLst/>
              <a:rect l="l" t="t" r="r" b="b"/>
              <a:pathLst>
                <a:path w="4793" h="1658" extrusionOk="0">
                  <a:moveTo>
                    <a:pt x="3950" y="0"/>
                  </a:moveTo>
                  <a:cubicBezTo>
                    <a:pt x="3876" y="0"/>
                    <a:pt x="3797" y="14"/>
                    <a:pt x="3712" y="46"/>
                  </a:cubicBezTo>
                  <a:cubicBezTo>
                    <a:pt x="3161" y="256"/>
                    <a:pt x="2591" y="365"/>
                    <a:pt x="2014" y="365"/>
                  </a:cubicBezTo>
                  <a:cubicBezTo>
                    <a:pt x="1730" y="365"/>
                    <a:pt x="1444" y="339"/>
                    <a:pt x="1158" y="285"/>
                  </a:cubicBezTo>
                  <a:cubicBezTo>
                    <a:pt x="1107" y="275"/>
                    <a:pt x="1057" y="270"/>
                    <a:pt x="1010" y="270"/>
                  </a:cubicBezTo>
                  <a:cubicBezTo>
                    <a:pt x="280" y="270"/>
                    <a:pt x="0" y="1385"/>
                    <a:pt x="799" y="1539"/>
                  </a:cubicBezTo>
                  <a:cubicBezTo>
                    <a:pt x="1212" y="1617"/>
                    <a:pt x="1627" y="1658"/>
                    <a:pt x="2039" y="1658"/>
                  </a:cubicBezTo>
                  <a:cubicBezTo>
                    <a:pt x="2731" y="1658"/>
                    <a:pt x="3415" y="1544"/>
                    <a:pt x="4070" y="1300"/>
                  </a:cubicBezTo>
                  <a:cubicBezTo>
                    <a:pt x="4792" y="1033"/>
                    <a:pt x="4581" y="0"/>
                    <a:pt x="3950"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50" name="Google Shape;2850;p67"/>
            <p:cNvSpPr/>
            <p:nvPr/>
          </p:nvSpPr>
          <p:spPr>
            <a:xfrm rot="4219025">
              <a:off x="4640375" y="1589161"/>
              <a:ext cx="127006" cy="49999"/>
            </a:xfrm>
            <a:custGeom>
              <a:avLst/>
              <a:gdLst/>
              <a:ahLst/>
              <a:cxnLst/>
              <a:rect l="l" t="t" r="r" b="b"/>
              <a:pathLst>
                <a:path w="4793" h="1658" extrusionOk="0">
                  <a:moveTo>
                    <a:pt x="3950" y="0"/>
                  </a:moveTo>
                  <a:cubicBezTo>
                    <a:pt x="3876" y="0"/>
                    <a:pt x="3797" y="14"/>
                    <a:pt x="3712" y="46"/>
                  </a:cubicBezTo>
                  <a:cubicBezTo>
                    <a:pt x="3161" y="256"/>
                    <a:pt x="2591" y="365"/>
                    <a:pt x="2014" y="365"/>
                  </a:cubicBezTo>
                  <a:cubicBezTo>
                    <a:pt x="1730" y="365"/>
                    <a:pt x="1444" y="339"/>
                    <a:pt x="1158" y="285"/>
                  </a:cubicBezTo>
                  <a:cubicBezTo>
                    <a:pt x="1107" y="275"/>
                    <a:pt x="1057" y="270"/>
                    <a:pt x="1010" y="270"/>
                  </a:cubicBezTo>
                  <a:cubicBezTo>
                    <a:pt x="280" y="270"/>
                    <a:pt x="0" y="1385"/>
                    <a:pt x="799" y="1539"/>
                  </a:cubicBezTo>
                  <a:cubicBezTo>
                    <a:pt x="1212" y="1617"/>
                    <a:pt x="1627" y="1658"/>
                    <a:pt x="2039" y="1658"/>
                  </a:cubicBezTo>
                  <a:cubicBezTo>
                    <a:pt x="2731" y="1658"/>
                    <a:pt x="3415" y="1544"/>
                    <a:pt x="4070" y="1300"/>
                  </a:cubicBezTo>
                  <a:cubicBezTo>
                    <a:pt x="4792" y="1033"/>
                    <a:pt x="4581" y="0"/>
                    <a:pt x="3950"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71" name="Google Shape;2783;p67">
            <a:extLst>
              <a:ext uri="{FF2B5EF4-FFF2-40B4-BE49-F238E27FC236}">
                <a16:creationId xmlns:a16="http://schemas.microsoft.com/office/drawing/2014/main" id="{33F909AB-F08B-D977-0C83-5931109BDAE1}"/>
              </a:ext>
            </a:extLst>
          </p:cNvPr>
          <p:cNvSpPr txBox="1">
            <a:spLocks/>
          </p:cNvSpPr>
          <p:nvPr/>
        </p:nvSpPr>
        <p:spPr>
          <a:xfrm flipH="1">
            <a:off x="1095327" y="5259193"/>
            <a:ext cx="2689600" cy="1737600"/>
          </a:xfrm>
          <a:prstGeom prst="rect">
            <a:avLst/>
          </a:prstGeom>
          <a:noFill/>
          <a:ln>
            <a:noFill/>
          </a:ln>
        </p:spPr>
        <p:txBody>
          <a:bodyPr spcFirstLastPara="1" wrap="square" lIns="121900" tIns="121900" rIns="121900" bIns="121900" anchor="t" anchorCtr="0">
            <a:normAutofit/>
          </a:bodyPr>
          <a:lstStyle>
            <a:defPPr marR="0" lvl="0" algn="l" rtl="0">
              <a:lnSpc>
                <a:spcPct val="100000"/>
              </a:lnSpc>
              <a:spcBef>
                <a:spcPts val="0"/>
              </a:spcBef>
              <a:spcAft>
                <a:spcPts val="0"/>
              </a:spcAft>
            </a:defPPr>
            <a:lvl1pPr marL="457200" marR="0" lvl="0" indent="-330200" algn="l" rtl="0">
              <a:lnSpc>
                <a:spcPct val="100000"/>
              </a:lnSpc>
              <a:spcBef>
                <a:spcPts val="0"/>
              </a:spcBef>
              <a:spcAft>
                <a:spcPts val="0"/>
              </a:spcAft>
              <a:buClr>
                <a:schemeClr val="dk2"/>
              </a:buClr>
              <a:buSzPts val="1000"/>
              <a:buFont typeface="Questrial"/>
              <a:buNone/>
              <a:defRPr sz="1867" b="0" i="0" u="none" strike="noStrike" cap="none">
                <a:solidFill>
                  <a:schemeClr val="dk2"/>
                </a:solidFill>
                <a:latin typeface="Questrial"/>
                <a:ea typeface="Questrial"/>
                <a:cs typeface="Questrial"/>
                <a:sym typeface="Questrial"/>
              </a:defRPr>
            </a:lvl1pPr>
            <a:lvl2pPr marL="914400" marR="0" lvl="1" indent="-330200" algn="ctr" rtl="0">
              <a:lnSpc>
                <a:spcPct val="100000"/>
              </a:lnSpc>
              <a:spcBef>
                <a:spcPts val="0"/>
              </a:spcBef>
              <a:spcAft>
                <a:spcPts val="0"/>
              </a:spcAft>
              <a:buClr>
                <a:schemeClr val="dk2"/>
              </a:buClr>
              <a:buSzPts val="1000"/>
              <a:buFont typeface="Questrial"/>
              <a:buNone/>
              <a:defRPr sz="1333" b="0" i="0" u="none" strike="noStrike" cap="none">
                <a:solidFill>
                  <a:schemeClr val="dk2"/>
                </a:solidFill>
                <a:latin typeface="Questrial"/>
                <a:ea typeface="Questrial"/>
                <a:cs typeface="Questrial"/>
                <a:sym typeface="Questrial"/>
              </a:defRPr>
            </a:lvl2pPr>
            <a:lvl3pPr marL="1371600" marR="0" lvl="2" indent="-330200" algn="ctr" rtl="0">
              <a:lnSpc>
                <a:spcPct val="100000"/>
              </a:lnSpc>
              <a:spcBef>
                <a:spcPts val="0"/>
              </a:spcBef>
              <a:spcAft>
                <a:spcPts val="0"/>
              </a:spcAft>
              <a:buClr>
                <a:schemeClr val="dk2"/>
              </a:buClr>
              <a:buSzPts val="1000"/>
              <a:buFont typeface="Questrial"/>
              <a:buNone/>
              <a:defRPr sz="1333" b="0" i="0" u="none" strike="noStrike" cap="none">
                <a:solidFill>
                  <a:schemeClr val="dk2"/>
                </a:solidFill>
                <a:latin typeface="Questrial"/>
                <a:ea typeface="Questrial"/>
                <a:cs typeface="Questrial"/>
                <a:sym typeface="Questrial"/>
              </a:defRPr>
            </a:lvl3pPr>
            <a:lvl4pPr marL="1828800" marR="0" lvl="3" indent="-330200" algn="ctr" rtl="0">
              <a:lnSpc>
                <a:spcPct val="100000"/>
              </a:lnSpc>
              <a:spcBef>
                <a:spcPts val="0"/>
              </a:spcBef>
              <a:spcAft>
                <a:spcPts val="0"/>
              </a:spcAft>
              <a:buClr>
                <a:schemeClr val="dk2"/>
              </a:buClr>
              <a:buSzPts val="1000"/>
              <a:buFont typeface="Questrial"/>
              <a:buNone/>
              <a:defRPr sz="1333" b="0" i="0" u="none" strike="noStrike" cap="none">
                <a:solidFill>
                  <a:schemeClr val="dk2"/>
                </a:solidFill>
                <a:latin typeface="Questrial"/>
                <a:ea typeface="Questrial"/>
                <a:cs typeface="Questrial"/>
                <a:sym typeface="Questrial"/>
              </a:defRPr>
            </a:lvl4pPr>
            <a:lvl5pPr marL="2286000" marR="0" lvl="4" indent="-330200" algn="ctr" rtl="0">
              <a:lnSpc>
                <a:spcPct val="100000"/>
              </a:lnSpc>
              <a:spcBef>
                <a:spcPts val="0"/>
              </a:spcBef>
              <a:spcAft>
                <a:spcPts val="0"/>
              </a:spcAft>
              <a:buClr>
                <a:schemeClr val="dk2"/>
              </a:buClr>
              <a:buSzPts val="1000"/>
              <a:buFont typeface="Questrial"/>
              <a:buNone/>
              <a:defRPr sz="1333" b="0" i="0" u="none" strike="noStrike" cap="none">
                <a:solidFill>
                  <a:schemeClr val="dk2"/>
                </a:solidFill>
                <a:latin typeface="Questrial"/>
                <a:ea typeface="Questrial"/>
                <a:cs typeface="Questrial"/>
                <a:sym typeface="Questrial"/>
              </a:defRPr>
            </a:lvl5pPr>
            <a:lvl6pPr marL="2743200" marR="0" lvl="5" indent="-330200" algn="ctr" rtl="0">
              <a:lnSpc>
                <a:spcPct val="100000"/>
              </a:lnSpc>
              <a:spcBef>
                <a:spcPts val="0"/>
              </a:spcBef>
              <a:spcAft>
                <a:spcPts val="0"/>
              </a:spcAft>
              <a:buClr>
                <a:schemeClr val="dk2"/>
              </a:buClr>
              <a:buSzPts val="1000"/>
              <a:buFont typeface="Questrial"/>
              <a:buNone/>
              <a:defRPr sz="1333" b="0" i="0" u="none" strike="noStrike" cap="none">
                <a:solidFill>
                  <a:schemeClr val="dk2"/>
                </a:solidFill>
                <a:latin typeface="Questrial"/>
                <a:ea typeface="Questrial"/>
                <a:cs typeface="Questrial"/>
                <a:sym typeface="Questrial"/>
              </a:defRPr>
            </a:lvl6pPr>
            <a:lvl7pPr marL="3200400" marR="0" lvl="6" indent="-330200" algn="ctr" rtl="0">
              <a:lnSpc>
                <a:spcPct val="100000"/>
              </a:lnSpc>
              <a:spcBef>
                <a:spcPts val="0"/>
              </a:spcBef>
              <a:spcAft>
                <a:spcPts val="0"/>
              </a:spcAft>
              <a:buClr>
                <a:schemeClr val="dk2"/>
              </a:buClr>
              <a:buSzPts val="1000"/>
              <a:buFont typeface="Questrial"/>
              <a:buNone/>
              <a:defRPr sz="1333" b="0" i="0" u="none" strike="noStrike" cap="none">
                <a:solidFill>
                  <a:schemeClr val="dk2"/>
                </a:solidFill>
                <a:latin typeface="Questrial"/>
                <a:ea typeface="Questrial"/>
                <a:cs typeface="Questrial"/>
                <a:sym typeface="Questrial"/>
              </a:defRPr>
            </a:lvl7pPr>
            <a:lvl8pPr marL="3657600" marR="0" lvl="7" indent="-330200" algn="ctr" rtl="0">
              <a:lnSpc>
                <a:spcPct val="100000"/>
              </a:lnSpc>
              <a:spcBef>
                <a:spcPts val="0"/>
              </a:spcBef>
              <a:spcAft>
                <a:spcPts val="0"/>
              </a:spcAft>
              <a:buClr>
                <a:schemeClr val="dk2"/>
              </a:buClr>
              <a:buSzPts val="1000"/>
              <a:buFont typeface="Questrial"/>
              <a:buNone/>
              <a:defRPr sz="1333" b="0" i="0" u="none" strike="noStrike" cap="none">
                <a:solidFill>
                  <a:schemeClr val="dk2"/>
                </a:solidFill>
                <a:latin typeface="Questrial"/>
                <a:ea typeface="Questrial"/>
                <a:cs typeface="Questrial"/>
                <a:sym typeface="Questrial"/>
              </a:defRPr>
            </a:lvl8pPr>
            <a:lvl9pPr marL="4114800" marR="0" lvl="8" indent="-330200" algn="ctr" rtl="0">
              <a:lnSpc>
                <a:spcPct val="100000"/>
              </a:lnSpc>
              <a:spcBef>
                <a:spcPts val="0"/>
              </a:spcBef>
              <a:spcAft>
                <a:spcPts val="0"/>
              </a:spcAft>
              <a:buClr>
                <a:schemeClr val="dk2"/>
              </a:buClr>
              <a:buSzPts val="1000"/>
              <a:buFont typeface="Questrial"/>
              <a:buNone/>
              <a:defRPr sz="1333" b="0" i="0" u="none" strike="noStrike" cap="none">
                <a:solidFill>
                  <a:schemeClr val="dk2"/>
                </a:solidFill>
                <a:latin typeface="Questrial"/>
                <a:ea typeface="Questrial"/>
                <a:cs typeface="Questrial"/>
                <a:sym typeface="Questrial"/>
              </a:defRPr>
            </a:lvl9pPr>
          </a:lstStyle>
          <a:p>
            <a:pPr marL="0" marR="0" lvl="0" indent="0" algn="l" defTabSz="914400" rtl="0" eaLnBrk="1" fontAlgn="auto" latinLnBrk="0" hangingPunct="1">
              <a:lnSpc>
                <a:spcPct val="100000"/>
              </a:lnSpc>
              <a:spcBef>
                <a:spcPts val="0"/>
              </a:spcBef>
              <a:spcAft>
                <a:spcPts val="0"/>
              </a:spcAft>
              <a:buClr>
                <a:srgbClr val="FFFFFF"/>
              </a:buClr>
              <a:buSzPts val="1000"/>
              <a:buFont typeface="Questrial"/>
              <a:buNone/>
              <a:tabLst/>
              <a:defRPr/>
            </a:pPr>
            <a:r>
              <a:rPr kumimoji="0" lang="en-US" sz="1867" b="0" i="0" u="none" strike="noStrike" kern="0" cap="none" spc="0" normalizeH="0" baseline="0" noProof="0" dirty="0">
                <a:ln>
                  <a:noFill/>
                </a:ln>
                <a:solidFill>
                  <a:srgbClr val="FFFFFF"/>
                </a:solidFill>
                <a:effectLst/>
                <a:uLnTx/>
                <a:uFillTx/>
                <a:latin typeface="Questrial"/>
                <a:ea typeface="Questrial"/>
                <a:cs typeface="Questrial"/>
                <a:sym typeface="Questrial"/>
              </a:rPr>
              <a:t>Coordinator – Software Projects</a:t>
            </a:r>
          </a:p>
        </p:txBody>
      </p:sp>
      <p:sp>
        <p:nvSpPr>
          <p:cNvPr id="72" name="Google Shape;2785;p67">
            <a:extLst>
              <a:ext uri="{FF2B5EF4-FFF2-40B4-BE49-F238E27FC236}">
                <a16:creationId xmlns:a16="http://schemas.microsoft.com/office/drawing/2014/main" id="{58612727-F94D-86B5-AA1E-AA32382F4D64}"/>
              </a:ext>
            </a:extLst>
          </p:cNvPr>
          <p:cNvSpPr txBox="1">
            <a:spLocks/>
          </p:cNvSpPr>
          <p:nvPr/>
        </p:nvSpPr>
        <p:spPr>
          <a:xfrm>
            <a:off x="1232715" y="4666798"/>
            <a:ext cx="2394514" cy="702086"/>
          </a:xfrm>
          <a:prstGeom prst="rect">
            <a:avLst/>
          </a:prstGeom>
          <a:noFill/>
          <a:ln>
            <a:noFill/>
          </a:ln>
        </p:spPr>
        <p:txBody>
          <a:bodyPr spcFirstLastPara="1" wrap="square" lIns="0" tIns="0" rIns="0" bIns="0" anchor="ctr" anchorCtr="0">
            <a:normAutofit fontScale="90000" lnSpcReduction="2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2"/>
              </a:buClr>
              <a:buSzPts val="1400"/>
              <a:buFont typeface="Gaegu"/>
              <a:buNone/>
              <a:defRPr sz="2933" b="1" i="0" u="none" strike="noStrike" cap="none">
                <a:solidFill>
                  <a:schemeClr val="dk2"/>
                </a:solidFill>
                <a:latin typeface="Gaegu"/>
                <a:ea typeface="Gaegu"/>
                <a:cs typeface="Gaegu"/>
                <a:sym typeface="Gaegu"/>
              </a:defRPr>
            </a:lvl1pPr>
            <a:lvl2pPr marR="0" lvl="1" algn="r" rtl="0">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2pPr>
            <a:lvl3pPr marR="0" lvl="2" algn="r" rtl="0">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3pPr>
            <a:lvl4pPr marR="0" lvl="3" algn="r" rtl="0">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4pPr>
            <a:lvl5pPr marR="0" lvl="4" algn="r" rtl="0">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5pPr>
            <a:lvl6pPr marR="0" lvl="5" algn="r" rtl="0">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6pPr>
            <a:lvl7pPr marR="0" lvl="6" algn="r" rtl="0">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7pPr>
            <a:lvl8pPr marR="0" lvl="7" algn="r" rtl="0">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8pPr>
            <a:lvl9pPr marR="0" lvl="8" algn="r" rtl="0">
              <a:lnSpc>
                <a:spcPct val="100000"/>
              </a:lnSpc>
              <a:spcBef>
                <a:spcPts val="0"/>
              </a:spcBef>
              <a:spcAft>
                <a:spcPts val="0"/>
              </a:spcAft>
              <a:buClr>
                <a:schemeClr val="dk1"/>
              </a:buClr>
              <a:buSzPts val="1400"/>
              <a:buFont typeface="Arial"/>
              <a:buNone/>
              <a:defRPr sz="1867" b="0" i="0" u="none" strike="noStrike" cap="none">
                <a:solidFill>
                  <a:schemeClr val="dk1"/>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FFFFFF"/>
              </a:buClr>
              <a:buSzPts val="1400"/>
              <a:buFont typeface="Gaegu"/>
              <a:buNone/>
              <a:tabLst/>
              <a:defRPr/>
            </a:pPr>
            <a:r>
              <a:rPr kumimoji="0" lang="en-IN" sz="2933" b="1" i="0" u="none" strike="noStrike" kern="0" cap="none" spc="0" normalizeH="0" baseline="0" noProof="0" dirty="0">
                <a:ln>
                  <a:noFill/>
                </a:ln>
                <a:solidFill>
                  <a:srgbClr val="FFFFFF"/>
                </a:solidFill>
                <a:effectLst/>
                <a:uLnTx/>
                <a:uFillTx/>
                <a:latin typeface="Gaegu"/>
                <a:ea typeface="Gaegu"/>
                <a:sym typeface="Gaegu"/>
              </a:rPr>
              <a:t>Asst.Prof. Nitin </a:t>
            </a:r>
            <a:r>
              <a:rPr kumimoji="0" lang="en-IN" sz="2933" b="1" i="0" u="none" strike="noStrike" kern="0" cap="none" spc="0" normalizeH="0" baseline="0" noProof="0" dirty="0" err="1">
                <a:ln>
                  <a:noFill/>
                </a:ln>
                <a:solidFill>
                  <a:srgbClr val="FFFFFF"/>
                </a:solidFill>
                <a:effectLst/>
                <a:uLnTx/>
                <a:uFillTx/>
                <a:latin typeface="Gaegu"/>
                <a:ea typeface="Gaegu"/>
                <a:sym typeface="Gaegu"/>
              </a:rPr>
              <a:t>Paharia</a:t>
            </a:r>
            <a:endParaRPr kumimoji="0" lang="en-IN" sz="2933" b="1" i="0" u="none" strike="noStrike" kern="0" cap="none" spc="0" normalizeH="0" baseline="0" noProof="0" dirty="0">
              <a:ln>
                <a:noFill/>
              </a:ln>
              <a:solidFill>
                <a:srgbClr val="FFFFFF"/>
              </a:solidFill>
              <a:effectLst/>
              <a:uLnTx/>
              <a:uFillTx/>
              <a:latin typeface="Gaegu"/>
              <a:ea typeface="Gaegu"/>
              <a:sym typeface="Gaegu"/>
            </a:endParaRPr>
          </a:p>
        </p:txBody>
      </p:sp>
      <p:grpSp>
        <p:nvGrpSpPr>
          <p:cNvPr id="73" name="Google Shape;2789;p67">
            <a:extLst>
              <a:ext uri="{FF2B5EF4-FFF2-40B4-BE49-F238E27FC236}">
                <a16:creationId xmlns:a16="http://schemas.microsoft.com/office/drawing/2014/main" id="{3CD8B965-62B4-108E-9F3D-F124C716016C}"/>
              </a:ext>
            </a:extLst>
          </p:cNvPr>
          <p:cNvGrpSpPr/>
          <p:nvPr/>
        </p:nvGrpSpPr>
        <p:grpSpPr>
          <a:xfrm flipH="1">
            <a:off x="2886066" y="5253609"/>
            <a:ext cx="801820" cy="394312"/>
            <a:chOff x="3281450" y="846325"/>
            <a:chExt cx="718525" cy="353350"/>
          </a:xfrm>
        </p:grpSpPr>
        <p:sp>
          <p:nvSpPr>
            <p:cNvPr id="74" name="Google Shape;2790;p67">
              <a:extLst>
                <a:ext uri="{FF2B5EF4-FFF2-40B4-BE49-F238E27FC236}">
                  <a16:creationId xmlns:a16="http://schemas.microsoft.com/office/drawing/2014/main" id="{24BDAC5F-B99B-393A-7305-67BC88A14EBE}"/>
                </a:ext>
              </a:extLst>
            </p:cNvPr>
            <p:cNvSpPr/>
            <p:nvPr/>
          </p:nvSpPr>
          <p:spPr>
            <a:xfrm>
              <a:off x="3377500" y="876225"/>
              <a:ext cx="622475" cy="254900"/>
            </a:xfrm>
            <a:custGeom>
              <a:avLst/>
              <a:gdLst/>
              <a:ahLst/>
              <a:cxnLst/>
              <a:rect l="l" t="t" r="r" b="b"/>
              <a:pathLst>
                <a:path w="24899" h="10196" extrusionOk="0">
                  <a:moveTo>
                    <a:pt x="24233" y="210"/>
                  </a:moveTo>
                  <a:cubicBezTo>
                    <a:pt x="24245" y="219"/>
                    <a:pt x="24256" y="226"/>
                    <a:pt x="24266" y="231"/>
                  </a:cubicBezTo>
                  <a:lnTo>
                    <a:pt x="24266" y="231"/>
                  </a:lnTo>
                  <a:cubicBezTo>
                    <a:pt x="24256" y="246"/>
                    <a:pt x="24245" y="264"/>
                    <a:pt x="24233" y="286"/>
                  </a:cubicBezTo>
                  <a:cubicBezTo>
                    <a:pt x="24119" y="552"/>
                    <a:pt x="23187" y="818"/>
                    <a:pt x="22902" y="932"/>
                  </a:cubicBezTo>
                  <a:cubicBezTo>
                    <a:pt x="22103" y="1237"/>
                    <a:pt x="21247" y="1446"/>
                    <a:pt x="20429" y="1788"/>
                  </a:cubicBezTo>
                  <a:cubicBezTo>
                    <a:pt x="18546" y="2530"/>
                    <a:pt x="16606" y="3025"/>
                    <a:pt x="14685" y="3671"/>
                  </a:cubicBezTo>
                  <a:cubicBezTo>
                    <a:pt x="12935" y="4261"/>
                    <a:pt x="11185" y="4851"/>
                    <a:pt x="9454" y="5440"/>
                  </a:cubicBezTo>
                  <a:cubicBezTo>
                    <a:pt x="8446" y="5802"/>
                    <a:pt x="7419" y="6068"/>
                    <a:pt x="6430" y="6391"/>
                  </a:cubicBezTo>
                  <a:cubicBezTo>
                    <a:pt x="5574" y="6696"/>
                    <a:pt x="4642" y="6848"/>
                    <a:pt x="3805" y="7190"/>
                  </a:cubicBezTo>
                  <a:cubicBezTo>
                    <a:pt x="3101" y="7476"/>
                    <a:pt x="2702" y="7856"/>
                    <a:pt x="2093" y="8332"/>
                  </a:cubicBezTo>
                  <a:cubicBezTo>
                    <a:pt x="1657" y="8707"/>
                    <a:pt x="1214" y="9044"/>
                    <a:pt x="787" y="9410"/>
                  </a:cubicBezTo>
                  <a:lnTo>
                    <a:pt x="787" y="9410"/>
                  </a:lnTo>
                  <a:cubicBezTo>
                    <a:pt x="904" y="8790"/>
                    <a:pt x="2062" y="4814"/>
                    <a:pt x="2150" y="4375"/>
                  </a:cubicBezTo>
                  <a:cubicBezTo>
                    <a:pt x="2207" y="4147"/>
                    <a:pt x="2226" y="3557"/>
                    <a:pt x="2435" y="3386"/>
                  </a:cubicBezTo>
                  <a:cubicBezTo>
                    <a:pt x="2587" y="3272"/>
                    <a:pt x="3386" y="3310"/>
                    <a:pt x="3538" y="3291"/>
                  </a:cubicBezTo>
                  <a:cubicBezTo>
                    <a:pt x="4337" y="3139"/>
                    <a:pt x="5098" y="2873"/>
                    <a:pt x="5878" y="2663"/>
                  </a:cubicBezTo>
                  <a:cubicBezTo>
                    <a:pt x="9834" y="1560"/>
                    <a:pt x="13924" y="1123"/>
                    <a:pt x="18013" y="723"/>
                  </a:cubicBezTo>
                  <a:cubicBezTo>
                    <a:pt x="19858" y="533"/>
                    <a:pt x="21722" y="495"/>
                    <a:pt x="23567" y="305"/>
                  </a:cubicBezTo>
                  <a:lnTo>
                    <a:pt x="24233" y="210"/>
                  </a:lnTo>
                  <a:close/>
                  <a:moveTo>
                    <a:pt x="24709" y="0"/>
                  </a:moveTo>
                  <a:cubicBezTo>
                    <a:pt x="23396" y="77"/>
                    <a:pt x="22103" y="343"/>
                    <a:pt x="20771" y="419"/>
                  </a:cubicBezTo>
                  <a:cubicBezTo>
                    <a:pt x="19497" y="457"/>
                    <a:pt x="18242" y="552"/>
                    <a:pt x="16967" y="704"/>
                  </a:cubicBezTo>
                  <a:cubicBezTo>
                    <a:pt x="14247" y="952"/>
                    <a:pt x="11565" y="1275"/>
                    <a:pt x="8902" y="1807"/>
                  </a:cubicBezTo>
                  <a:cubicBezTo>
                    <a:pt x="7552" y="2093"/>
                    <a:pt x="6239" y="2454"/>
                    <a:pt x="4908" y="2835"/>
                  </a:cubicBezTo>
                  <a:cubicBezTo>
                    <a:pt x="4090" y="3082"/>
                    <a:pt x="3367" y="3139"/>
                    <a:pt x="2530" y="3272"/>
                  </a:cubicBezTo>
                  <a:cubicBezTo>
                    <a:pt x="2505" y="3275"/>
                    <a:pt x="2481" y="3276"/>
                    <a:pt x="2459" y="3276"/>
                  </a:cubicBezTo>
                  <a:cubicBezTo>
                    <a:pt x="2413" y="3276"/>
                    <a:pt x="2373" y="3272"/>
                    <a:pt x="2333" y="3272"/>
                  </a:cubicBezTo>
                  <a:cubicBezTo>
                    <a:pt x="2274" y="3272"/>
                    <a:pt x="2216" y="3282"/>
                    <a:pt x="2150" y="3329"/>
                  </a:cubicBezTo>
                  <a:cubicBezTo>
                    <a:pt x="1903" y="3481"/>
                    <a:pt x="1903" y="3976"/>
                    <a:pt x="1865" y="4185"/>
                  </a:cubicBezTo>
                  <a:cubicBezTo>
                    <a:pt x="1712" y="4756"/>
                    <a:pt x="1598" y="5364"/>
                    <a:pt x="1465" y="5916"/>
                  </a:cubicBezTo>
                  <a:cubicBezTo>
                    <a:pt x="1142" y="7133"/>
                    <a:pt x="457" y="8408"/>
                    <a:pt x="381" y="9625"/>
                  </a:cubicBezTo>
                  <a:cubicBezTo>
                    <a:pt x="381" y="9682"/>
                    <a:pt x="419" y="9682"/>
                    <a:pt x="457" y="9701"/>
                  </a:cubicBezTo>
                  <a:cubicBezTo>
                    <a:pt x="458" y="9701"/>
                    <a:pt x="459" y="9701"/>
                    <a:pt x="461" y="9701"/>
                  </a:cubicBezTo>
                  <a:lnTo>
                    <a:pt x="461" y="9701"/>
                  </a:lnTo>
                  <a:cubicBezTo>
                    <a:pt x="330" y="9823"/>
                    <a:pt x="202" y="9949"/>
                    <a:pt x="77" y="10081"/>
                  </a:cubicBezTo>
                  <a:cubicBezTo>
                    <a:pt x="1" y="10158"/>
                    <a:pt x="58" y="10196"/>
                    <a:pt x="153" y="10196"/>
                  </a:cubicBezTo>
                  <a:lnTo>
                    <a:pt x="229" y="10196"/>
                  </a:lnTo>
                  <a:cubicBezTo>
                    <a:pt x="343" y="10196"/>
                    <a:pt x="552" y="10043"/>
                    <a:pt x="343" y="10043"/>
                  </a:cubicBezTo>
                  <a:cubicBezTo>
                    <a:pt x="666" y="10043"/>
                    <a:pt x="1180" y="9321"/>
                    <a:pt x="1389" y="9130"/>
                  </a:cubicBezTo>
                  <a:cubicBezTo>
                    <a:pt x="1750" y="8807"/>
                    <a:pt x="2169" y="8560"/>
                    <a:pt x="2530" y="8236"/>
                  </a:cubicBezTo>
                  <a:cubicBezTo>
                    <a:pt x="3519" y="7342"/>
                    <a:pt x="4623" y="7190"/>
                    <a:pt x="5859" y="6791"/>
                  </a:cubicBezTo>
                  <a:cubicBezTo>
                    <a:pt x="7932" y="6087"/>
                    <a:pt x="10044" y="5516"/>
                    <a:pt x="12079" y="4794"/>
                  </a:cubicBezTo>
                  <a:cubicBezTo>
                    <a:pt x="14418" y="3957"/>
                    <a:pt x="16777" y="3234"/>
                    <a:pt x="19116" y="2473"/>
                  </a:cubicBezTo>
                  <a:cubicBezTo>
                    <a:pt x="20163" y="2112"/>
                    <a:pt x="21209" y="1674"/>
                    <a:pt x="22255" y="1332"/>
                  </a:cubicBezTo>
                  <a:cubicBezTo>
                    <a:pt x="23168" y="1028"/>
                    <a:pt x="24024" y="685"/>
                    <a:pt x="24785" y="153"/>
                  </a:cubicBezTo>
                  <a:cubicBezTo>
                    <a:pt x="24899" y="77"/>
                    <a:pt x="24804" y="0"/>
                    <a:pt x="24709"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5" name="Google Shape;2791;p67">
              <a:extLst>
                <a:ext uri="{FF2B5EF4-FFF2-40B4-BE49-F238E27FC236}">
                  <a16:creationId xmlns:a16="http://schemas.microsoft.com/office/drawing/2014/main" id="{1F9D0E4E-8085-E803-01B1-375B59D234A3}"/>
                </a:ext>
              </a:extLst>
            </p:cNvPr>
            <p:cNvSpPr/>
            <p:nvPr/>
          </p:nvSpPr>
          <p:spPr>
            <a:xfrm>
              <a:off x="3464100" y="876775"/>
              <a:ext cx="531250" cy="322900"/>
            </a:xfrm>
            <a:custGeom>
              <a:avLst/>
              <a:gdLst/>
              <a:ahLst/>
              <a:cxnLst/>
              <a:rect l="l" t="t" r="r" b="b"/>
              <a:pathLst>
                <a:path w="21250" h="12916" extrusionOk="0">
                  <a:moveTo>
                    <a:pt x="21047" y="1"/>
                  </a:moveTo>
                  <a:cubicBezTo>
                    <a:pt x="21019" y="1"/>
                    <a:pt x="20989" y="5"/>
                    <a:pt x="20959" y="17"/>
                  </a:cubicBezTo>
                  <a:cubicBezTo>
                    <a:pt x="20674" y="112"/>
                    <a:pt x="20522" y="340"/>
                    <a:pt x="20294" y="530"/>
                  </a:cubicBezTo>
                  <a:cubicBezTo>
                    <a:pt x="19856" y="987"/>
                    <a:pt x="19343" y="1367"/>
                    <a:pt x="18867" y="1766"/>
                  </a:cubicBezTo>
                  <a:cubicBezTo>
                    <a:pt x="17992" y="2508"/>
                    <a:pt x="17041" y="3155"/>
                    <a:pt x="16147" y="3859"/>
                  </a:cubicBezTo>
                  <a:cubicBezTo>
                    <a:pt x="13998" y="5533"/>
                    <a:pt x="11886" y="7206"/>
                    <a:pt x="9585" y="8671"/>
                  </a:cubicBezTo>
                  <a:cubicBezTo>
                    <a:pt x="7512" y="9964"/>
                    <a:pt x="5305" y="10896"/>
                    <a:pt x="3365" y="12399"/>
                  </a:cubicBezTo>
                  <a:cubicBezTo>
                    <a:pt x="3251" y="12496"/>
                    <a:pt x="3055" y="12704"/>
                    <a:pt x="2870" y="12704"/>
                  </a:cubicBezTo>
                  <a:cubicBezTo>
                    <a:pt x="2838" y="12704"/>
                    <a:pt x="2806" y="12698"/>
                    <a:pt x="2775" y="12684"/>
                  </a:cubicBezTo>
                  <a:cubicBezTo>
                    <a:pt x="2585" y="12608"/>
                    <a:pt x="2376" y="11943"/>
                    <a:pt x="2281" y="11714"/>
                  </a:cubicBezTo>
                  <a:cubicBezTo>
                    <a:pt x="2034" y="11163"/>
                    <a:pt x="1824" y="10592"/>
                    <a:pt x="1634" y="10021"/>
                  </a:cubicBezTo>
                  <a:cubicBezTo>
                    <a:pt x="1292" y="9051"/>
                    <a:pt x="1044" y="7929"/>
                    <a:pt x="379" y="7111"/>
                  </a:cubicBezTo>
                  <a:cubicBezTo>
                    <a:pt x="360" y="7092"/>
                    <a:pt x="324" y="7084"/>
                    <a:pt x="284" y="7084"/>
                  </a:cubicBezTo>
                  <a:cubicBezTo>
                    <a:pt x="203" y="7084"/>
                    <a:pt x="106" y="7118"/>
                    <a:pt x="93" y="7168"/>
                  </a:cubicBezTo>
                  <a:cubicBezTo>
                    <a:pt x="55" y="7187"/>
                    <a:pt x="55" y="7206"/>
                    <a:pt x="36" y="7244"/>
                  </a:cubicBezTo>
                  <a:cubicBezTo>
                    <a:pt x="0" y="7299"/>
                    <a:pt x="55" y="7323"/>
                    <a:pt x="126" y="7323"/>
                  </a:cubicBezTo>
                  <a:cubicBezTo>
                    <a:pt x="144" y="7323"/>
                    <a:pt x="162" y="7322"/>
                    <a:pt x="181" y="7319"/>
                  </a:cubicBezTo>
                  <a:lnTo>
                    <a:pt x="181" y="7319"/>
                  </a:lnTo>
                  <a:cubicBezTo>
                    <a:pt x="931" y="8325"/>
                    <a:pt x="1194" y="9779"/>
                    <a:pt x="1634" y="10915"/>
                  </a:cubicBezTo>
                  <a:cubicBezTo>
                    <a:pt x="1805" y="11372"/>
                    <a:pt x="2148" y="12875"/>
                    <a:pt x="2794" y="12913"/>
                  </a:cubicBezTo>
                  <a:cubicBezTo>
                    <a:pt x="2812" y="12914"/>
                    <a:pt x="2831" y="12915"/>
                    <a:pt x="2849" y="12915"/>
                  </a:cubicBezTo>
                  <a:cubicBezTo>
                    <a:pt x="3391" y="12915"/>
                    <a:pt x="4044" y="12123"/>
                    <a:pt x="4430" y="11828"/>
                  </a:cubicBezTo>
                  <a:cubicBezTo>
                    <a:pt x="5667" y="10915"/>
                    <a:pt x="7055" y="10326"/>
                    <a:pt x="8387" y="9565"/>
                  </a:cubicBezTo>
                  <a:cubicBezTo>
                    <a:pt x="10688" y="8253"/>
                    <a:pt x="12856" y="6674"/>
                    <a:pt x="14949" y="5019"/>
                  </a:cubicBezTo>
                  <a:cubicBezTo>
                    <a:pt x="16014" y="4201"/>
                    <a:pt x="17079" y="3383"/>
                    <a:pt x="18182" y="2584"/>
                  </a:cubicBezTo>
                  <a:cubicBezTo>
                    <a:pt x="18715" y="2204"/>
                    <a:pt x="19209" y="1766"/>
                    <a:pt x="19685" y="1348"/>
                  </a:cubicBezTo>
                  <a:cubicBezTo>
                    <a:pt x="20065" y="1006"/>
                    <a:pt x="20636" y="264"/>
                    <a:pt x="21111" y="112"/>
                  </a:cubicBezTo>
                  <a:cubicBezTo>
                    <a:pt x="21249" y="81"/>
                    <a:pt x="21165" y="1"/>
                    <a:pt x="21047"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6" name="Google Shape;2792;p67">
              <a:extLst>
                <a:ext uri="{FF2B5EF4-FFF2-40B4-BE49-F238E27FC236}">
                  <a16:creationId xmlns:a16="http://schemas.microsoft.com/office/drawing/2014/main" id="{7A4939DA-6A6B-D9EF-1508-5BAC9C7CE28F}"/>
                </a:ext>
              </a:extLst>
            </p:cNvPr>
            <p:cNvSpPr/>
            <p:nvPr/>
          </p:nvSpPr>
          <p:spPr>
            <a:xfrm>
              <a:off x="3379675" y="1089375"/>
              <a:ext cx="109800" cy="41975"/>
            </a:xfrm>
            <a:custGeom>
              <a:avLst/>
              <a:gdLst/>
              <a:ahLst/>
              <a:cxnLst/>
              <a:rect l="l" t="t" r="r" b="b"/>
              <a:pathLst>
                <a:path w="4392" h="1679" extrusionOk="0">
                  <a:moveTo>
                    <a:pt x="4160" y="0"/>
                  </a:moveTo>
                  <a:cubicBezTo>
                    <a:pt x="4122" y="0"/>
                    <a:pt x="4085" y="5"/>
                    <a:pt x="4060" y="15"/>
                  </a:cubicBezTo>
                  <a:cubicBezTo>
                    <a:pt x="2843" y="700"/>
                    <a:pt x="1397" y="909"/>
                    <a:pt x="142" y="1536"/>
                  </a:cubicBezTo>
                  <a:cubicBezTo>
                    <a:pt x="0" y="1607"/>
                    <a:pt x="59" y="1678"/>
                    <a:pt x="153" y="1678"/>
                  </a:cubicBezTo>
                  <a:cubicBezTo>
                    <a:pt x="186" y="1678"/>
                    <a:pt x="222" y="1670"/>
                    <a:pt x="256" y="1651"/>
                  </a:cubicBezTo>
                  <a:cubicBezTo>
                    <a:pt x="1549" y="1042"/>
                    <a:pt x="3014" y="833"/>
                    <a:pt x="4250" y="110"/>
                  </a:cubicBezTo>
                  <a:cubicBezTo>
                    <a:pt x="4391" y="39"/>
                    <a:pt x="4271" y="0"/>
                    <a:pt x="4160"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7" name="Google Shape;2793;p67">
              <a:extLst>
                <a:ext uri="{FF2B5EF4-FFF2-40B4-BE49-F238E27FC236}">
                  <a16:creationId xmlns:a16="http://schemas.microsoft.com/office/drawing/2014/main" id="{B4AD3726-431A-FE1F-5241-F6CF7F77B557}"/>
                </a:ext>
              </a:extLst>
            </p:cNvPr>
            <p:cNvSpPr/>
            <p:nvPr/>
          </p:nvSpPr>
          <p:spPr>
            <a:xfrm>
              <a:off x="3281450" y="846325"/>
              <a:ext cx="715400" cy="111750"/>
            </a:xfrm>
            <a:custGeom>
              <a:avLst/>
              <a:gdLst/>
              <a:ahLst/>
              <a:cxnLst/>
              <a:rect l="l" t="t" r="r" b="b"/>
              <a:pathLst>
                <a:path w="28616" h="4470" extrusionOk="0">
                  <a:moveTo>
                    <a:pt x="3436" y="0"/>
                  </a:moveTo>
                  <a:cubicBezTo>
                    <a:pt x="3048" y="0"/>
                    <a:pt x="2662" y="14"/>
                    <a:pt x="2283" y="55"/>
                  </a:cubicBezTo>
                  <a:cubicBezTo>
                    <a:pt x="1617" y="150"/>
                    <a:pt x="761" y="207"/>
                    <a:pt x="153" y="512"/>
                  </a:cubicBezTo>
                  <a:cubicBezTo>
                    <a:pt x="95" y="531"/>
                    <a:pt x="0" y="607"/>
                    <a:pt x="76" y="664"/>
                  </a:cubicBezTo>
                  <a:cubicBezTo>
                    <a:pt x="1332" y="1387"/>
                    <a:pt x="2435" y="2281"/>
                    <a:pt x="3614" y="3137"/>
                  </a:cubicBezTo>
                  <a:cubicBezTo>
                    <a:pt x="4014" y="3441"/>
                    <a:pt x="4451" y="3650"/>
                    <a:pt x="4908" y="3916"/>
                  </a:cubicBezTo>
                  <a:cubicBezTo>
                    <a:pt x="5250" y="4107"/>
                    <a:pt x="5497" y="4373"/>
                    <a:pt x="5897" y="4468"/>
                  </a:cubicBezTo>
                  <a:cubicBezTo>
                    <a:pt x="5902" y="4469"/>
                    <a:pt x="5909" y="4470"/>
                    <a:pt x="5915" y="4470"/>
                  </a:cubicBezTo>
                  <a:cubicBezTo>
                    <a:pt x="6022" y="4470"/>
                    <a:pt x="6248" y="4333"/>
                    <a:pt x="6087" y="4297"/>
                  </a:cubicBezTo>
                  <a:cubicBezTo>
                    <a:pt x="5611" y="4183"/>
                    <a:pt x="4832" y="3631"/>
                    <a:pt x="4432" y="3365"/>
                  </a:cubicBezTo>
                  <a:cubicBezTo>
                    <a:pt x="3785" y="2965"/>
                    <a:pt x="3215" y="2452"/>
                    <a:pt x="2644" y="1976"/>
                  </a:cubicBezTo>
                  <a:cubicBezTo>
                    <a:pt x="2188" y="1634"/>
                    <a:pt x="1712" y="1330"/>
                    <a:pt x="1237" y="1006"/>
                  </a:cubicBezTo>
                  <a:cubicBezTo>
                    <a:pt x="970" y="854"/>
                    <a:pt x="457" y="721"/>
                    <a:pt x="818" y="493"/>
                  </a:cubicBezTo>
                  <a:cubicBezTo>
                    <a:pt x="913" y="417"/>
                    <a:pt x="1161" y="436"/>
                    <a:pt x="1294" y="417"/>
                  </a:cubicBezTo>
                  <a:cubicBezTo>
                    <a:pt x="2321" y="234"/>
                    <a:pt x="3368" y="169"/>
                    <a:pt x="4423" y="169"/>
                  </a:cubicBezTo>
                  <a:cubicBezTo>
                    <a:pt x="6336" y="169"/>
                    <a:pt x="8276" y="382"/>
                    <a:pt x="10176" y="493"/>
                  </a:cubicBezTo>
                  <a:cubicBezTo>
                    <a:pt x="13125" y="626"/>
                    <a:pt x="16054" y="873"/>
                    <a:pt x="19002" y="1006"/>
                  </a:cubicBezTo>
                  <a:cubicBezTo>
                    <a:pt x="20543" y="1101"/>
                    <a:pt x="22122" y="1139"/>
                    <a:pt x="23662" y="1196"/>
                  </a:cubicBezTo>
                  <a:cubicBezTo>
                    <a:pt x="23841" y="1205"/>
                    <a:pt x="24022" y="1209"/>
                    <a:pt x="24203" y="1209"/>
                  </a:cubicBezTo>
                  <a:cubicBezTo>
                    <a:pt x="25049" y="1209"/>
                    <a:pt x="25916" y="1129"/>
                    <a:pt x="26770" y="1129"/>
                  </a:cubicBezTo>
                  <a:cubicBezTo>
                    <a:pt x="27289" y="1129"/>
                    <a:pt x="27802" y="1158"/>
                    <a:pt x="28303" y="1254"/>
                  </a:cubicBezTo>
                  <a:cubicBezTo>
                    <a:pt x="28307" y="1255"/>
                    <a:pt x="28312" y="1255"/>
                    <a:pt x="28317" y="1255"/>
                  </a:cubicBezTo>
                  <a:cubicBezTo>
                    <a:pt x="28394" y="1255"/>
                    <a:pt x="28615" y="1136"/>
                    <a:pt x="28456" y="1082"/>
                  </a:cubicBezTo>
                  <a:cubicBezTo>
                    <a:pt x="28035" y="1007"/>
                    <a:pt x="27605" y="983"/>
                    <a:pt x="27172" y="983"/>
                  </a:cubicBezTo>
                  <a:cubicBezTo>
                    <a:pt x="26509" y="983"/>
                    <a:pt x="25840" y="1040"/>
                    <a:pt x="25184" y="1063"/>
                  </a:cubicBezTo>
                  <a:cubicBezTo>
                    <a:pt x="25067" y="1065"/>
                    <a:pt x="24949" y="1066"/>
                    <a:pt x="24832" y="1066"/>
                  </a:cubicBezTo>
                  <a:cubicBezTo>
                    <a:pt x="23637" y="1066"/>
                    <a:pt x="22444" y="984"/>
                    <a:pt x="21266" y="949"/>
                  </a:cubicBezTo>
                  <a:cubicBezTo>
                    <a:pt x="18603" y="854"/>
                    <a:pt x="15940" y="702"/>
                    <a:pt x="13277" y="512"/>
                  </a:cubicBezTo>
                  <a:cubicBezTo>
                    <a:pt x="10671" y="341"/>
                    <a:pt x="8065" y="131"/>
                    <a:pt x="5478" y="55"/>
                  </a:cubicBezTo>
                  <a:cubicBezTo>
                    <a:pt x="4811" y="43"/>
                    <a:pt x="4121" y="0"/>
                    <a:pt x="3436"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cxnSp>
        <p:nvCxnSpPr>
          <p:cNvPr id="3" name="Connector: Curved 2">
            <a:extLst>
              <a:ext uri="{FF2B5EF4-FFF2-40B4-BE49-F238E27FC236}">
                <a16:creationId xmlns:a16="http://schemas.microsoft.com/office/drawing/2014/main" id="{DD461338-A1D1-0B33-C027-7A9E5175CBA7}"/>
              </a:ext>
            </a:extLst>
          </p:cNvPr>
          <p:cNvCxnSpPr/>
          <p:nvPr/>
        </p:nvCxnSpPr>
        <p:spPr>
          <a:xfrm flipV="1">
            <a:off x="3627229" y="5017841"/>
            <a:ext cx="2389725" cy="553583"/>
          </a:xfrm>
          <a:prstGeom prst="curvedConnector3">
            <a:avLst/>
          </a:prstGeom>
          <a:ln w="1905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81" name="Google Shape;2795;p67">
            <a:extLst>
              <a:ext uri="{FF2B5EF4-FFF2-40B4-BE49-F238E27FC236}">
                <a16:creationId xmlns:a16="http://schemas.microsoft.com/office/drawing/2014/main" id="{6FD3B0BF-1733-EAA7-53C9-14750580EF1F}"/>
              </a:ext>
            </a:extLst>
          </p:cNvPr>
          <p:cNvSpPr/>
          <p:nvPr/>
        </p:nvSpPr>
        <p:spPr>
          <a:xfrm>
            <a:off x="5855407" y="4957832"/>
            <a:ext cx="133360" cy="148007"/>
          </a:xfrm>
          <a:custGeom>
            <a:avLst/>
            <a:gdLst/>
            <a:ahLst/>
            <a:cxnLst/>
            <a:rect l="l" t="t" r="r" b="b"/>
            <a:pathLst>
              <a:path w="3830" h="6010" extrusionOk="0">
                <a:moveTo>
                  <a:pt x="2093" y="1925"/>
                </a:moveTo>
                <a:cubicBezTo>
                  <a:pt x="2176" y="1946"/>
                  <a:pt x="2281" y="2009"/>
                  <a:pt x="2365" y="2030"/>
                </a:cubicBezTo>
                <a:cubicBezTo>
                  <a:pt x="2469" y="2072"/>
                  <a:pt x="2574" y="2156"/>
                  <a:pt x="2637" y="2239"/>
                </a:cubicBezTo>
                <a:cubicBezTo>
                  <a:pt x="2720" y="2344"/>
                  <a:pt x="2804" y="2448"/>
                  <a:pt x="2846" y="2553"/>
                </a:cubicBezTo>
                <a:cubicBezTo>
                  <a:pt x="2888" y="2595"/>
                  <a:pt x="2909" y="2679"/>
                  <a:pt x="2930" y="2762"/>
                </a:cubicBezTo>
                <a:lnTo>
                  <a:pt x="2930" y="2804"/>
                </a:lnTo>
                <a:lnTo>
                  <a:pt x="2930" y="2888"/>
                </a:lnTo>
                <a:cubicBezTo>
                  <a:pt x="2930" y="2951"/>
                  <a:pt x="2909" y="2992"/>
                  <a:pt x="2909" y="3013"/>
                </a:cubicBezTo>
                <a:cubicBezTo>
                  <a:pt x="2888" y="3160"/>
                  <a:pt x="2825" y="3264"/>
                  <a:pt x="2783" y="3369"/>
                </a:cubicBezTo>
                <a:cubicBezTo>
                  <a:pt x="2637" y="3557"/>
                  <a:pt x="2511" y="3788"/>
                  <a:pt x="2323" y="3955"/>
                </a:cubicBezTo>
                <a:cubicBezTo>
                  <a:pt x="2093" y="4185"/>
                  <a:pt x="1800" y="4415"/>
                  <a:pt x="1486" y="4541"/>
                </a:cubicBezTo>
                <a:cubicBezTo>
                  <a:pt x="1363" y="4571"/>
                  <a:pt x="1229" y="4591"/>
                  <a:pt x="1093" y="4591"/>
                </a:cubicBezTo>
                <a:cubicBezTo>
                  <a:pt x="1043" y="4591"/>
                  <a:pt x="992" y="4588"/>
                  <a:pt x="942" y="4583"/>
                </a:cubicBezTo>
                <a:cubicBezTo>
                  <a:pt x="858" y="4562"/>
                  <a:pt x="816" y="4520"/>
                  <a:pt x="753" y="4457"/>
                </a:cubicBezTo>
                <a:cubicBezTo>
                  <a:pt x="733" y="4436"/>
                  <a:pt x="733" y="4415"/>
                  <a:pt x="712" y="4373"/>
                </a:cubicBezTo>
                <a:cubicBezTo>
                  <a:pt x="712" y="4353"/>
                  <a:pt x="691" y="4332"/>
                  <a:pt x="691" y="4311"/>
                </a:cubicBezTo>
                <a:cubicBezTo>
                  <a:pt x="691" y="4248"/>
                  <a:pt x="649" y="4206"/>
                  <a:pt x="649" y="4143"/>
                </a:cubicBezTo>
                <a:lnTo>
                  <a:pt x="649" y="3997"/>
                </a:lnTo>
                <a:cubicBezTo>
                  <a:pt x="649" y="3913"/>
                  <a:pt x="691" y="3850"/>
                  <a:pt x="691" y="3788"/>
                </a:cubicBezTo>
                <a:cubicBezTo>
                  <a:pt x="733" y="3599"/>
                  <a:pt x="816" y="3411"/>
                  <a:pt x="900" y="3264"/>
                </a:cubicBezTo>
                <a:cubicBezTo>
                  <a:pt x="1109" y="2930"/>
                  <a:pt x="1318" y="2637"/>
                  <a:pt x="1569" y="2344"/>
                </a:cubicBezTo>
                <a:cubicBezTo>
                  <a:pt x="1695" y="2218"/>
                  <a:pt x="1841" y="2114"/>
                  <a:pt x="1988" y="2009"/>
                </a:cubicBezTo>
                <a:cubicBezTo>
                  <a:pt x="2009" y="1967"/>
                  <a:pt x="2072" y="1946"/>
                  <a:pt x="2093" y="1925"/>
                </a:cubicBezTo>
                <a:close/>
                <a:moveTo>
                  <a:pt x="1067" y="0"/>
                </a:moveTo>
                <a:cubicBezTo>
                  <a:pt x="963" y="0"/>
                  <a:pt x="900" y="63"/>
                  <a:pt x="837" y="168"/>
                </a:cubicBezTo>
                <a:cubicBezTo>
                  <a:pt x="712" y="356"/>
                  <a:pt x="691" y="607"/>
                  <a:pt x="691" y="816"/>
                </a:cubicBezTo>
                <a:cubicBezTo>
                  <a:pt x="691" y="984"/>
                  <a:pt x="712" y="1130"/>
                  <a:pt x="753" y="1298"/>
                </a:cubicBezTo>
                <a:cubicBezTo>
                  <a:pt x="816" y="1402"/>
                  <a:pt x="858" y="1528"/>
                  <a:pt x="963" y="1570"/>
                </a:cubicBezTo>
                <a:lnTo>
                  <a:pt x="942" y="1612"/>
                </a:lnTo>
                <a:cubicBezTo>
                  <a:pt x="691" y="1946"/>
                  <a:pt x="523" y="2239"/>
                  <a:pt x="398" y="2553"/>
                </a:cubicBezTo>
                <a:cubicBezTo>
                  <a:pt x="209" y="2909"/>
                  <a:pt x="105" y="3285"/>
                  <a:pt x="63" y="3662"/>
                </a:cubicBezTo>
                <a:cubicBezTo>
                  <a:pt x="0" y="4060"/>
                  <a:pt x="21" y="4478"/>
                  <a:pt x="105" y="4855"/>
                </a:cubicBezTo>
                <a:cubicBezTo>
                  <a:pt x="168" y="5064"/>
                  <a:pt x="209" y="5294"/>
                  <a:pt x="335" y="5482"/>
                </a:cubicBezTo>
                <a:cubicBezTo>
                  <a:pt x="440" y="5629"/>
                  <a:pt x="544" y="5754"/>
                  <a:pt x="712" y="5859"/>
                </a:cubicBezTo>
                <a:cubicBezTo>
                  <a:pt x="816" y="5943"/>
                  <a:pt x="963" y="6005"/>
                  <a:pt x="1130" y="6005"/>
                </a:cubicBezTo>
                <a:cubicBezTo>
                  <a:pt x="1151" y="6008"/>
                  <a:pt x="1172" y="6010"/>
                  <a:pt x="1194" y="6010"/>
                </a:cubicBezTo>
                <a:cubicBezTo>
                  <a:pt x="1328" y="6010"/>
                  <a:pt x="1485" y="5961"/>
                  <a:pt x="1611" y="5943"/>
                </a:cubicBezTo>
                <a:cubicBezTo>
                  <a:pt x="1988" y="5859"/>
                  <a:pt x="2281" y="5650"/>
                  <a:pt x="2574" y="5420"/>
                </a:cubicBezTo>
                <a:cubicBezTo>
                  <a:pt x="2825" y="5210"/>
                  <a:pt x="3034" y="4959"/>
                  <a:pt x="3222" y="4687"/>
                </a:cubicBezTo>
                <a:cubicBezTo>
                  <a:pt x="3327" y="4541"/>
                  <a:pt x="3390" y="4373"/>
                  <a:pt x="3474" y="4227"/>
                </a:cubicBezTo>
                <a:cubicBezTo>
                  <a:pt x="3578" y="4018"/>
                  <a:pt x="3641" y="3808"/>
                  <a:pt x="3683" y="3599"/>
                </a:cubicBezTo>
                <a:cubicBezTo>
                  <a:pt x="3787" y="3181"/>
                  <a:pt x="3829" y="2762"/>
                  <a:pt x="3766" y="2323"/>
                </a:cubicBezTo>
                <a:cubicBezTo>
                  <a:pt x="3725" y="1884"/>
                  <a:pt x="3557" y="1507"/>
                  <a:pt x="3348" y="1109"/>
                </a:cubicBezTo>
                <a:cubicBezTo>
                  <a:pt x="3181" y="816"/>
                  <a:pt x="2950" y="565"/>
                  <a:pt x="2658" y="398"/>
                </a:cubicBezTo>
                <a:cubicBezTo>
                  <a:pt x="2427" y="272"/>
                  <a:pt x="2176" y="210"/>
                  <a:pt x="1904" y="147"/>
                </a:cubicBezTo>
                <a:cubicBezTo>
                  <a:pt x="1653" y="63"/>
                  <a:pt x="1360" y="42"/>
                  <a:pt x="1067"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2101"/>
        <p:cNvGrpSpPr/>
        <p:nvPr/>
      </p:nvGrpSpPr>
      <p:grpSpPr>
        <a:xfrm>
          <a:off x="0" y="0"/>
          <a:ext cx="0" cy="0"/>
          <a:chOff x="0" y="0"/>
          <a:chExt cx="0" cy="0"/>
        </a:xfrm>
      </p:grpSpPr>
      <p:sp>
        <p:nvSpPr>
          <p:cNvPr id="2102" name="Google Shape;2102;p51"/>
          <p:cNvSpPr txBox="1">
            <a:spLocks noGrp="1"/>
          </p:cNvSpPr>
          <p:nvPr>
            <p:ph type="ctrTitle"/>
          </p:nvPr>
        </p:nvSpPr>
        <p:spPr>
          <a:xfrm flipH="1">
            <a:off x="6606188" y="4135869"/>
            <a:ext cx="2927200" cy="770400"/>
          </a:xfrm>
          <a:prstGeom prst="rect">
            <a:avLst/>
          </a:prstGeom>
        </p:spPr>
        <p:txBody>
          <a:bodyPr spcFirstLastPara="1" wrap="square" lIns="121900" tIns="121900" rIns="121900" bIns="121900" anchor="b" anchorCtr="0">
            <a:normAutofit/>
          </a:bodyPr>
          <a:lstStyle/>
          <a:p>
            <a:r>
              <a:rPr lang="en" dirty="0"/>
              <a:t>RaVi KisHan</a:t>
            </a:r>
            <a:endParaRPr dirty="0"/>
          </a:p>
        </p:txBody>
      </p:sp>
      <p:sp>
        <p:nvSpPr>
          <p:cNvPr id="2103" name="Google Shape;2103;p51"/>
          <p:cNvSpPr txBox="1">
            <a:spLocks noGrp="1"/>
          </p:cNvSpPr>
          <p:nvPr>
            <p:ph type="subTitle" idx="1"/>
          </p:nvPr>
        </p:nvSpPr>
        <p:spPr>
          <a:xfrm flipH="1">
            <a:off x="6782612" y="4783222"/>
            <a:ext cx="2574400" cy="1296800"/>
          </a:xfrm>
          <a:prstGeom prst="rect">
            <a:avLst/>
          </a:prstGeom>
        </p:spPr>
        <p:txBody>
          <a:bodyPr spcFirstLastPara="1" wrap="square" lIns="121900" tIns="121900" rIns="121900" bIns="121900" anchor="t" anchorCtr="0">
            <a:normAutofit/>
          </a:bodyPr>
          <a:lstStyle/>
          <a:p>
            <a:pPr marL="0" indent="0"/>
            <a:r>
              <a:rPr lang="en" dirty="0"/>
              <a:t>BCA </a:t>
            </a:r>
          </a:p>
          <a:p>
            <a:pPr marL="0" indent="0"/>
            <a:r>
              <a:rPr lang="en" dirty="0"/>
              <a:t>3 SEM</a:t>
            </a:r>
          </a:p>
          <a:p>
            <a:pPr marL="0" indent="0"/>
            <a:r>
              <a:rPr lang="en" dirty="0"/>
              <a:t>SEC A</a:t>
            </a:r>
          </a:p>
          <a:p>
            <a:pPr marL="0" indent="0"/>
            <a:endParaRPr dirty="0"/>
          </a:p>
        </p:txBody>
      </p:sp>
      <p:sp>
        <p:nvSpPr>
          <p:cNvPr id="2104" name="Google Shape;2104;p51"/>
          <p:cNvSpPr txBox="1">
            <a:spLocks noGrp="1"/>
          </p:cNvSpPr>
          <p:nvPr>
            <p:ph type="ctrTitle" idx="2"/>
          </p:nvPr>
        </p:nvSpPr>
        <p:spPr>
          <a:xfrm flipH="1">
            <a:off x="588918" y="3982481"/>
            <a:ext cx="3086319" cy="859357"/>
          </a:xfrm>
          <a:prstGeom prst="rect">
            <a:avLst/>
          </a:prstGeom>
        </p:spPr>
        <p:txBody>
          <a:bodyPr spcFirstLastPara="1" wrap="square" lIns="121900" tIns="121900" rIns="121900" bIns="121900" anchor="b" anchorCtr="0">
            <a:normAutofit/>
          </a:bodyPr>
          <a:lstStyle/>
          <a:p>
            <a:r>
              <a:rPr lang="en-US" dirty="0" err="1"/>
              <a:t>Divya</a:t>
            </a:r>
            <a:endParaRPr dirty="0"/>
          </a:p>
        </p:txBody>
      </p:sp>
      <p:sp>
        <p:nvSpPr>
          <p:cNvPr id="2106" name="Google Shape;2106;p51"/>
          <p:cNvSpPr txBox="1">
            <a:spLocks noGrp="1"/>
          </p:cNvSpPr>
          <p:nvPr>
            <p:ph type="ctrTitle" idx="4"/>
          </p:nvPr>
        </p:nvSpPr>
        <p:spPr>
          <a:xfrm flipH="1">
            <a:off x="3507962" y="4110125"/>
            <a:ext cx="2927200" cy="770400"/>
          </a:xfrm>
          <a:prstGeom prst="rect">
            <a:avLst/>
          </a:prstGeom>
        </p:spPr>
        <p:txBody>
          <a:bodyPr spcFirstLastPara="1" wrap="square" lIns="121900" tIns="121900" rIns="121900" bIns="121900" anchor="b" anchorCtr="0">
            <a:normAutofit/>
          </a:bodyPr>
          <a:lstStyle/>
          <a:p>
            <a:r>
              <a:rPr lang="en-US" dirty="0"/>
              <a:t>Pawan Gupta</a:t>
            </a:r>
            <a:endParaRPr dirty="0"/>
          </a:p>
        </p:txBody>
      </p:sp>
      <p:sp>
        <p:nvSpPr>
          <p:cNvPr id="2108" name="Google Shape;2108;p51"/>
          <p:cNvSpPr txBox="1">
            <a:spLocks noGrp="1"/>
          </p:cNvSpPr>
          <p:nvPr>
            <p:ph type="title" idx="6"/>
          </p:nvPr>
        </p:nvSpPr>
        <p:spPr>
          <a:xfrm>
            <a:off x="831200" y="593367"/>
            <a:ext cx="10400800" cy="1880504"/>
          </a:xfrm>
          <a:prstGeom prst="rect">
            <a:avLst/>
          </a:prstGeom>
        </p:spPr>
        <p:txBody>
          <a:bodyPr spcFirstLastPara="1" wrap="square" lIns="121900" tIns="121900" rIns="121900" bIns="121900" anchor="t" anchorCtr="0">
            <a:noAutofit/>
          </a:bodyPr>
          <a:lstStyle/>
          <a:p>
            <a:r>
              <a:rPr lang="en" dirty="0"/>
              <a:t>Your mad team, why?</a:t>
            </a:r>
            <a:endParaRPr dirty="0"/>
          </a:p>
        </p:txBody>
      </p:sp>
      <p:sp>
        <p:nvSpPr>
          <p:cNvPr id="2112" name="Google Shape;2112;p51"/>
          <p:cNvSpPr/>
          <p:nvPr/>
        </p:nvSpPr>
        <p:spPr>
          <a:xfrm>
            <a:off x="6973728" y="2085672"/>
            <a:ext cx="2192120" cy="2231959"/>
          </a:xfrm>
          <a:custGeom>
            <a:avLst/>
            <a:gdLst/>
            <a:ahLst/>
            <a:cxnLst/>
            <a:rect l="l" t="t" r="r" b="b"/>
            <a:pathLst>
              <a:path w="30538" h="31093" extrusionOk="0">
                <a:moveTo>
                  <a:pt x="30427" y="15787"/>
                </a:moveTo>
                <a:cubicBezTo>
                  <a:pt x="30427" y="15011"/>
                  <a:pt x="30279" y="14234"/>
                  <a:pt x="30316" y="13643"/>
                </a:cubicBezTo>
                <a:lnTo>
                  <a:pt x="30279" y="13384"/>
                </a:lnTo>
                <a:cubicBezTo>
                  <a:pt x="30242" y="12940"/>
                  <a:pt x="29946" y="12349"/>
                  <a:pt x="30057" y="12016"/>
                </a:cubicBezTo>
                <a:cubicBezTo>
                  <a:pt x="29761" y="11424"/>
                  <a:pt x="29909" y="11092"/>
                  <a:pt x="29614" y="10537"/>
                </a:cubicBezTo>
                <a:cubicBezTo>
                  <a:pt x="29540" y="10315"/>
                  <a:pt x="29429" y="10056"/>
                  <a:pt x="29318" y="9835"/>
                </a:cubicBezTo>
                <a:lnTo>
                  <a:pt x="29244" y="9687"/>
                </a:lnTo>
                <a:cubicBezTo>
                  <a:pt x="28948" y="9132"/>
                  <a:pt x="28874" y="8762"/>
                  <a:pt x="28615" y="8282"/>
                </a:cubicBezTo>
                <a:cubicBezTo>
                  <a:pt x="28246" y="7912"/>
                  <a:pt x="28394" y="7247"/>
                  <a:pt x="27913" y="7210"/>
                </a:cubicBezTo>
                <a:lnTo>
                  <a:pt x="27691" y="6877"/>
                </a:lnTo>
                <a:cubicBezTo>
                  <a:pt x="27691" y="6655"/>
                  <a:pt x="27211" y="5953"/>
                  <a:pt x="27137" y="5990"/>
                </a:cubicBezTo>
                <a:cubicBezTo>
                  <a:pt x="26767" y="5657"/>
                  <a:pt x="26804" y="5435"/>
                  <a:pt x="26471" y="5176"/>
                </a:cubicBezTo>
                <a:lnTo>
                  <a:pt x="26397" y="5065"/>
                </a:lnTo>
                <a:cubicBezTo>
                  <a:pt x="26027" y="4696"/>
                  <a:pt x="25658" y="4326"/>
                  <a:pt x="25214" y="4030"/>
                </a:cubicBezTo>
                <a:cubicBezTo>
                  <a:pt x="25140" y="3919"/>
                  <a:pt x="25029" y="3845"/>
                  <a:pt x="24918" y="3771"/>
                </a:cubicBezTo>
                <a:cubicBezTo>
                  <a:pt x="24770" y="3365"/>
                  <a:pt x="24216" y="3328"/>
                  <a:pt x="24031" y="2995"/>
                </a:cubicBezTo>
                <a:cubicBezTo>
                  <a:pt x="23661" y="2773"/>
                  <a:pt x="23292" y="2551"/>
                  <a:pt x="22922" y="2367"/>
                </a:cubicBezTo>
                <a:lnTo>
                  <a:pt x="22441" y="2108"/>
                </a:lnTo>
                <a:lnTo>
                  <a:pt x="22072" y="1923"/>
                </a:lnTo>
                <a:cubicBezTo>
                  <a:pt x="21776" y="1553"/>
                  <a:pt x="21036" y="1368"/>
                  <a:pt x="20408" y="1146"/>
                </a:cubicBezTo>
                <a:cubicBezTo>
                  <a:pt x="20223" y="1110"/>
                  <a:pt x="20001" y="999"/>
                  <a:pt x="19816" y="962"/>
                </a:cubicBezTo>
                <a:lnTo>
                  <a:pt x="19668" y="925"/>
                </a:lnTo>
                <a:cubicBezTo>
                  <a:pt x="19262" y="777"/>
                  <a:pt x="18855" y="703"/>
                  <a:pt x="18448" y="592"/>
                </a:cubicBezTo>
                <a:cubicBezTo>
                  <a:pt x="18448" y="444"/>
                  <a:pt x="18264" y="444"/>
                  <a:pt x="18079" y="407"/>
                </a:cubicBezTo>
                <a:cubicBezTo>
                  <a:pt x="17820" y="370"/>
                  <a:pt x="17635" y="370"/>
                  <a:pt x="17413" y="333"/>
                </a:cubicBezTo>
                <a:lnTo>
                  <a:pt x="17265" y="333"/>
                </a:lnTo>
                <a:cubicBezTo>
                  <a:pt x="16711" y="222"/>
                  <a:pt x="16526" y="37"/>
                  <a:pt x="16119" y="222"/>
                </a:cubicBezTo>
                <a:cubicBezTo>
                  <a:pt x="15602" y="222"/>
                  <a:pt x="15380" y="0"/>
                  <a:pt x="14825" y="74"/>
                </a:cubicBezTo>
                <a:lnTo>
                  <a:pt x="14714" y="74"/>
                </a:lnTo>
                <a:cubicBezTo>
                  <a:pt x="14234" y="148"/>
                  <a:pt x="13864" y="74"/>
                  <a:pt x="13494" y="37"/>
                </a:cubicBezTo>
                <a:lnTo>
                  <a:pt x="13494" y="148"/>
                </a:lnTo>
                <a:cubicBezTo>
                  <a:pt x="13162" y="74"/>
                  <a:pt x="12903" y="37"/>
                  <a:pt x="12422" y="148"/>
                </a:cubicBezTo>
                <a:cubicBezTo>
                  <a:pt x="11979" y="148"/>
                  <a:pt x="11942" y="407"/>
                  <a:pt x="11646" y="259"/>
                </a:cubicBezTo>
                <a:lnTo>
                  <a:pt x="11498" y="333"/>
                </a:lnTo>
                <a:cubicBezTo>
                  <a:pt x="11091" y="407"/>
                  <a:pt x="10685" y="518"/>
                  <a:pt x="10241" y="629"/>
                </a:cubicBezTo>
                <a:cubicBezTo>
                  <a:pt x="10204" y="555"/>
                  <a:pt x="10130" y="555"/>
                  <a:pt x="9982" y="592"/>
                </a:cubicBezTo>
                <a:cubicBezTo>
                  <a:pt x="9243" y="814"/>
                  <a:pt x="8540" y="1073"/>
                  <a:pt x="8245" y="1110"/>
                </a:cubicBezTo>
                <a:cubicBezTo>
                  <a:pt x="7764" y="1331"/>
                  <a:pt x="7357" y="1479"/>
                  <a:pt x="6988" y="1553"/>
                </a:cubicBezTo>
                <a:lnTo>
                  <a:pt x="6618" y="1738"/>
                </a:lnTo>
                <a:cubicBezTo>
                  <a:pt x="6359" y="1886"/>
                  <a:pt x="6137" y="1997"/>
                  <a:pt x="5915" y="2108"/>
                </a:cubicBezTo>
                <a:cubicBezTo>
                  <a:pt x="5878" y="2071"/>
                  <a:pt x="5768" y="2071"/>
                  <a:pt x="5620" y="2182"/>
                </a:cubicBezTo>
                <a:cubicBezTo>
                  <a:pt x="4510" y="2847"/>
                  <a:pt x="3586" y="3291"/>
                  <a:pt x="2625" y="4141"/>
                </a:cubicBezTo>
                <a:cubicBezTo>
                  <a:pt x="2403" y="4215"/>
                  <a:pt x="1664" y="4585"/>
                  <a:pt x="1701" y="4770"/>
                </a:cubicBezTo>
                <a:lnTo>
                  <a:pt x="1627" y="4844"/>
                </a:lnTo>
                <a:lnTo>
                  <a:pt x="1331" y="5139"/>
                </a:lnTo>
                <a:cubicBezTo>
                  <a:pt x="961" y="5583"/>
                  <a:pt x="776" y="5213"/>
                  <a:pt x="629" y="5768"/>
                </a:cubicBezTo>
                <a:cubicBezTo>
                  <a:pt x="370" y="6101"/>
                  <a:pt x="74" y="6101"/>
                  <a:pt x="222" y="6470"/>
                </a:cubicBezTo>
                <a:cubicBezTo>
                  <a:pt x="37" y="6655"/>
                  <a:pt x="148" y="6803"/>
                  <a:pt x="0" y="6988"/>
                </a:cubicBezTo>
                <a:cubicBezTo>
                  <a:pt x="74" y="7579"/>
                  <a:pt x="222" y="7727"/>
                  <a:pt x="592" y="7653"/>
                </a:cubicBezTo>
                <a:cubicBezTo>
                  <a:pt x="518" y="7395"/>
                  <a:pt x="1738" y="7210"/>
                  <a:pt x="1664" y="6618"/>
                </a:cubicBezTo>
                <a:lnTo>
                  <a:pt x="1886" y="6322"/>
                </a:lnTo>
                <a:cubicBezTo>
                  <a:pt x="2255" y="6064"/>
                  <a:pt x="2625" y="5768"/>
                  <a:pt x="2995" y="5324"/>
                </a:cubicBezTo>
                <a:cubicBezTo>
                  <a:pt x="3180" y="5139"/>
                  <a:pt x="3401" y="4881"/>
                  <a:pt x="3660" y="4696"/>
                </a:cubicBezTo>
                <a:cubicBezTo>
                  <a:pt x="3993" y="4770"/>
                  <a:pt x="4400" y="4104"/>
                  <a:pt x="4806" y="3919"/>
                </a:cubicBezTo>
                <a:cubicBezTo>
                  <a:pt x="5213" y="3513"/>
                  <a:pt x="5509" y="3587"/>
                  <a:pt x="5915" y="3328"/>
                </a:cubicBezTo>
                <a:cubicBezTo>
                  <a:pt x="6322" y="3032"/>
                  <a:pt x="6655" y="3106"/>
                  <a:pt x="7172" y="2736"/>
                </a:cubicBezTo>
                <a:cubicBezTo>
                  <a:pt x="7505" y="2551"/>
                  <a:pt x="7801" y="2403"/>
                  <a:pt x="8171" y="2256"/>
                </a:cubicBezTo>
                <a:cubicBezTo>
                  <a:pt x="8282" y="2477"/>
                  <a:pt x="8688" y="2071"/>
                  <a:pt x="8910" y="2071"/>
                </a:cubicBezTo>
                <a:cubicBezTo>
                  <a:pt x="9575" y="1812"/>
                  <a:pt x="10167" y="1627"/>
                  <a:pt x="10722" y="1627"/>
                </a:cubicBezTo>
                <a:cubicBezTo>
                  <a:pt x="10869" y="1553"/>
                  <a:pt x="11054" y="1516"/>
                  <a:pt x="11202" y="1479"/>
                </a:cubicBezTo>
                <a:lnTo>
                  <a:pt x="11313" y="1442"/>
                </a:lnTo>
                <a:cubicBezTo>
                  <a:pt x="11498" y="1664"/>
                  <a:pt x="12126" y="1294"/>
                  <a:pt x="12422" y="1331"/>
                </a:cubicBezTo>
                <a:cubicBezTo>
                  <a:pt x="13162" y="1183"/>
                  <a:pt x="13642" y="1146"/>
                  <a:pt x="14382" y="1146"/>
                </a:cubicBezTo>
                <a:cubicBezTo>
                  <a:pt x="14640" y="1368"/>
                  <a:pt x="15380" y="1146"/>
                  <a:pt x="15861" y="1257"/>
                </a:cubicBezTo>
                <a:cubicBezTo>
                  <a:pt x="16304" y="1257"/>
                  <a:pt x="16748" y="1294"/>
                  <a:pt x="17191" y="1331"/>
                </a:cubicBezTo>
                <a:cubicBezTo>
                  <a:pt x="17154" y="1553"/>
                  <a:pt x="17598" y="1442"/>
                  <a:pt x="17783" y="1516"/>
                </a:cubicBezTo>
                <a:cubicBezTo>
                  <a:pt x="18411" y="1516"/>
                  <a:pt x="18448" y="1664"/>
                  <a:pt x="19077" y="1812"/>
                </a:cubicBezTo>
                <a:lnTo>
                  <a:pt x="19225" y="1849"/>
                </a:lnTo>
                <a:cubicBezTo>
                  <a:pt x="19558" y="2071"/>
                  <a:pt x="19890" y="1923"/>
                  <a:pt x="20371" y="2219"/>
                </a:cubicBezTo>
                <a:lnTo>
                  <a:pt x="20519" y="2256"/>
                </a:lnTo>
                <a:cubicBezTo>
                  <a:pt x="20889" y="2293"/>
                  <a:pt x="20778" y="2588"/>
                  <a:pt x="21184" y="2625"/>
                </a:cubicBezTo>
                <a:cubicBezTo>
                  <a:pt x="21480" y="2551"/>
                  <a:pt x="21850" y="2847"/>
                  <a:pt x="22035" y="3032"/>
                </a:cubicBezTo>
                <a:lnTo>
                  <a:pt x="22146" y="3106"/>
                </a:lnTo>
                <a:cubicBezTo>
                  <a:pt x="22478" y="3291"/>
                  <a:pt x="22774" y="3402"/>
                  <a:pt x="23107" y="3660"/>
                </a:cubicBezTo>
                <a:cubicBezTo>
                  <a:pt x="23144" y="3882"/>
                  <a:pt x="23587" y="4067"/>
                  <a:pt x="23846" y="4289"/>
                </a:cubicBezTo>
                <a:cubicBezTo>
                  <a:pt x="24179" y="4511"/>
                  <a:pt x="24512" y="4770"/>
                  <a:pt x="24807" y="5028"/>
                </a:cubicBezTo>
                <a:lnTo>
                  <a:pt x="25177" y="5361"/>
                </a:lnTo>
                <a:cubicBezTo>
                  <a:pt x="25214" y="5398"/>
                  <a:pt x="25325" y="5435"/>
                  <a:pt x="25362" y="5546"/>
                </a:cubicBezTo>
                <a:lnTo>
                  <a:pt x="25658" y="5768"/>
                </a:lnTo>
                <a:cubicBezTo>
                  <a:pt x="25843" y="6064"/>
                  <a:pt x="25954" y="6359"/>
                  <a:pt x="26323" y="6470"/>
                </a:cubicBezTo>
                <a:cubicBezTo>
                  <a:pt x="26323" y="6729"/>
                  <a:pt x="26767" y="7062"/>
                  <a:pt x="26952" y="7395"/>
                </a:cubicBezTo>
                <a:cubicBezTo>
                  <a:pt x="26915" y="7616"/>
                  <a:pt x="27211" y="7949"/>
                  <a:pt x="27395" y="8282"/>
                </a:cubicBezTo>
                <a:cubicBezTo>
                  <a:pt x="27432" y="8319"/>
                  <a:pt x="27506" y="8393"/>
                  <a:pt x="27543" y="8467"/>
                </a:cubicBezTo>
                <a:cubicBezTo>
                  <a:pt x="27950" y="8910"/>
                  <a:pt x="27950" y="9576"/>
                  <a:pt x="28283" y="9687"/>
                </a:cubicBezTo>
                <a:cubicBezTo>
                  <a:pt x="28283" y="9946"/>
                  <a:pt x="28320" y="10130"/>
                  <a:pt x="28431" y="10352"/>
                </a:cubicBezTo>
                <a:cubicBezTo>
                  <a:pt x="28504" y="10574"/>
                  <a:pt x="28615" y="10870"/>
                  <a:pt x="28689" y="11129"/>
                </a:cubicBezTo>
                <a:cubicBezTo>
                  <a:pt x="28874" y="11646"/>
                  <a:pt x="29059" y="12164"/>
                  <a:pt x="29059" y="12607"/>
                </a:cubicBezTo>
                <a:cubicBezTo>
                  <a:pt x="29096" y="12755"/>
                  <a:pt x="29170" y="12940"/>
                  <a:pt x="29207" y="13088"/>
                </a:cubicBezTo>
                <a:cubicBezTo>
                  <a:pt x="29244" y="13273"/>
                  <a:pt x="29281" y="13458"/>
                  <a:pt x="29355" y="13680"/>
                </a:cubicBezTo>
                <a:cubicBezTo>
                  <a:pt x="29244" y="14012"/>
                  <a:pt x="29761" y="14123"/>
                  <a:pt x="29281" y="14197"/>
                </a:cubicBezTo>
                <a:cubicBezTo>
                  <a:pt x="29281" y="14308"/>
                  <a:pt x="29392" y="14419"/>
                  <a:pt x="29429" y="14493"/>
                </a:cubicBezTo>
                <a:cubicBezTo>
                  <a:pt x="29281" y="14752"/>
                  <a:pt x="29429" y="15195"/>
                  <a:pt x="29392" y="15565"/>
                </a:cubicBezTo>
                <a:cubicBezTo>
                  <a:pt x="29429" y="16268"/>
                  <a:pt x="29392" y="16896"/>
                  <a:pt x="29281" y="17598"/>
                </a:cubicBezTo>
                <a:cubicBezTo>
                  <a:pt x="29022" y="17746"/>
                  <a:pt x="29170" y="18449"/>
                  <a:pt x="29022" y="18745"/>
                </a:cubicBezTo>
                <a:cubicBezTo>
                  <a:pt x="28911" y="19262"/>
                  <a:pt x="28726" y="19262"/>
                  <a:pt x="28800" y="19669"/>
                </a:cubicBezTo>
                <a:cubicBezTo>
                  <a:pt x="28504" y="19669"/>
                  <a:pt x="28541" y="20334"/>
                  <a:pt x="28431" y="20556"/>
                </a:cubicBezTo>
                <a:cubicBezTo>
                  <a:pt x="28283" y="20963"/>
                  <a:pt x="28098" y="21406"/>
                  <a:pt x="27950" y="21776"/>
                </a:cubicBezTo>
                <a:cubicBezTo>
                  <a:pt x="27691" y="21887"/>
                  <a:pt x="27543" y="22516"/>
                  <a:pt x="27247" y="22885"/>
                </a:cubicBezTo>
                <a:cubicBezTo>
                  <a:pt x="27174" y="23292"/>
                  <a:pt x="26989" y="23477"/>
                  <a:pt x="26804" y="23699"/>
                </a:cubicBezTo>
                <a:cubicBezTo>
                  <a:pt x="26656" y="23883"/>
                  <a:pt x="26508" y="24105"/>
                  <a:pt x="26434" y="24290"/>
                </a:cubicBezTo>
                <a:cubicBezTo>
                  <a:pt x="26286" y="24660"/>
                  <a:pt x="26064" y="24475"/>
                  <a:pt x="25917" y="24808"/>
                </a:cubicBezTo>
                <a:cubicBezTo>
                  <a:pt x="25843" y="25140"/>
                  <a:pt x="25695" y="25177"/>
                  <a:pt x="25325" y="25547"/>
                </a:cubicBezTo>
                <a:cubicBezTo>
                  <a:pt x="24992" y="26065"/>
                  <a:pt x="24623" y="26065"/>
                  <a:pt x="24253" y="26508"/>
                </a:cubicBezTo>
                <a:cubicBezTo>
                  <a:pt x="23920" y="26841"/>
                  <a:pt x="23550" y="27174"/>
                  <a:pt x="23181" y="27507"/>
                </a:cubicBezTo>
                <a:cubicBezTo>
                  <a:pt x="23107" y="27396"/>
                  <a:pt x="22996" y="27507"/>
                  <a:pt x="22885" y="27581"/>
                </a:cubicBezTo>
                <a:cubicBezTo>
                  <a:pt x="22737" y="27728"/>
                  <a:pt x="22589" y="27876"/>
                  <a:pt x="22515" y="27913"/>
                </a:cubicBezTo>
                <a:lnTo>
                  <a:pt x="22146" y="28172"/>
                </a:lnTo>
                <a:cubicBezTo>
                  <a:pt x="21702" y="28320"/>
                  <a:pt x="20704" y="28838"/>
                  <a:pt x="20482" y="29022"/>
                </a:cubicBezTo>
                <a:cubicBezTo>
                  <a:pt x="20297" y="28985"/>
                  <a:pt x="20149" y="29022"/>
                  <a:pt x="19927" y="29170"/>
                </a:cubicBezTo>
                <a:cubicBezTo>
                  <a:pt x="19595" y="29281"/>
                  <a:pt x="19262" y="29429"/>
                  <a:pt x="18966" y="29540"/>
                </a:cubicBezTo>
                <a:cubicBezTo>
                  <a:pt x="18485" y="29429"/>
                  <a:pt x="17746" y="29873"/>
                  <a:pt x="17154" y="29947"/>
                </a:cubicBezTo>
                <a:cubicBezTo>
                  <a:pt x="17118" y="29725"/>
                  <a:pt x="16748" y="29984"/>
                  <a:pt x="16563" y="29947"/>
                </a:cubicBezTo>
                <a:lnTo>
                  <a:pt x="16230" y="29984"/>
                </a:lnTo>
                <a:cubicBezTo>
                  <a:pt x="16045" y="30168"/>
                  <a:pt x="15528" y="29984"/>
                  <a:pt x="15084" y="30095"/>
                </a:cubicBezTo>
                <a:cubicBezTo>
                  <a:pt x="15084" y="29836"/>
                  <a:pt x="14640" y="30021"/>
                  <a:pt x="14456" y="29984"/>
                </a:cubicBezTo>
                <a:cubicBezTo>
                  <a:pt x="14012" y="30095"/>
                  <a:pt x="14049" y="29984"/>
                  <a:pt x="13531" y="29947"/>
                </a:cubicBezTo>
                <a:cubicBezTo>
                  <a:pt x="13605" y="29725"/>
                  <a:pt x="13125" y="29836"/>
                  <a:pt x="12977" y="29799"/>
                </a:cubicBezTo>
                <a:lnTo>
                  <a:pt x="12903" y="29799"/>
                </a:lnTo>
                <a:cubicBezTo>
                  <a:pt x="12311" y="29651"/>
                  <a:pt x="12126" y="29799"/>
                  <a:pt x="11646" y="29614"/>
                </a:cubicBezTo>
                <a:cubicBezTo>
                  <a:pt x="10869" y="29614"/>
                  <a:pt x="10352" y="28948"/>
                  <a:pt x="9797" y="29059"/>
                </a:cubicBezTo>
                <a:lnTo>
                  <a:pt x="9723" y="29022"/>
                </a:lnTo>
                <a:cubicBezTo>
                  <a:pt x="9575" y="28690"/>
                  <a:pt x="8836" y="28616"/>
                  <a:pt x="8503" y="28357"/>
                </a:cubicBezTo>
                <a:lnTo>
                  <a:pt x="8392" y="28320"/>
                </a:lnTo>
                <a:lnTo>
                  <a:pt x="7431" y="27765"/>
                </a:lnTo>
                <a:cubicBezTo>
                  <a:pt x="7172" y="27581"/>
                  <a:pt x="6914" y="27433"/>
                  <a:pt x="6692" y="27248"/>
                </a:cubicBezTo>
                <a:cubicBezTo>
                  <a:pt x="6544" y="27174"/>
                  <a:pt x="6359" y="26989"/>
                  <a:pt x="6285" y="27063"/>
                </a:cubicBezTo>
                <a:lnTo>
                  <a:pt x="6174" y="26989"/>
                </a:lnTo>
                <a:cubicBezTo>
                  <a:pt x="6137" y="26693"/>
                  <a:pt x="5398" y="26065"/>
                  <a:pt x="5176" y="26065"/>
                </a:cubicBezTo>
                <a:lnTo>
                  <a:pt x="5065" y="25954"/>
                </a:lnTo>
                <a:cubicBezTo>
                  <a:pt x="5176" y="25732"/>
                  <a:pt x="4658" y="25436"/>
                  <a:pt x="4510" y="25214"/>
                </a:cubicBezTo>
                <a:lnTo>
                  <a:pt x="4437" y="25140"/>
                </a:lnTo>
                <a:cubicBezTo>
                  <a:pt x="4289" y="24993"/>
                  <a:pt x="4215" y="24845"/>
                  <a:pt x="4067" y="24660"/>
                </a:cubicBezTo>
                <a:lnTo>
                  <a:pt x="3882" y="24438"/>
                </a:lnTo>
                <a:lnTo>
                  <a:pt x="3734" y="24253"/>
                </a:lnTo>
                <a:cubicBezTo>
                  <a:pt x="3586" y="24031"/>
                  <a:pt x="3475" y="23847"/>
                  <a:pt x="3327" y="23588"/>
                </a:cubicBezTo>
                <a:cubicBezTo>
                  <a:pt x="3217" y="23477"/>
                  <a:pt x="3180" y="23329"/>
                  <a:pt x="3143" y="23181"/>
                </a:cubicBezTo>
                <a:cubicBezTo>
                  <a:pt x="2921" y="22922"/>
                  <a:pt x="2921" y="22257"/>
                  <a:pt x="2588" y="22183"/>
                </a:cubicBezTo>
                <a:cubicBezTo>
                  <a:pt x="2625" y="22035"/>
                  <a:pt x="2551" y="21332"/>
                  <a:pt x="2292" y="21296"/>
                </a:cubicBezTo>
                <a:cubicBezTo>
                  <a:pt x="2033" y="20593"/>
                  <a:pt x="2070" y="19484"/>
                  <a:pt x="1812" y="18966"/>
                </a:cubicBezTo>
                <a:lnTo>
                  <a:pt x="1812" y="18855"/>
                </a:lnTo>
                <a:cubicBezTo>
                  <a:pt x="1996" y="18486"/>
                  <a:pt x="1738" y="17672"/>
                  <a:pt x="1996" y="17266"/>
                </a:cubicBezTo>
                <a:lnTo>
                  <a:pt x="1996" y="16896"/>
                </a:lnTo>
                <a:cubicBezTo>
                  <a:pt x="1996" y="16452"/>
                  <a:pt x="2033" y="16009"/>
                  <a:pt x="2070" y="15565"/>
                </a:cubicBezTo>
                <a:cubicBezTo>
                  <a:pt x="2107" y="15084"/>
                  <a:pt x="2181" y="14604"/>
                  <a:pt x="2255" y="14123"/>
                </a:cubicBezTo>
                <a:lnTo>
                  <a:pt x="2292" y="13901"/>
                </a:lnTo>
                <a:cubicBezTo>
                  <a:pt x="2440" y="12792"/>
                  <a:pt x="2921" y="11646"/>
                  <a:pt x="3143" y="10833"/>
                </a:cubicBezTo>
                <a:cubicBezTo>
                  <a:pt x="3327" y="10352"/>
                  <a:pt x="3512" y="9872"/>
                  <a:pt x="3734" y="9428"/>
                </a:cubicBezTo>
                <a:cubicBezTo>
                  <a:pt x="3882" y="8910"/>
                  <a:pt x="4474" y="8319"/>
                  <a:pt x="4474" y="7875"/>
                </a:cubicBezTo>
                <a:cubicBezTo>
                  <a:pt x="4658" y="7653"/>
                  <a:pt x="4695" y="7468"/>
                  <a:pt x="4695" y="7321"/>
                </a:cubicBezTo>
                <a:cubicBezTo>
                  <a:pt x="4954" y="7395"/>
                  <a:pt x="5139" y="6840"/>
                  <a:pt x="5398" y="6655"/>
                </a:cubicBezTo>
                <a:lnTo>
                  <a:pt x="5509" y="6544"/>
                </a:lnTo>
                <a:cubicBezTo>
                  <a:pt x="5804" y="6174"/>
                  <a:pt x="6137" y="5842"/>
                  <a:pt x="6507" y="5583"/>
                </a:cubicBezTo>
                <a:cubicBezTo>
                  <a:pt x="6618" y="5065"/>
                  <a:pt x="7209" y="5546"/>
                  <a:pt x="7246" y="5213"/>
                </a:cubicBezTo>
                <a:cubicBezTo>
                  <a:pt x="7579" y="4917"/>
                  <a:pt x="7468" y="4991"/>
                  <a:pt x="7912" y="4733"/>
                </a:cubicBezTo>
                <a:lnTo>
                  <a:pt x="7690" y="4511"/>
                </a:lnTo>
                <a:lnTo>
                  <a:pt x="7801" y="4474"/>
                </a:lnTo>
                <a:cubicBezTo>
                  <a:pt x="8134" y="3993"/>
                  <a:pt x="7431" y="3697"/>
                  <a:pt x="6840" y="3956"/>
                </a:cubicBezTo>
                <a:cubicBezTo>
                  <a:pt x="6618" y="4067"/>
                  <a:pt x="6470" y="4178"/>
                  <a:pt x="6433" y="4326"/>
                </a:cubicBezTo>
                <a:cubicBezTo>
                  <a:pt x="5841" y="4326"/>
                  <a:pt x="5509" y="4991"/>
                  <a:pt x="4806" y="5546"/>
                </a:cubicBezTo>
                <a:lnTo>
                  <a:pt x="4695" y="5620"/>
                </a:lnTo>
                <a:cubicBezTo>
                  <a:pt x="4326" y="6101"/>
                  <a:pt x="3660" y="6692"/>
                  <a:pt x="3660" y="7136"/>
                </a:cubicBezTo>
                <a:cubicBezTo>
                  <a:pt x="3327" y="7616"/>
                  <a:pt x="3032" y="8134"/>
                  <a:pt x="2810" y="8578"/>
                </a:cubicBezTo>
                <a:lnTo>
                  <a:pt x="2736" y="8799"/>
                </a:lnTo>
                <a:cubicBezTo>
                  <a:pt x="2403" y="9317"/>
                  <a:pt x="2033" y="10648"/>
                  <a:pt x="1738" y="11313"/>
                </a:cubicBezTo>
                <a:cubicBezTo>
                  <a:pt x="1664" y="11535"/>
                  <a:pt x="1627" y="11831"/>
                  <a:pt x="1516" y="12053"/>
                </a:cubicBezTo>
                <a:lnTo>
                  <a:pt x="1368" y="12570"/>
                </a:lnTo>
                <a:cubicBezTo>
                  <a:pt x="1294" y="12903"/>
                  <a:pt x="1257" y="13199"/>
                  <a:pt x="1146" y="13569"/>
                </a:cubicBezTo>
                <a:cubicBezTo>
                  <a:pt x="1109" y="13827"/>
                  <a:pt x="1072" y="14086"/>
                  <a:pt x="998" y="14308"/>
                </a:cubicBezTo>
                <a:cubicBezTo>
                  <a:pt x="924" y="14863"/>
                  <a:pt x="887" y="15417"/>
                  <a:pt x="813" y="15935"/>
                </a:cubicBezTo>
                <a:lnTo>
                  <a:pt x="776" y="16304"/>
                </a:lnTo>
                <a:cubicBezTo>
                  <a:pt x="776" y="16526"/>
                  <a:pt x="776" y="16822"/>
                  <a:pt x="739" y="17044"/>
                </a:cubicBezTo>
                <a:lnTo>
                  <a:pt x="739" y="17192"/>
                </a:lnTo>
                <a:lnTo>
                  <a:pt x="739" y="18190"/>
                </a:lnTo>
                <a:cubicBezTo>
                  <a:pt x="555" y="18116"/>
                  <a:pt x="592" y="18818"/>
                  <a:pt x="776" y="18708"/>
                </a:cubicBezTo>
                <a:cubicBezTo>
                  <a:pt x="924" y="20149"/>
                  <a:pt x="998" y="20926"/>
                  <a:pt x="1442" y="22183"/>
                </a:cubicBezTo>
                <a:cubicBezTo>
                  <a:pt x="1331" y="22220"/>
                  <a:pt x="1368" y="22442"/>
                  <a:pt x="1516" y="22405"/>
                </a:cubicBezTo>
                <a:cubicBezTo>
                  <a:pt x="1812" y="23255"/>
                  <a:pt x="2218" y="24031"/>
                  <a:pt x="2662" y="24771"/>
                </a:cubicBezTo>
                <a:cubicBezTo>
                  <a:pt x="3180" y="25436"/>
                  <a:pt x="3734" y="26139"/>
                  <a:pt x="4400" y="26730"/>
                </a:cubicBezTo>
                <a:cubicBezTo>
                  <a:pt x="4621" y="26989"/>
                  <a:pt x="4843" y="27211"/>
                  <a:pt x="5139" y="27396"/>
                </a:cubicBezTo>
                <a:cubicBezTo>
                  <a:pt x="5398" y="27618"/>
                  <a:pt x="5694" y="27876"/>
                  <a:pt x="5989" y="28098"/>
                </a:cubicBezTo>
                <a:cubicBezTo>
                  <a:pt x="5952" y="28246"/>
                  <a:pt x="6100" y="28246"/>
                  <a:pt x="6174" y="28246"/>
                </a:cubicBezTo>
                <a:cubicBezTo>
                  <a:pt x="6433" y="28431"/>
                  <a:pt x="6655" y="28542"/>
                  <a:pt x="6914" y="28690"/>
                </a:cubicBezTo>
                <a:lnTo>
                  <a:pt x="7025" y="28727"/>
                </a:lnTo>
                <a:cubicBezTo>
                  <a:pt x="7542" y="29022"/>
                  <a:pt x="8060" y="29281"/>
                  <a:pt x="8540" y="29540"/>
                </a:cubicBezTo>
                <a:cubicBezTo>
                  <a:pt x="8392" y="29651"/>
                  <a:pt x="9021" y="29947"/>
                  <a:pt x="9021" y="29725"/>
                </a:cubicBezTo>
                <a:lnTo>
                  <a:pt x="9686" y="29984"/>
                </a:lnTo>
                <a:cubicBezTo>
                  <a:pt x="9834" y="30316"/>
                  <a:pt x="10574" y="30316"/>
                  <a:pt x="10943" y="30501"/>
                </a:cubicBezTo>
                <a:cubicBezTo>
                  <a:pt x="11091" y="30538"/>
                  <a:pt x="11276" y="30575"/>
                  <a:pt x="11424" y="30575"/>
                </a:cubicBezTo>
                <a:cubicBezTo>
                  <a:pt x="12016" y="30575"/>
                  <a:pt x="12459" y="31019"/>
                  <a:pt x="12866" y="30797"/>
                </a:cubicBezTo>
                <a:cubicBezTo>
                  <a:pt x="13273" y="31093"/>
                  <a:pt x="14234" y="30908"/>
                  <a:pt x="14714" y="31093"/>
                </a:cubicBezTo>
                <a:cubicBezTo>
                  <a:pt x="15380" y="31093"/>
                  <a:pt x="16082" y="30982"/>
                  <a:pt x="16785" y="30871"/>
                </a:cubicBezTo>
                <a:cubicBezTo>
                  <a:pt x="16785" y="30908"/>
                  <a:pt x="16822" y="30982"/>
                  <a:pt x="16896" y="30945"/>
                </a:cubicBezTo>
                <a:cubicBezTo>
                  <a:pt x="17081" y="30908"/>
                  <a:pt x="17339" y="30871"/>
                  <a:pt x="17524" y="30797"/>
                </a:cubicBezTo>
                <a:cubicBezTo>
                  <a:pt x="17820" y="30723"/>
                  <a:pt x="18153" y="30686"/>
                  <a:pt x="18485" y="30538"/>
                </a:cubicBezTo>
                <a:cubicBezTo>
                  <a:pt x="18707" y="30686"/>
                  <a:pt x="19668" y="30279"/>
                  <a:pt x="19668" y="30205"/>
                </a:cubicBezTo>
                <a:lnTo>
                  <a:pt x="20001" y="30095"/>
                </a:lnTo>
                <a:cubicBezTo>
                  <a:pt x="20297" y="30279"/>
                  <a:pt x="20852" y="29762"/>
                  <a:pt x="21147" y="29614"/>
                </a:cubicBezTo>
                <a:cubicBezTo>
                  <a:pt x="21517" y="29281"/>
                  <a:pt x="21776" y="29429"/>
                  <a:pt x="22072" y="29207"/>
                </a:cubicBezTo>
                <a:lnTo>
                  <a:pt x="22035" y="29096"/>
                </a:lnTo>
                <a:cubicBezTo>
                  <a:pt x="22404" y="28911"/>
                  <a:pt x="22737" y="28875"/>
                  <a:pt x="23144" y="28505"/>
                </a:cubicBezTo>
                <a:cubicBezTo>
                  <a:pt x="23957" y="28172"/>
                  <a:pt x="24364" y="27470"/>
                  <a:pt x="25177" y="26989"/>
                </a:cubicBezTo>
                <a:cubicBezTo>
                  <a:pt x="25177" y="26693"/>
                  <a:pt x="25658" y="26656"/>
                  <a:pt x="25880" y="26250"/>
                </a:cubicBezTo>
                <a:cubicBezTo>
                  <a:pt x="26064" y="26065"/>
                  <a:pt x="26212" y="25880"/>
                  <a:pt x="26360" y="25658"/>
                </a:cubicBezTo>
                <a:cubicBezTo>
                  <a:pt x="26656" y="25658"/>
                  <a:pt x="26952" y="24919"/>
                  <a:pt x="27284" y="24586"/>
                </a:cubicBezTo>
                <a:cubicBezTo>
                  <a:pt x="27469" y="24364"/>
                  <a:pt x="27580" y="24068"/>
                  <a:pt x="27728" y="23847"/>
                </a:cubicBezTo>
                <a:lnTo>
                  <a:pt x="27765" y="23736"/>
                </a:lnTo>
                <a:cubicBezTo>
                  <a:pt x="27950" y="23440"/>
                  <a:pt x="28135" y="23107"/>
                  <a:pt x="28320" y="22737"/>
                </a:cubicBezTo>
                <a:cubicBezTo>
                  <a:pt x="28578" y="22774"/>
                  <a:pt x="28652" y="22183"/>
                  <a:pt x="28800" y="21998"/>
                </a:cubicBezTo>
                <a:lnTo>
                  <a:pt x="28874" y="21776"/>
                </a:lnTo>
                <a:cubicBezTo>
                  <a:pt x="29059" y="21296"/>
                  <a:pt x="29244" y="20778"/>
                  <a:pt x="29392" y="20334"/>
                </a:cubicBezTo>
                <a:cubicBezTo>
                  <a:pt x="29688" y="20297"/>
                  <a:pt x="29688" y="19595"/>
                  <a:pt x="29798" y="19262"/>
                </a:cubicBezTo>
                <a:lnTo>
                  <a:pt x="29909" y="18745"/>
                </a:lnTo>
                <a:cubicBezTo>
                  <a:pt x="29983" y="18338"/>
                  <a:pt x="30057" y="17931"/>
                  <a:pt x="30094" y="17525"/>
                </a:cubicBezTo>
                <a:cubicBezTo>
                  <a:pt x="30538" y="17192"/>
                  <a:pt x="30353" y="16304"/>
                  <a:pt x="30427" y="15787"/>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13" name="Google Shape;2113;p51"/>
          <p:cNvSpPr/>
          <p:nvPr/>
        </p:nvSpPr>
        <p:spPr>
          <a:xfrm>
            <a:off x="1027968" y="2013856"/>
            <a:ext cx="2192160" cy="2184744"/>
          </a:xfrm>
          <a:custGeom>
            <a:avLst/>
            <a:gdLst/>
            <a:ahLst/>
            <a:cxnLst/>
            <a:rect l="l" t="t" r="r" b="b"/>
            <a:pathLst>
              <a:path w="31093" h="30317" extrusionOk="0">
                <a:moveTo>
                  <a:pt x="30945" y="18005"/>
                </a:moveTo>
                <a:cubicBezTo>
                  <a:pt x="30982" y="17450"/>
                  <a:pt x="31093" y="16896"/>
                  <a:pt x="31056" y="16452"/>
                </a:cubicBezTo>
                <a:lnTo>
                  <a:pt x="31056" y="16267"/>
                </a:lnTo>
                <a:lnTo>
                  <a:pt x="31056" y="16046"/>
                </a:lnTo>
                <a:lnTo>
                  <a:pt x="31056" y="15343"/>
                </a:lnTo>
                <a:lnTo>
                  <a:pt x="31056" y="14789"/>
                </a:lnTo>
                <a:cubicBezTo>
                  <a:pt x="30908" y="14678"/>
                  <a:pt x="30982" y="14419"/>
                  <a:pt x="30945" y="14234"/>
                </a:cubicBezTo>
                <a:cubicBezTo>
                  <a:pt x="30908" y="14086"/>
                  <a:pt x="30982" y="13753"/>
                  <a:pt x="30797" y="13716"/>
                </a:cubicBezTo>
                <a:cubicBezTo>
                  <a:pt x="30760" y="13458"/>
                  <a:pt x="30723" y="13125"/>
                  <a:pt x="30686" y="12829"/>
                </a:cubicBezTo>
                <a:lnTo>
                  <a:pt x="30575" y="12459"/>
                </a:lnTo>
                <a:cubicBezTo>
                  <a:pt x="30538" y="12201"/>
                  <a:pt x="30427" y="11868"/>
                  <a:pt x="30390" y="11609"/>
                </a:cubicBezTo>
                <a:cubicBezTo>
                  <a:pt x="30316" y="11646"/>
                  <a:pt x="30242" y="11646"/>
                  <a:pt x="30205" y="11683"/>
                </a:cubicBezTo>
                <a:cubicBezTo>
                  <a:pt x="30205" y="11646"/>
                  <a:pt x="30205" y="11535"/>
                  <a:pt x="30316" y="11535"/>
                </a:cubicBezTo>
                <a:lnTo>
                  <a:pt x="30168" y="11128"/>
                </a:lnTo>
                <a:cubicBezTo>
                  <a:pt x="30058" y="10796"/>
                  <a:pt x="30021" y="10796"/>
                  <a:pt x="29984" y="10537"/>
                </a:cubicBezTo>
                <a:cubicBezTo>
                  <a:pt x="29947" y="10389"/>
                  <a:pt x="29873" y="10167"/>
                  <a:pt x="29762" y="10093"/>
                </a:cubicBezTo>
                <a:cubicBezTo>
                  <a:pt x="29651" y="9871"/>
                  <a:pt x="29577" y="9613"/>
                  <a:pt x="29466" y="9354"/>
                </a:cubicBezTo>
                <a:cubicBezTo>
                  <a:pt x="29392" y="9095"/>
                  <a:pt x="29244" y="8873"/>
                  <a:pt x="29133" y="8578"/>
                </a:cubicBezTo>
                <a:cubicBezTo>
                  <a:pt x="29022" y="8578"/>
                  <a:pt x="28764" y="8799"/>
                  <a:pt x="28764" y="8725"/>
                </a:cubicBezTo>
                <a:cubicBezTo>
                  <a:pt x="28764" y="8688"/>
                  <a:pt x="28690" y="8578"/>
                  <a:pt x="28764" y="8541"/>
                </a:cubicBezTo>
                <a:cubicBezTo>
                  <a:pt x="28837" y="8614"/>
                  <a:pt x="28874" y="8725"/>
                  <a:pt x="29022" y="8614"/>
                </a:cubicBezTo>
                <a:cubicBezTo>
                  <a:pt x="29133" y="8393"/>
                  <a:pt x="29022" y="8319"/>
                  <a:pt x="28874" y="8171"/>
                </a:cubicBezTo>
                <a:cubicBezTo>
                  <a:pt x="28764" y="7949"/>
                  <a:pt x="28653" y="7764"/>
                  <a:pt x="28542" y="7505"/>
                </a:cubicBezTo>
                <a:lnTo>
                  <a:pt x="28394" y="7284"/>
                </a:lnTo>
                <a:lnTo>
                  <a:pt x="28320" y="7099"/>
                </a:lnTo>
                <a:cubicBezTo>
                  <a:pt x="28172" y="6877"/>
                  <a:pt x="28024" y="6655"/>
                  <a:pt x="27913" y="6470"/>
                </a:cubicBezTo>
                <a:lnTo>
                  <a:pt x="27617" y="6027"/>
                </a:lnTo>
                <a:cubicBezTo>
                  <a:pt x="27470" y="5916"/>
                  <a:pt x="27396" y="5546"/>
                  <a:pt x="27211" y="5583"/>
                </a:cubicBezTo>
                <a:cubicBezTo>
                  <a:pt x="27174" y="5361"/>
                  <a:pt x="26989" y="5435"/>
                  <a:pt x="27026" y="5176"/>
                </a:cubicBezTo>
                <a:lnTo>
                  <a:pt x="26915" y="5213"/>
                </a:lnTo>
                <a:cubicBezTo>
                  <a:pt x="26804" y="5028"/>
                  <a:pt x="26619" y="4843"/>
                  <a:pt x="26471" y="4659"/>
                </a:cubicBezTo>
                <a:lnTo>
                  <a:pt x="26360" y="4548"/>
                </a:lnTo>
                <a:cubicBezTo>
                  <a:pt x="26286" y="4474"/>
                  <a:pt x="26139" y="4252"/>
                  <a:pt x="25991" y="4289"/>
                </a:cubicBezTo>
                <a:cubicBezTo>
                  <a:pt x="25991" y="3993"/>
                  <a:pt x="25695" y="3919"/>
                  <a:pt x="25584" y="3882"/>
                </a:cubicBezTo>
                <a:cubicBezTo>
                  <a:pt x="25436" y="3734"/>
                  <a:pt x="25325" y="3623"/>
                  <a:pt x="25177" y="3513"/>
                </a:cubicBezTo>
                <a:cubicBezTo>
                  <a:pt x="24771" y="3217"/>
                  <a:pt x="24327" y="2662"/>
                  <a:pt x="23883" y="2625"/>
                </a:cubicBezTo>
                <a:cubicBezTo>
                  <a:pt x="23699" y="2514"/>
                  <a:pt x="23477" y="2403"/>
                  <a:pt x="23292" y="2256"/>
                </a:cubicBezTo>
                <a:lnTo>
                  <a:pt x="22737" y="1960"/>
                </a:lnTo>
                <a:cubicBezTo>
                  <a:pt x="22479" y="1886"/>
                  <a:pt x="22220" y="1590"/>
                  <a:pt x="21998" y="1738"/>
                </a:cubicBezTo>
                <a:cubicBezTo>
                  <a:pt x="22072" y="1553"/>
                  <a:pt x="21850" y="1590"/>
                  <a:pt x="21739" y="1553"/>
                </a:cubicBezTo>
                <a:lnTo>
                  <a:pt x="21554" y="1479"/>
                </a:lnTo>
                <a:lnTo>
                  <a:pt x="21369" y="1368"/>
                </a:lnTo>
                <a:cubicBezTo>
                  <a:pt x="21074" y="1183"/>
                  <a:pt x="20593" y="1146"/>
                  <a:pt x="20408" y="999"/>
                </a:cubicBezTo>
                <a:cubicBezTo>
                  <a:pt x="20186" y="925"/>
                  <a:pt x="19965" y="851"/>
                  <a:pt x="19706" y="777"/>
                </a:cubicBezTo>
                <a:cubicBezTo>
                  <a:pt x="19225" y="629"/>
                  <a:pt x="18707" y="481"/>
                  <a:pt x="18153" y="407"/>
                </a:cubicBezTo>
                <a:lnTo>
                  <a:pt x="18153" y="296"/>
                </a:lnTo>
                <a:cubicBezTo>
                  <a:pt x="18042" y="296"/>
                  <a:pt x="17968" y="222"/>
                  <a:pt x="17931" y="370"/>
                </a:cubicBezTo>
                <a:cubicBezTo>
                  <a:pt x="17635" y="296"/>
                  <a:pt x="17414" y="259"/>
                  <a:pt x="17118" y="259"/>
                </a:cubicBezTo>
                <a:cubicBezTo>
                  <a:pt x="17081" y="37"/>
                  <a:pt x="16748" y="185"/>
                  <a:pt x="16563" y="111"/>
                </a:cubicBezTo>
                <a:lnTo>
                  <a:pt x="16526" y="111"/>
                </a:lnTo>
                <a:cubicBezTo>
                  <a:pt x="15158" y="74"/>
                  <a:pt x="14049" y="0"/>
                  <a:pt x="12755" y="111"/>
                </a:cubicBezTo>
                <a:lnTo>
                  <a:pt x="12681" y="111"/>
                </a:lnTo>
                <a:cubicBezTo>
                  <a:pt x="11535" y="370"/>
                  <a:pt x="10204" y="481"/>
                  <a:pt x="9280" y="1146"/>
                </a:cubicBezTo>
                <a:cubicBezTo>
                  <a:pt x="9280" y="1220"/>
                  <a:pt x="9280" y="1294"/>
                  <a:pt x="9243" y="1294"/>
                </a:cubicBezTo>
                <a:cubicBezTo>
                  <a:pt x="9243" y="1035"/>
                  <a:pt x="9169" y="1035"/>
                  <a:pt x="9058" y="1146"/>
                </a:cubicBezTo>
                <a:cubicBezTo>
                  <a:pt x="8799" y="1220"/>
                  <a:pt x="8541" y="1368"/>
                  <a:pt x="8319" y="1479"/>
                </a:cubicBezTo>
                <a:lnTo>
                  <a:pt x="8245" y="1516"/>
                </a:lnTo>
                <a:lnTo>
                  <a:pt x="8208" y="1553"/>
                </a:lnTo>
                <a:lnTo>
                  <a:pt x="8171" y="1590"/>
                </a:lnTo>
                <a:cubicBezTo>
                  <a:pt x="7986" y="1701"/>
                  <a:pt x="7838" y="1775"/>
                  <a:pt x="7653" y="1886"/>
                </a:cubicBezTo>
                <a:lnTo>
                  <a:pt x="7505" y="1960"/>
                </a:lnTo>
                <a:lnTo>
                  <a:pt x="7321" y="2071"/>
                </a:lnTo>
                <a:cubicBezTo>
                  <a:pt x="7136" y="2071"/>
                  <a:pt x="7284" y="2256"/>
                  <a:pt x="7136" y="2292"/>
                </a:cubicBezTo>
                <a:cubicBezTo>
                  <a:pt x="6729" y="2292"/>
                  <a:pt x="6692" y="2625"/>
                  <a:pt x="6285" y="2699"/>
                </a:cubicBezTo>
                <a:lnTo>
                  <a:pt x="6211" y="2773"/>
                </a:lnTo>
                <a:lnTo>
                  <a:pt x="6137" y="2810"/>
                </a:lnTo>
                <a:cubicBezTo>
                  <a:pt x="5953" y="3069"/>
                  <a:pt x="5620" y="3032"/>
                  <a:pt x="5583" y="3365"/>
                </a:cubicBezTo>
                <a:cubicBezTo>
                  <a:pt x="5546" y="3402"/>
                  <a:pt x="5435" y="3328"/>
                  <a:pt x="5398" y="3402"/>
                </a:cubicBezTo>
                <a:cubicBezTo>
                  <a:pt x="5213" y="3513"/>
                  <a:pt x="5361" y="3697"/>
                  <a:pt x="5176" y="3734"/>
                </a:cubicBezTo>
                <a:cubicBezTo>
                  <a:pt x="4917" y="3586"/>
                  <a:pt x="4843" y="3956"/>
                  <a:pt x="4659" y="4067"/>
                </a:cubicBezTo>
                <a:lnTo>
                  <a:pt x="4622" y="4104"/>
                </a:lnTo>
                <a:lnTo>
                  <a:pt x="4178" y="4511"/>
                </a:lnTo>
                <a:cubicBezTo>
                  <a:pt x="4141" y="4622"/>
                  <a:pt x="4067" y="4659"/>
                  <a:pt x="3993" y="4733"/>
                </a:cubicBezTo>
                <a:cubicBezTo>
                  <a:pt x="3771" y="4991"/>
                  <a:pt x="3697" y="5213"/>
                  <a:pt x="3623" y="5361"/>
                </a:cubicBezTo>
                <a:cubicBezTo>
                  <a:pt x="3365" y="5657"/>
                  <a:pt x="3143" y="6027"/>
                  <a:pt x="2884" y="6359"/>
                </a:cubicBezTo>
                <a:lnTo>
                  <a:pt x="2847" y="6396"/>
                </a:lnTo>
                <a:lnTo>
                  <a:pt x="2810" y="6470"/>
                </a:lnTo>
                <a:cubicBezTo>
                  <a:pt x="2662" y="6692"/>
                  <a:pt x="2514" y="6877"/>
                  <a:pt x="2440" y="7099"/>
                </a:cubicBezTo>
                <a:cubicBezTo>
                  <a:pt x="2514" y="7284"/>
                  <a:pt x="2699" y="7136"/>
                  <a:pt x="2699" y="7321"/>
                </a:cubicBezTo>
                <a:cubicBezTo>
                  <a:pt x="2662" y="7468"/>
                  <a:pt x="2588" y="7505"/>
                  <a:pt x="2403" y="7431"/>
                </a:cubicBezTo>
                <a:cubicBezTo>
                  <a:pt x="2477" y="7431"/>
                  <a:pt x="2699" y="7394"/>
                  <a:pt x="2403" y="7247"/>
                </a:cubicBezTo>
                <a:cubicBezTo>
                  <a:pt x="2145" y="7653"/>
                  <a:pt x="2219" y="7801"/>
                  <a:pt x="1960" y="8245"/>
                </a:cubicBezTo>
                <a:cubicBezTo>
                  <a:pt x="1738" y="8614"/>
                  <a:pt x="1479" y="8947"/>
                  <a:pt x="1331" y="9428"/>
                </a:cubicBezTo>
                <a:cubicBezTo>
                  <a:pt x="1405" y="9465"/>
                  <a:pt x="1516" y="9502"/>
                  <a:pt x="1516" y="9539"/>
                </a:cubicBezTo>
                <a:cubicBezTo>
                  <a:pt x="1368" y="9502"/>
                  <a:pt x="1368" y="9613"/>
                  <a:pt x="1331" y="9687"/>
                </a:cubicBezTo>
                <a:cubicBezTo>
                  <a:pt x="1294" y="9687"/>
                  <a:pt x="1183" y="9687"/>
                  <a:pt x="1331" y="9724"/>
                </a:cubicBezTo>
                <a:cubicBezTo>
                  <a:pt x="1183" y="9835"/>
                  <a:pt x="1146" y="9908"/>
                  <a:pt x="1331" y="10093"/>
                </a:cubicBezTo>
                <a:cubicBezTo>
                  <a:pt x="1368" y="10019"/>
                  <a:pt x="1479" y="9982"/>
                  <a:pt x="1590" y="9982"/>
                </a:cubicBezTo>
                <a:cubicBezTo>
                  <a:pt x="1590" y="10019"/>
                  <a:pt x="1664" y="10056"/>
                  <a:pt x="1664" y="10093"/>
                </a:cubicBezTo>
                <a:lnTo>
                  <a:pt x="1590" y="10204"/>
                </a:lnTo>
                <a:cubicBezTo>
                  <a:pt x="1220" y="10204"/>
                  <a:pt x="1220" y="10093"/>
                  <a:pt x="999" y="10241"/>
                </a:cubicBezTo>
                <a:lnTo>
                  <a:pt x="1109" y="10278"/>
                </a:lnTo>
                <a:cubicBezTo>
                  <a:pt x="1109" y="10574"/>
                  <a:pt x="814" y="10648"/>
                  <a:pt x="925" y="10833"/>
                </a:cubicBezTo>
                <a:cubicBezTo>
                  <a:pt x="777" y="10796"/>
                  <a:pt x="777" y="10944"/>
                  <a:pt x="740" y="11018"/>
                </a:cubicBezTo>
                <a:lnTo>
                  <a:pt x="629" y="11498"/>
                </a:lnTo>
                <a:cubicBezTo>
                  <a:pt x="592" y="11757"/>
                  <a:pt x="481" y="12016"/>
                  <a:pt x="444" y="12275"/>
                </a:cubicBezTo>
                <a:lnTo>
                  <a:pt x="444" y="12385"/>
                </a:lnTo>
                <a:lnTo>
                  <a:pt x="407" y="12644"/>
                </a:lnTo>
                <a:cubicBezTo>
                  <a:pt x="370" y="12829"/>
                  <a:pt x="370" y="12977"/>
                  <a:pt x="296" y="13162"/>
                </a:cubicBezTo>
                <a:cubicBezTo>
                  <a:pt x="370" y="13384"/>
                  <a:pt x="37" y="13864"/>
                  <a:pt x="444" y="13938"/>
                </a:cubicBezTo>
                <a:cubicBezTo>
                  <a:pt x="666" y="13975"/>
                  <a:pt x="555" y="14271"/>
                  <a:pt x="296" y="14234"/>
                </a:cubicBezTo>
                <a:cubicBezTo>
                  <a:pt x="370" y="13679"/>
                  <a:pt x="111" y="14160"/>
                  <a:pt x="185" y="14456"/>
                </a:cubicBezTo>
                <a:cubicBezTo>
                  <a:pt x="370" y="14863"/>
                  <a:pt x="0" y="15158"/>
                  <a:pt x="259" y="15602"/>
                </a:cubicBezTo>
                <a:cubicBezTo>
                  <a:pt x="111" y="15602"/>
                  <a:pt x="111" y="15787"/>
                  <a:pt x="259" y="15787"/>
                </a:cubicBezTo>
                <a:cubicBezTo>
                  <a:pt x="111" y="15898"/>
                  <a:pt x="185" y="16083"/>
                  <a:pt x="185" y="16193"/>
                </a:cubicBezTo>
                <a:cubicBezTo>
                  <a:pt x="111" y="16452"/>
                  <a:pt x="296" y="16526"/>
                  <a:pt x="296" y="16711"/>
                </a:cubicBezTo>
                <a:cubicBezTo>
                  <a:pt x="259" y="16859"/>
                  <a:pt x="111" y="17081"/>
                  <a:pt x="370" y="17192"/>
                </a:cubicBezTo>
                <a:cubicBezTo>
                  <a:pt x="74" y="17229"/>
                  <a:pt x="481" y="17266"/>
                  <a:pt x="407" y="17414"/>
                </a:cubicBezTo>
                <a:cubicBezTo>
                  <a:pt x="222" y="17450"/>
                  <a:pt x="296" y="17857"/>
                  <a:pt x="481" y="17857"/>
                </a:cubicBezTo>
                <a:cubicBezTo>
                  <a:pt x="407" y="18005"/>
                  <a:pt x="629" y="18338"/>
                  <a:pt x="629" y="18597"/>
                </a:cubicBezTo>
                <a:cubicBezTo>
                  <a:pt x="481" y="18671"/>
                  <a:pt x="555" y="18781"/>
                  <a:pt x="666" y="18781"/>
                </a:cubicBezTo>
                <a:lnTo>
                  <a:pt x="740" y="18892"/>
                </a:lnTo>
                <a:cubicBezTo>
                  <a:pt x="777" y="19151"/>
                  <a:pt x="851" y="19410"/>
                  <a:pt x="962" y="19669"/>
                </a:cubicBezTo>
                <a:cubicBezTo>
                  <a:pt x="1183" y="20408"/>
                  <a:pt x="1479" y="21111"/>
                  <a:pt x="1775" y="21813"/>
                </a:cubicBezTo>
                <a:lnTo>
                  <a:pt x="1849" y="21887"/>
                </a:lnTo>
                <a:lnTo>
                  <a:pt x="2071" y="22294"/>
                </a:lnTo>
                <a:cubicBezTo>
                  <a:pt x="1960" y="22663"/>
                  <a:pt x="2440" y="23033"/>
                  <a:pt x="2588" y="23366"/>
                </a:cubicBezTo>
                <a:lnTo>
                  <a:pt x="2625" y="23403"/>
                </a:lnTo>
                <a:cubicBezTo>
                  <a:pt x="2773" y="23477"/>
                  <a:pt x="2810" y="23846"/>
                  <a:pt x="3032" y="24031"/>
                </a:cubicBezTo>
                <a:lnTo>
                  <a:pt x="3069" y="24105"/>
                </a:lnTo>
                <a:lnTo>
                  <a:pt x="3328" y="24401"/>
                </a:lnTo>
                <a:lnTo>
                  <a:pt x="3513" y="24660"/>
                </a:lnTo>
                <a:lnTo>
                  <a:pt x="3734" y="24956"/>
                </a:lnTo>
                <a:cubicBezTo>
                  <a:pt x="3882" y="25066"/>
                  <a:pt x="3993" y="25251"/>
                  <a:pt x="4141" y="25436"/>
                </a:cubicBezTo>
                <a:cubicBezTo>
                  <a:pt x="4289" y="25584"/>
                  <a:pt x="4437" y="25806"/>
                  <a:pt x="4548" y="25769"/>
                </a:cubicBezTo>
                <a:cubicBezTo>
                  <a:pt x="4474" y="25954"/>
                  <a:pt x="4843" y="26102"/>
                  <a:pt x="4917" y="26250"/>
                </a:cubicBezTo>
                <a:cubicBezTo>
                  <a:pt x="5028" y="26323"/>
                  <a:pt x="5102" y="26434"/>
                  <a:pt x="5213" y="26471"/>
                </a:cubicBezTo>
                <a:cubicBezTo>
                  <a:pt x="5398" y="26619"/>
                  <a:pt x="5583" y="26804"/>
                  <a:pt x="5768" y="26915"/>
                </a:cubicBezTo>
                <a:cubicBezTo>
                  <a:pt x="5657" y="27063"/>
                  <a:pt x="5953" y="26915"/>
                  <a:pt x="5990" y="27100"/>
                </a:cubicBezTo>
                <a:lnTo>
                  <a:pt x="6027" y="27063"/>
                </a:lnTo>
                <a:cubicBezTo>
                  <a:pt x="6211" y="27063"/>
                  <a:pt x="5990" y="27433"/>
                  <a:pt x="6174" y="27285"/>
                </a:cubicBezTo>
                <a:lnTo>
                  <a:pt x="6211" y="27359"/>
                </a:lnTo>
                <a:cubicBezTo>
                  <a:pt x="6322" y="27654"/>
                  <a:pt x="6840" y="27802"/>
                  <a:pt x="7062" y="28024"/>
                </a:cubicBezTo>
                <a:lnTo>
                  <a:pt x="7136" y="28098"/>
                </a:lnTo>
                <a:cubicBezTo>
                  <a:pt x="7431" y="28172"/>
                  <a:pt x="7468" y="28394"/>
                  <a:pt x="7764" y="28505"/>
                </a:cubicBezTo>
                <a:lnTo>
                  <a:pt x="7801" y="28394"/>
                </a:lnTo>
                <a:cubicBezTo>
                  <a:pt x="7838" y="28579"/>
                  <a:pt x="8134" y="28653"/>
                  <a:pt x="8245" y="28653"/>
                </a:cubicBezTo>
                <a:cubicBezTo>
                  <a:pt x="8208" y="28727"/>
                  <a:pt x="8319" y="28764"/>
                  <a:pt x="8393" y="28764"/>
                </a:cubicBezTo>
                <a:cubicBezTo>
                  <a:pt x="8725" y="28911"/>
                  <a:pt x="9058" y="29059"/>
                  <a:pt x="9317" y="29207"/>
                </a:cubicBezTo>
                <a:lnTo>
                  <a:pt x="9354" y="29207"/>
                </a:lnTo>
                <a:cubicBezTo>
                  <a:pt x="9465" y="29429"/>
                  <a:pt x="9982" y="29429"/>
                  <a:pt x="10204" y="29577"/>
                </a:cubicBezTo>
                <a:lnTo>
                  <a:pt x="10241" y="29577"/>
                </a:lnTo>
                <a:cubicBezTo>
                  <a:pt x="10389" y="29614"/>
                  <a:pt x="10537" y="29651"/>
                  <a:pt x="10648" y="29651"/>
                </a:cubicBezTo>
                <a:lnTo>
                  <a:pt x="10722" y="29651"/>
                </a:lnTo>
                <a:cubicBezTo>
                  <a:pt x="10833" y="29688"/>
                  <a:pt x="10981" y="29762"/>
                  <a:pt x="11129" y="29762"/>
                </a:cubicBezTo>
                <a:lnTo>
                  <a:pt x="11165" y="29762"/>
                </a:lnTo>
                <a:cubicBezTo>
                  <a:pt x="11535" y="29984"/>
                  <a:pt x="12238" y="30057"/>
                  <a:pt x="12644" y="30021"/>
                </a:cubicBezTo>
                <a:cubicBezTo>
                  <a:pt x="12681" y="30205"/>
                  <a:pt x="13051" y="30131"/>
                  <a:pt x="13236" y="30168"/>
                </a:cubicBezTo>
                <a:lnTo>
                  <a:pt x="13236" y="30131"/>
                </a:lnTo>
                <a:lnTo>
                  <a:pt x="13310" y="30131"/>
                </a:lnTo>
                <a:lnTo>
                  <a:pt x="13901" y="30168"/>
                </a:lnTo>
                <a:cubicBezTo>
                  <a:pt x="13975" y="30242"/>
                  <a:pt x="14123" y="30168"/>
                  <a:pt x="14308" y="30242"/>
                </a:cubicBezTo>
                <a:lnTo>
                  <a:pt x="14308" y="30205"/>
                </a:lnTo>
                <a:cubicBezTo>
                  <a:pt x="14715" y="30205"/>
                  <a:pt x="15084" y="30205"/>
                  <a:pt x="15528" y="30168"/>
                </a:cubicBezTo>
                <a:cubicBezTo>
                  <a:pt x="15602" y="30316"/>
                  <a:pt x="15972" y="30168"/>
                  <a:pt x="16157" y="30168"/>
                </a:cubicBezTo>
                <a:cubicBezTo>
                  <a:pt x="16452" y="30057"/>
                  <a:pt x="16452" y="30131"/>
                  <a:pt x="16748" y="30057"/>
                </a:cubicBezTo>
                <a:lnTo>
                  <a:pt x="16748" y="30021"/>
                </a:lnTo>
                <a:lnTo>
                  <a:pt x="17598" y="29873"/>
                </a:lnTo>
                <a:cubicBezTo>
                  <a:pt x="17820" y="29873"/>
                  <a:pt x="17931" y="29762"/>
                  <a:pt x="18116" y="29688"/>
                </a:cubicBezTo>
                <a:cubicBezTo>
                  <a:pt x="18190" y="29651"/>
                  <a:pt x="18486" y="29651"/>
                  <a:pt x="18486" y="29577"/>
                </a:cubicBezTo>
                <a:cubicBezTo>
                  <a:pt x="18707" y="29577"/>
                  <a:pt x="18781" y="29503"/>
                  <a:pt x="18929" y="29429"/>
                </a:cubicBezTo>
                <a:cubicBezTo>
                  <a:pt x="19336" y="29281"/>
                  <a:pt x="19817" y="29133"/>
                  <a:pt x="20223" y="29022"/>
                </a:cubicBezTo>
                <a:lnTo>
                  <a:pt x="20334" y="28948"/>
                </a:lnTo>
                <a:cubicBezTo>
                  <a:pt x="20519" y="28874"/>
                  <a:pt x="20815" y="28837"/>
                  <a:pt x="20926" y="28690"/>
                </a:cubicBezTo>
                <a:cubicBezTo>
                  <a:pt x="21074" y="28653"/>
                  <a:pt x="21148" y="28579"/>
                  <a:pt x="21295" y="28505"/>
                </a:cubicBezTo>
                <a:cubicBezTo>
                  <a:pt x="21554" y="28357"/>
                  <a:pt x="21887" y="28209"/>
                  <a:pt x="22183" y="28024"/>
                </a:cubicBezTo>
                <a:cubicBezTo>
                  <a:pt x="22183" y="28098"/>
                  <a:pt x="22257" y="28024"/>
                  <a:pt x="22257" y="27987"/>
                </a:cubicBezTo>
                <a:cubicBezTo>
                  <a:pt x="22442" y="27950"/>
                  <a:pt x="22774" y="27728"/>
                  <a:pt x="22996" y="27580"/>
                </a:cubicBezTo>
                <a:cubicBezTo>
                  <a:pt x="23144" y="27433"/>
                  <a:pt x="23218" y="27359"/>
                  <a:pt x="23403" y="27248"/>
                </a:cubicBezTo>
                <a:cubicBezTo>
                  <a:pt x="23477" y="27211"/>
                  <a:pt x="23551" y="27174"/>
                  <a:pt x="23551" y="27100"/>
                </a:cubicBezTo>
                <a:cubicBezTo>
                  <a:pt x="23920" y="26841"/>
                  <a:pt x="24586" y="26286"/>
                  <a:pt x="24993" y="25806"/>
                </a:cubicBezTo>
                <a:cubicBezTo>
                  <a:pt x="25140" y="25621"/>
                  <a:pt x="25325" y="25510"/>
                  <a:pt x="25436" y="25325"/>
                </a:cubicBezTo>
                <a:lnTo>
                  <a:pt x="25547" y="25177"/>
                </a:lnTo>
                <a:cubicBezTo>
                  <a:pt x="25732" y="24956"/>
                  <a:pt x="25769" y="24808"/>
                  <a:pt x="25954" y="24586"/>
                </a:cubicBezTo>
                <a:cubicBezTo>
                  <a:pt x="26176" y="24253"/>
                  <a:pt x="26286" y="24068"/>
                  <a:pt x="26471" y="23735"/>
                </a:cubicBezTo>
                <a:lnTo>
                  <a:pt x="26508" y="23662"/>
                </a:lnTo>
                <a:lnTo>
                  <a:pt x="26693" y="23218"/>
                </a:lnTo>
                <a:lnTo>
                  <a:pt x="26693" y="23181"/>
                </a:lnTo>
                <a:cubicBezTo>
                  <a:pt x="26804" y="22959"/>
                  <a:pt x="26915" y="22663"/>
                  <a:pt x="27026" y="22368"/>
                </a:cubicBezTo>
                <a:cubicBezTo>
                  <a:pt x="27100" y="22072"/>
                  <a:pt x="27211" y="21739"/>
                  <a:pt x="27248" y="21554"/>
                </a:cubicBezTo>
                <a:cubicBezTo>
                  <a:pt x="27248" y="21628"/>
                  <a:pt x="27285" y="21332"/>
                  <a:pt x="27285" y="21369"/>
                </a:cubicBezTo>
                <a:cubicBezTo>
                  <a:pt x="27211" y="21702"/>
                  <a:pt x="27063" y="22035"/>
                  <a:pt x="26915" y="22442"/>
                </a:cubicBezTo>
                <a:cubicBezTo>
                  <a:pt x="26878" y="22552"/>
                  <a:pt x="26804" y="22737"/>
                  <a:pt x="26841" y="22737"/>
                </a:cubicBezTo>
                <a:cubicBezTo>
                  <a:pt x="26804" y="22811"/>
                  <a:pt x="26730" y="22922"/>
                  <a:pt x="26693" y="23033"/>
                </a:cubicBezTo>
                <a:lnTo>
                  <a:pt x="26656" y="23144"/>
                </a:lnTo>
                <a:cubicBezTo>
                  <a:pt x="26434" y="23588"/>
                  <a:pt x="26323" y="23699"/>
                  <a:pt x="26065" y="24142"/>
                </a:cubicBezTo>
                <a:lnTo>
                  <a:pt x="25991" y="24216"/>
                </a:lnTo>
                <a:cubicBezTo>
                  <a:pt x="25806" y="24475"/>
                  <a:pt x="25695" y="24623"/>
                  <a:pt x="25399" y="24993"/>
                </a:cubicBezTo>
                <a:lnTo>
                  <a:pt x="25362" y="25029"/>
                </a:lnTo>
                <a:cubicBezTo>
                  <a:pt x="25177" y="25251"/>
                  <a:pt x="24993" y="25436"/>
                  <a:pt x="24660" y="25732"/>
                </a:cubicBezTo>
                <a:lnTo>
                  <a:pt x="24438" y="25917"/>
                </a:lnTo>
                <a:lnTo>
                  <a:pt x="24253" y="26102"/>
                </a:lnTo>
                <a:cubicBezTo>
                  <a:pt x="23920" y="26360"/>
                  <a:pt x="23588" y="26619"/>
                  <a:pt x="23292" y="26841"/>
                </a:cubicBezTo>
                <a:lnTo>
                  <a:pt x="23218" y="26878"/>
                </a:lnTo>
                <a:cubicBezTo>
                  <a:pt x="22922" y="27100"/>
                  <a:pt x="22589" y="27285"/>
                  <a:pt x="22257" y="27470"/>
                </a:cubicBezTo>
                <a:lnTo>
                  <a:pt x="22183" y="27543"/>
                </a:lnTo>
                <a:cubicBezTo>
                  <a:pt x="22072" y="27580"/>
                  <a:pt x="21924" y="27654"/>
                  <a:pt x="21813" y="27728"/>
                </a:cubicBezTo>
                <a:lnTo>
                  <a:pt x="21739" y="27765"/>
                </a:lnTo>
                <a:cubicBezTo>
                  <a:pt x="21517" y="27839"/>
                  <a:pt x="21295" y="27987"/>
                  <a:pt x="21111" y="28098"/>
                </a:cubicBezTo>
                <a:lnTo>
                  <a:pt x="21074" y="28098"/>
                </a:lnTo>
                <a:cubicBezTo>
                  <a:pt x="20926" y="28135"/>
                  <a:pt x="20815" y="28172"/>
                  <a:pt x="20704" y="28209"/>
                </a:cubicBezTo>
                <a:cubicBezTo>
                  <a:pt x="20556" y="28283"/>
                  <a:pt x="20371" y="28357"/>
                  <a:pt x="20223" y="28394"/>
                </a:cubicBezTo>
                <a:cubicBezTo>
                  <a:pt x="20038" y="28468"/>
                  <a:pt x="19854" y="28542"/>
                  <a:pt x="19669" y="28579"/>
                </a:cubicBezTo>
                <a:cubicBezTo>
                  <a:pt x="19521" y="28690"/>
                  <a:pt x="19410" y="28727"/>
                  <a:pt x="19077" y="28837"/>
                </a:cubicBezTo>
                <a:cubicBezTo>
                  <a:pt x="18929" y="28874"/>
                  <a:pt x="18781" y="28911"/>
                  <a:pt x="18671" y="28911"/>
                </a:cubicBezTo>
                <a:cubicBezTo>
                  <a:pt x="18597" y="28911"/>
                  <a:pt x="18523" y="28948"/>
                  <a:pt x="18523" y="29022"/>
                </a:cubicBezTo>
                <a:cubicBezTo>
                  <a:pt x="18301" y="29022"/>
                  <a:pt x="18338" y="29022"/>
                  <a:pt x="18153" y="29096"/>
                </a:cubicBezTo>
                <a:cubicBezTo>
                  <a:pt x="17968" y="29096"/>
                  <a:pt x="18005" y="29207"/>
                  <a:pt x="17857" y="29207"/>
                </a:cubicBezTo>
                <a:cubicBezTo>
                  <a:pt x="17672" y="29207"/>
                  <a:pt x="17118" y="29318"/>
                  <a:pt x="16748" y="29392"/>
                </a:cubicBezTo>
                <a:cubicBezTo>
                  <a:pt x="16711" y="29392"/>
                  <a:pt x="16674" y="29392"/>
                  <a:pt x="16674" y="29466"/>
                </a:cubicBezTo>
                <a:cubicBezTo>
                  <a:pt x="16489" y="29429"/>
                  <a:pt x="16489" y="29466"/>
                  <a:pt x="16193" y="29466"/>
                </a:cubicBezTo>
                <a:lnTo>
                  <a:pt x="16120" y="29466"/>
                </a:lnTo>
                <a:cubicBezTo>
                  <a:pt x="15602" y="29503"/>
                  <a:pt x="15380" y="29503"/>
                  <a:pt x="14826" y="29503"/>
                </a:cubicBezTo>
                <a:lnTo>
                  <a:pt x="14419" y="29503"/>
                </a:lnTo>
                <a:cubicBezTo>
                  <a:pt x="14123" y="29614"/>
                  <a:pt x="13864" y="29392"/>
                  <a:pt x="13569" y="29503"/>
                </a:cubicBezTo>
                <a:cubicBezTo>
                  <a:pt x="13532" y="29318"/>
                  <a:pt x="13236" y="29466"/>
                  <a:pt x="13125" y="29466"/>
                </a:cubicBezTo>
                <a:cubicBezTo>
                  <a:pt x="13014" y="29244"/>
                  <a:pt x="12644" y="29503"/>
                  <a:pt x="12570" y="29318"/>
                </a:cubicBezTo>
                <a:cubicBezTo>
                  <a:pt x="12459" y="29281"/>
                  <a:pt x="12386" y="29318"/>
                  <a:pt x="12312" y="29392"/>
                </a:cubicBezTo>
                <a:cubicBezTo>
                  <a:pt x="12127" y="29392"/>
                  <a:pt x="12127" y="29207"/>
                  <a:pt x="11942" y="29244"/>
                </a:cubicBezTo>
                <a:lnTo>
                  <a:pt x="11942" y="29318"/>
                </a:lnTo>
                <a:cubicBezTo>
                  <a:pt x="11868" y="29244"/>
                  <a:pt x="11572" y="29318"/>
                  <a:pt x="11498" y="29133"/>
                </a:cubicBezTo>
                <a:lnTo>
                  <a:pt x="11202" y="29059"/>
                </a:lnTo>
                <a:lnTo>
                  <a:pt x="11018" y="29022"/>
                </a:lnTo>
                <a:lnTo>
                  <a:pt x="10611" y="28874"/>
                </a:lnTo>
                <a:cubicBezTo>
                  <a:pt x="10574" y="28690"/>
                  <a:pt x="10204" y="28690"/>
                  <a:pt x="10056" y="28579"/>
                </a:cubicBezTo>
                <a:lnTo>
                  <a:pt x="10019" y="28579"/>
                </a:lnTo>
                <a:cubicBezTo>
                  <a:pt x="9871" y="28542"/>
                  <a:pt x="9687" y="28394"/>
                  <a:pt x="9539" y="28505"/>
                </a:cubicBezTo>
                <a:cubicBezTo>
                  <a:pt x="9539" y="28320"/>
                  <a:pt x="9243" y="28320"/>
                  <a:pt x="9095" y="28172"/>
                </a:cubicBezTo>
                <a:lnTo>
                  <a:pt x="9058" y="28135"/>
                </a:lnTo>
                <a:cubicBezTo>
                  <a:pt x="8356" y="27765"/>
                  <a:pt x="8060" y="27543"/>
                  <a:pt x="7431" y="27063"/>
                </a:cubicBezTo>
                <a:cubicBezTo>
                  <a:pt x="7394" y="26915"/>
                  <a:pt x="7062" y="26619"/>
                  <a:pt x="6877" y="26693"/>
                </a:cubicBezTo>
                <a:cubicBezTo>
                  <a:pt x="6655" y="26508"/>
                  <a:pt x="6544" y="26250"/>
                  <a:pt x="6285" y="26065"/>
                </a:cubicBezTo>
                <a:cubicBezTo>
                  <a:pt x="6027" y="25880"/>
                  <a:pt x="5842" y="25621"/>
                  <a:pt x="5620" y="25436"/>
                </a:cubicBezTo>
                <a:cubicBezTo>
                  <a:pt x="5546" y="25399"/>
                  <a:pt x="5620" y="25251"/>
                  <a:pt x="5546" y="25325"/>
                </a:cubicBezTo>
                <a:cubicBezTo>
                  <a:pt x="5213" y="25029"/>
                  <a:pt x="5213" y="24697"/>
                  <a:pt x="4843" y="24512"/>
                </a:cubicBezTo>
                <a:cubicBezTo>
                  <a:pt x="4696" y="24290"/>
                  <a:pt x="4326" y="23735"/>
                  <a:pt x="3993" y="23551"/>
                </a:cubicBezTo>
                <a:cubicBezTo>
                  <a:pt x="3956" y="23514"/>
                  <a:pt x="4067" y="23477"/>
                  <a:pt x="3993" y="23403"/>
                </a:cubicBezTo>
                <a:lnTo>
                  <a:pt x="3956" y="23366"/>
                </a:lnTo>
                <a:cubicBezTo>
                  <a:pt x="3882" y="23181"/>
                  <a:pt x="3734" y="23033"/>
                  <a:pt x="3623" y="22848"/>
                </a:cubicBezTo>
                <a:cubicBezTo>
                  <a:pt x="3771" y="22478"/>
                  <a:pt x="3254" y="22405"/>
                  <a:pt x="3328" y="22109"/>
                </a:cubicBezTo>
                <a:lnTo>
                  <a:pt x="3217" y="22183"/>
                </a:lnTo>
                <a:cubicBezTo>
                  <a:pt x="3069" y="22072"/>
                  <a:pt x="3328" y="21924"/>
                  <a:pt x="3180" y="21850"/>
                </a:cubicBezTo>
                <a:lnTo>
                  <a:pt x="3069" y="21628"/>
                </a:lnTo>
                <a:cubicBezTo>
                  <a:pt x="2995" y="21443"/>
                  <a:pt x="2958" y="21295"/>
                  <a:pt x="2847" y="21111"/>
                </a:cubicBezTo>
                <a:lnTo>
                  <a:pt x="2699" y="20704"/>
                </a:lnTo>
                <a:lnTo>
                  <a:pt x="2514" y="20186"/>
                </a:lnTo>
                <a:cubicBezTo>
                  <a:pt x="2440" y="20075"/>
                  <a:pt x="2514" y="19780"/>
                  <a:pt x="2293" y="19817"/>
                </a:cubicBezTo>
                <a:cubicBezTo>
                  <a:pt x="2440" y="19595"/>
                  <a:pt x="2219" y="19447"/>
                  <a:pt x="2145" y="19262"/>
                </a:cubicBezTo>
                <a:cubicBezTo>
                  <a:pt x="2293" y="19225"/>
                  <a:pt x="2256" y="19077"/>
                  <a:pt x="2108" y="19114"/>
                </a:cubicBezTo>
                <a:cubicBezTo>
                  <a:pt x="2256" y="18929"/>
                  <a:pt x="1960" y="18892"/>
                  <a:pt x="2108" y="18597"/>
                </a:cubicBezTo>
                <a:cubicBezTo>
                  <a:pt x="1960" y="18486"/>
                  <a:pt x="2108" y="18301"/>
                  <a:pt x="2034" y="18042"/>
                </a:cubicBezTo>
                <a:cubicBezTo>
                  <a:pt x="2034" y="18005"/>
                  <a:pt x="1886" y="18005"/>
                  <a:pt x="1886" y="17931"/>
                </a:cubicBezTo>
                <a:lnTo>
                  <a:pt x="1886" y="17857"/>
                </a:lnTo>
                <a:cubicBezTo>
                  <a:pt x="1849" y="17635"/>
                  <a:pt x="1701" y="17635"/>
                  <a:pt x="1923" y="17414"/>
                </a:cubicBezTo>
                <a:lnTo>
                  <a:pt x="1849" y="17414"/>
                </a:lnTo>
                <a:lnTo>
                  <a:pt x="1775" y="16859"/>
                </a:lnTo>
                <a:lnTo>
                  <a:pt x="1775" y="16637"/>
                </a:lnTo>
                <a:lnTo>
                  <a:pt x="1775" y="16304"/>
                </a:lnTo>
                <a:lnTo>
                  <a:pt x="1775" y="15454"/>
                </a:lnTo>
                <a:cubicBezTo>
                  <a:pt x="1590" y="15269"/>
                  <a:pt x="1886" y="15195"/>
                  <a:pt x="1775" y="14899"/>
                </a:cubicBezTo>
                <a:cubicBezTo>
                  <a:pt x="1738" y="14789"/>
                  <a:pt x="1923" y="14530"/>
                  <a:pt x="1701" y="14493"/>
                </a:cubicBezTo>
                <a:cubicBezTo>
                  <a:pt x="1923" y="14419"/>
                  <a:pt x="1664" y="14345"/>
                  <a:pt x="1738" y="14160"/>
                </a:cubicBezTo>
                <a:cubicBezTo>
                  <a:pt x="2071" y="14123"/>
                  <a:pt x="1701" y="13975"/>
                  <a:pt x="1664" y="13938"/>
                </a:cubicBezTo>
                <a:cubicBezTo>
                  <a:pt x="2034" y="13938"/>
                  <a:pt x="1886" y="13606"/>
                  <a:pt x="1849" y="13495"/>
                </a:cubicBezTo>
                <a:cubicBezTo>
                  <a:pt x="1960" y="13495"/>
                  <a:pt x="1960" y="13347"/>
                  <a:pt x="1960" y="13310"/>
                </a:cubicBezTo>
                <a:lnTo>
                  <a:pt x="1960" y="13199"/>
                </a:lnTo>
                <a:cubicBezTo>
                  <a:pt x="2071" y="12829"/>
                  <a:pt x="2034" y="12459"/>
                  <a:pt x="2145" y="12238"/>
                </a:cubicBezTo>
                <a:lnTo>
                  <a:pt x="2145" y="12201"/>
                </a:lnTo>
                <a:lnTo>
                  <a:pt x="2293" y="11646"/>
                </a:lnTo>
                <a:lnTo>
                  <a:pt x="2293" y="11572"/>
                </a:lnTo>
                <a:cubicBezTo>
                  <a:pt x="2329" y="11276"/>
                  <a:pt x="2403" y="11165"/>
                  <a:pt x="2514" y="10833"/>
                </a:cubicBezTo>
                <a:lnTo>
                  <a:pt x="2514" y="10796"/>
                </a:lnTo>
                <a:cubicBezTo>
                  <a:pt x="2625" y="10537"/>
                  <a:pt x="2699" y="10278"/>
                  <a:pt x="2810" y="10019"/>
                </a:cubicBezTo>
                <a:lnTo>
                  <a:pt x="2847" y="9908"/>
                </a:lnTo>
                <a:lnTo>
                  <a:pt x="2958" y="9687"/>
                </a:lnTo>
                <a:lnTo>
                  <a:pt x="3032" y="9465"/>
                </a:lnTo>
                <a:lnTo>
                  <a:pt x="3180" y="9169"/>
                </a:lnTo>
                <a:cubicBezTo>
                  <a:pt x="3328" y="9132"/>
                  <a:pt x="3365" y="8688"/>
                  <a:pt x="3550" y="8430"/>
                </a:cubicBezTo>
                <a:lnTo>
                  <a:pt x="3586" y="8356"/>
                </a:lnTo>
                <a:lnTo>
                  <a:pt x="3697" y="8171"/>
                </a:lnTo>
                <a:lnTo>
                  <a:pt x="3734" y="8134"/>
                </a:lnTo>
                <a:cubicBezTo>
                  <a:pt x="3734" y="8023"/>
                  <a:pt x="3771" y="7875"/>
                  <a:pt x="3882" y="7801"/>
                </a:cubicBezTo>
                <a:cubicBezTo>
                  <a:pt x="3919" y="7764"/>
                  <a:pt x="3956" y="7653"/>
                  <a:pt x="3882" y="7653"/>
                </a:cubicBezTo>
                <a:cubicBezTo>
                  <a:pt x="3808" y="7505"/>
                  <a:pt x="4178" y="7505"/>
                  <a:pt x="4104" y="7321"/>
                </a:cubicBezTo>
                <a:lnTo>
                  <a:pt x="4141" y="7284"/>
                </a:lnTo>
                <a:cubicBezTo>
                  <a:pt x="4363" y="7284"/>
                  <a:pt x="4622" y="6914"/>
                  <a:pt x="4548" y="6729"/>
                </a:cubicBezTo>
                <a:cubicBezTo>
                  <a:pt x="4843" y="6581"/>
                  <a:pt x="4843" y="6322"/>
                  <a:pt x="5102" y="6027"/>
                </a:cubicBezTo>
                <a:cubicBezTo>
                  <a:pt x="5102" y="5990"/>
                  <a:pt x="5176" y="5953"/>
                  <a:pt x="5102" y="5916"/>
                </a:cubicBezTo>
                <a:cubicBezTo>
                  <a:pt x="5435" y="5916"/>
                  <a:pt x="5065" y="5620"/>
                  <a:pt x="5287" y="5546"/>
                </a:cubicBezTo>
                <a:cubicBezTo>
                  <a:pt x="5398" y="5620"/>
                  <a:pt x="5361" y="5657"/>
                  <a:pt x="5435" y="5731"/>
                </a:cubicBezTo>
                <a:lnTo>
                  <a:pt x="5620" y="5546"/>
                </a:lnTo>
                <a:lnTo>
                  <a:pt x="5953" y="5213"/>
                </a:lnTo>
                <a:lnTo>
                  <a:pt x="5990" y="5176"/>
                </a:lnTo>
                <a:cubicBezTo>
                  <a:pt x="6137" y="5065"/>
                  <a:pt x="6285" y="4917"/>
                  <a:pt x="6359" y="4843"/>
                </a:cubicBezTo>
                <a:lnTo>
                  <a:pt x="6544" y="4659"/>
                </a:lnTo>
                <a:lnTo>
                  <a:pt x="6729" y="4511"/>
                </a:lnTo>
                <a:cubicBezTo>
                  <a:pt x="6840" y="4511"/>
                  <a:pt x="7210" y="4141"/>
                  <a:pt x="7505" y="3919"/>
                </a:cubicBezTo>
                <a:cubicBezTo>
                  <a:pt x="7801" y="3697"/>
                  <a:pt x="7986" y="3513"/>
                  <a:pt x="7468" y="3734"/>
                </a:cubicBezTo>
                <a:lnTo>
                  <a:pt x="7321" y="3549"/>
                </a:lnTo>
                <a:cubicBezTo>
                  <a:pt x="7468" y="3402"/>
                  <a:pt x="7764" y="3402"/>
                  <a:pt x="7764" y="3180"/>
                </a:cubicBezTo>
                <a:cubicBezTo>
                  <a:pt x="7838" y="3069"/>
                  <a:pt x="7949" y="3254"/>
                  <a:pt x="8023" y="3143"/>
                </a:cubicBezTo>
                <a:lnTo>
                  <a:pt x="7986" y="3032"/>
                </a:lnTo>
                <a:cubicBezTo>
                  <a:pt x="8023" y="3032"/>
                  <a:pt x="8134" y="3069"/>
                  <a:pt x="8171" y="3180"/>
                </a:cubicBezTo>
                <a:cubicBezTo>
                  <a:pt x="8060" y="3217"/>
                  <a:pt x="8023" y="3254"/>
                  <a:pt x="8023" y="3365"/>
                </a:cubicBezTo>
                <a:cubicBezTo>
                  <a:pt x="7653" y="3771"/>
                  <a:pt x="8541" y="3402"/>
                  <a:pt x="8725" y="3217"/>
                </a:cubicBezTo>
                <a:cubicBezTo>
                  <a:pt x="8984" y="3180"/>
                  <a:pt x="9058" y="2884"/>
                  <a:pt x="9280" y="2847"/>
                </a:cubicBezTo>
                <a:cubicBezTo>
                  <a:pt x="9354" y="3069"/>
                  <a:pt x="9502" y="2810"/>
                  <a:pt x="9613" y="2810"/>
                </a:cubicBezTo>
                <a:cubicBezTo>
                  <a:pt x="9613" y="2625"/>
                  <a:pt x="9835" y="2625"/>
                  <a:pt x="9982" y="2514"/>
                </a:cubicBezTo>
                <a:cubicBezTo>
                  <a:pt x="10019" y="2625"/>
                  <a:pt x="10093" y="2625"/>
                  <a:pt x="10167" y="2588"/>
                </a:cubicBezTo>
                <a:lnTo>
                  <a:pt x="10278" y="2514"/>
                </a:lnTo>
                <a:cubicBezTo>
                  <a:pt x="10352" y="2477"/>
                  <a:pt x="10426" y="2477"/>
                  <a:pt x="10389" y="2403"/>
                </a:cubicBezTo>
                <a:cubicBezTo>
                  <a:pt x="10574" y="2440"/>
                  <a:pt x="10796" y="2256"/>
                  <a:pt x="10907" y="2256"/>
                </a:cubicBezTo>
                <a:cubicBezTo>
                  <a:pt x="11387" y="2071"/>
                  <a:pt x="11942" y="1960"/>
                  <a:pt x="12496" y="1849"/>
                </a:cubicBezTo>
                <a:lnTo>
                  <a:pt x="12792" y="1775"/>
                </a:lnTo>
                <a:cubicBezTo>
                  <a:pt x="12829" y="2034"/>
                  <a:pt x="13014" y="1849"/>
                  <a:pt x="13051" y="1738"/>
                </a:cubicBezTo>
                <a:cubicBezTo>
                  <a:pt x="13162" y="2071"/>
                  <a:pt x="13162" y="1590"/>
                  <a:pt x="13236" y="1701"/>
                </a:cubicBezTo>
                <a:lnTo>
                  <a:pt x="13310" y="1701"/>
                </a:lnTo>
                <a:cubicBezTo>
                  <a:pt x="13421" y="1923"/>
                  <a:pt x="13753" y="1701"/>
                  <a:pt x="13975" y="1738"/>
                </a:cubicBezTo>
                <a:lnTo>
                  <a:pt x="14049" y="1738"/>
                </a:lnTo>
                <a:lnTo>
                  <a:pt x="14086" y="1738"/>
                </a:lnTo>
                <a:cubicBezTo>
                  <a:pt x="14345" y="1738"/>
                  <a:pt x="14604" y="1701"/>
                  <a:pt x="14863" y="1701"/>
                </a:cubicBezTo>
                <a:lnTo>
                  <a:pt x="14900" y="1701"/>
                </a:lnTo>
                <a:cubicBezTo>
                  <a:pt x="15380" y="1664"/>
                  <a:pt x="15565" y="1701"/>
                  <a:pt x="16009" y="1701"/>
                </a:cubicBezTo>
                <a:lnTo>
                  <a:pt x="16452" y="1701"/>
                </a:lnTo>
                <a:cubicBezTo>
                  <a:pt x="16711" y="1701"/>
                  <a:pt x="16896" y="1738"/>
                  <a:pt x="17081" y="1886"/>
                </a:cubicBezTo>
                <a:cubicBezTo>
                  <a:pt x="17229" y="1886"/>
                  <a:pt x="17303" y="1738"/>
                  <a:pt x="17450" y="1849"/>
                </a:cubicBezTo>
                <a:cubicBezTo>
                  <a:pt x="17968" y="2108"/>
                  <a:pt x="18523" y="2071"/>
                  <a:pt x="19225" y="2256"/>
                </a:cubicBezTo>
                <a:lnTo>
                  <a:pt x="19299" y="2292"/>
                </a:lnTo>
                <a:cubicBezTo>
                  <a:pt x="19484" y="2329"/>
                  <a:pt x="19669" y="2403"/>
                  <a:pt x="19891" y="2477"/>
                </a:cubicBezTo>
                <a:cubicBezTo>
                  <a:pt x="20186" y="2662"/>
                  <a:pt x="20519" y="2625"/>
                  <a:pt x="20926" y="2810"/>
                </a:cubicBezTo>
                <a:lnTo>
                  <a:pt x="21628" y="3069"/>
                </a:lnTo>
                <a:lnTo>
                  <a:pt x="21702" y="3143"/>
                </a:lnTo>
                <a:lnTo>
                  <a:pt x="22035" y="3254"/>
                </a:lnTo>
                <a:cubicBezTo>
                  <a:pt x="22220" y="3365"/>
                  <a:pt x="22368" y="3402"/>
                  <a:pt x="22552" y="3513"/>
                </a:cubicBezTo>
                <a:cubicBezTo>
                  <a:pt x="22737" y="3586"/>
                  <a:pt x="22811" y="3623"/>
                  <a:pt x="23033" y="3771"/>
                </a:cubicBezTo>
                <a:cubicBezTo>
                  <a:pt x="23329" y="3919"/>
                  <a:pt x="23588" y="3919"/>
                  <a:pt x="23846" y="4178"/>
                </a:cubicBezTo>
                <a:cubicBezTo>
                  <a:pt x="24031" y="4252"/>
                  <a:pt x="24142" y="4548"/>
                  <a:pt x="24327" y="4474"/>
                </a:cubicBezTo>
                <a:lnTo>
                  <a:pt x="24401" y="4511"/>
                </a:lnTo>
                <a:cubicBezTo>
                  <a:pt x="24327" y="4622"/>
                  <a:pt x="24401" y="4659"/>
                  <a:pt x="24438" y="4696"/>
                </a:cubicBezTo>
                <a:cubicBezTo>
                  <a:pt x="24660" y="4659"/>
                  <a:pt x="24808" y="5065"/>
                  <a:pt x="25029" y="4991"/>
                </a:cubicBezTo>
                <a:cubicBezTo>
                  <a:pt x="24993" y="5102"/>
                  <a:pt x="25066" y="5176"/>
                  <a:pt x="25177" y="5250"/>
                </a:cubicBezTo>
                <a:cubicBezTo>
                  <a:pt x="25251" y="5361"/>
                  <a:pt x="25140" y="5435"/>
                  <a:pt x="25325" y="5398"/>
                </a:cubicBezTo>
                <a:lnTo>
                  <a:pt x="25547" y="5620"/>
                </a:lnTo>
                <a:cubicBezTo>
                  <a:pt x="25584" y="5731"/>
                  <a:pt x="25695" y="5620"/>
                  <a:pt x="25732" y="5731"/>
                </a:cubicBezTo>
                <a:lnTo>
                  <a:pt x="26065" y="6100"/>
                </a:lnTo>
                <a:lnTo>
                  <a:pt x="26102" y="6137"/>
                </a:lnTo>
                <a:cubicBezTo>
                  <a:pt x="26250" y="6285"/>
                  <a:pt x="26176" y="6655"/>
                  <a:pt x="26508" y="6507"/>
                </a:cubicBezTo>
                <a:cubicBezTo>
                  <a:pt x="26508" y="6581"/>
                  <a:pt x="26508" y="6692"/>
                  <a:pt x="26619" y="6766"/>
                </a:cubicBezTo>
                <a:cubicBezTo>
                  <a:pt x="26730" y="6914"/>
                  <a:pt x="26841" y="7247"/>
                  <a:pt x="27026" y="7247"/>
                </a:cubicBezTo>
                <a:cubicBezTo>
                  <a:pt x="27100" y="7653"/>
                  <a:pt x="27396" y="7949"/>
                  <a:pt x="27580" y="8060"/>
                </a:cubicBezTo>
                <a:cubicBezTo>
                  <a:pt x="27654" y="8208"/>
                  <a:pt x="27765" y="8319"/>
                  <a:pt x="27654" y="8430"/>
                </a:cubicBezTo>
                <a:cubicBezTo>
                  <a:pt x="27765" y="8578"/>
                  <a:pt x="27802" y="8725"/>
                  <a:pt x="27913" y="8725"/>
                </a:cubicBezTo>
                <a:cubicBezTo>
                  <a:pt x="27765" y="8910"/>
                  <a:pt x="28098" y="9132"/>
                  <a:pt x="28135" y="9132"/>
                </a:cubicBezTo>
                <a:cubicBezTo>
                  <a:pt x="28357" y="9613"/>
                  <a:pt x="28542" y="10056"/>
                  <a:pt x="28764" y="10352"/>
                </a:cubicBezTo>
                <a:cubicBezTo>
                  <a:pt x="28837" y="10426"/>
                  <a:pt x="28727" y="10463"/>
                  <a:pt x="28764" y="10574"/>
                </a:cubicBezTo>
                <a:lnTo>
                  <a:pt x="28874" y="10537"/>
                </a:lnTo>
                <a:lnTo>
                  <a:pt x="29133" y="11202"/>
                </a:lnTo>
                <a:cubicBezTo>
                  <a:pt x="29244" y="11498"/>
                  <a:pt x="29281" y="11831"/>
                  <a:pt x="29466" y="12016"/>
                </a:cubicBezTo>
                <a:cubicBezTo>
                  <a:pt x="29577" y="12238"/>
                  <a:pt x="29614" y="12496"/>
                  <a:pt x="29651" y="12792"/>
                </a:cubicBezTo>
                <a:lnTo>
                  <a:pt x="29688" y="12940"/>
                </a:lnTo>
                <a:cubicBezTo>
                  <a:pt x="29799" y="13199"/>
                  <a:pt x="29762" y="13606"/>
                  <a:pt x="29947" y="13790"/>
                </a:cubicBezTo>
                <a:lnTo>
                  <a:pt x="29984" y="14160"/>
                </a:lnTo>
                <a:cubicBezTo>
                  <a:pt x="30058" y="14345"/>
                  <a:pt x="29984" y="14715"/>
                  <a:pt x="30131" y="14863"/>
                </a:cubicBezTo>
                <a:lnTo>
                  <a:pt x="30168" y="15343"/>
                </a:lnTo>
                <a:cubicBezTo>
                  <a:pt x="30205" y="15454"/>
                  <a:pt x="30131" y="15787"/>
                  <a:pt x="30242" y="15824"/>
                </a:cubicBezTo>
                <a:cubicBezTo>
                  <a:pt x="30168" y="16083"/>
                  <a:pt x="30316" y="16489"/>
                  <a:pt x="30242" y="16859"/>
                </a:cubicBezTo>
                <a:cubicBezTo>
                  <a:pt x="30316" y="16933"/>
                  <a:pt x="30168" y="17118"/>
                  <a:pt x="30316" y="17118"/>
                </a:cubicBezTo>
                <a:lnTo>
                  <a:pt x="30242" y="17487"/>
                </a:lnTo>
                <a:cubicBezTo>
                  <a:pt x="30242" y="17561"/>
                  <a:pt x="30242" y="17598"/>
                  <a:pt x="30316" y="17598"/>
                </a:cubicBezTo>
                <a:cubicBezTo>
                  <a:pt x="30168" y="17672"/>
                  <a:pt x="30353" y="17931"/>
                  <a:pt x="30242" y="18153"/>
                </a:cubicBezTo>
                <a:cubicBezTo>
                  <a:pt x="30168" y="18523"/>
                  <a:pt x="30353" y="18523"/>
                  <a:pt x="30205" y="18781"/>
                </a:cubicBezTo>
                <a:cubicBezTo>
                  <a:pt x="30168" y="19151"/>
                  <a:pt x="30058" y="19595"/>
                  <a:pt x="30021" y="20038"/>
                </a:cubicBezTo>
                <a:lnTo>
                  <a:pt x="29947" y="20334"/>
                </a:lnTo>
                <a:cubicBezTo>
                  <a:pt x="29836" y="20556"/>
                  <a:pt x="29799" y="20778"/>
                  <a:pt x="29762" y="21000"/>
                </a:cubicBezTo>
                <a:cubicBezTo>
                  <a:pt x="29688" y="21258"/>
                  <a:pt x="29503" y="21517"/>
                  <a:pt x="29503" y="21702"/>
                </a:cubicBezTo>
                <a:cubicBezTo>
                  <a:pt x="29466" y="21887"/>
                  <a:pt x="29281" y="22109"/>
                  <a:pt x="29318" y="22220"/>
                </a:cubicBezTo>
                <a:cubicBezTo>
                  <a:pt x="28874" y="23107"/>
                  <a:pt x="28394" y="23883"/>
                  <a:pt x="27802" y="24660"/>
                </a:cubicBezTo>
                <a:lnTo>
                  <a:pt x="27765" y="24697"/>
                </a:lnTo>
                <a:cubicBezTo>
                  <a:pt x="27396" y="25214"/>
                  <a:pt x="26989" y="25695"/>
                  <a:pt x="26508" y="26139"/>
                </a:cubicBezTo>
                <a:lnTo>
                  <a:pt x="26471" y="26176"/>
                </a:lnTo>
                <a:cubicBezTo>
                  <a:pt x="26139" y="26508"/>
                  <a:pt x="25806" y="26841"/>
                  <a:pt x="25510" y="27100"/>
                </a:cubicBezTo>
                <a:cubicBezTo>
                  <a:pt x="25436" y="27211"/>
                  <a:pt x="25325" y="27285"/>
                  <a:pt x="25214" y="27396"/>
                </a:cubicBezTo>
                <a:lnTo>
                  <a:pt x="24105" y="28320"/>
                </a:lnTo>
                <a:lnTo>
                  <a:pt x="23883" y="28505"/>
                </a:lnTo>
                <a:lnTo>
                  <a:pt x="23883" y="28505"/>
                </a:lnTo>
                <a:cubicBezTo>
                  <a:pt x="23846" y="28542"/>
                  <a:pt x="23772" y="28542"/>
                  <a:pt x="23772" y="28542"/>
                </a:cubicBezTo>
                <a:lnTo>
                  <a:pt x="23846" y="28505"/>
                </a:lnTo>
                <a:lnTo>
                  <a:pt x="23846" y="28505"/>
                </a:lnTo>
                <a:lnTo>
                  <a:pt x="23883" y="28468"/>
                </a:lnTo>
                <a:lnTo>
                  <a:pt x="23920" y="28394"/>
                </a:lnTo>
                <a:cubicBezTo>
                  <a:pt x="23957" y="28357"/>
                  <a:pt x="24031" y="28357"/>
                  <a:pt x="24068" y="28320"/>
                </a:cubicBezTo>
                <a:lnTo>
                  <a:pt x="24105" y="28283"/>
                </a:lnTo>
                <a:cubicBezTo>
                  <a:pt x="24771" y="27802"/>
                  <a:pt x="25325" y="27433"/>
                  <a:pt x="25991" y="26841"/>
                </a:cubicBezTo>
                <a:lnTo>
                  <a:pt x="26065" y="26804"/>
                </a:lnTo>
                <a:cubicBezTo>
                  <a:pt x="26360" y="26508"/>
                  <a:pt x="26730" y="26139"/>
                  <a:pt x="26915" y="25991"/>
                </a:cubicBezTo>
                <a:lnTo>
                  <a:pt x="27026" y="25917"/>
                </a:lnTo>
                <a:lnTo>
                  <a:pt x="27396" y="25547"/>
                </a:lnTo>
                <a:cubicBezTo>
                  <a:pt x="28098" y="24808"/>
                  <a:pt x="28542" y="24105"/>
                  <a:pt x="29133" y="23292"/>
                </a:cubicBezTo>
                <a:lnTo>
                  <a:pt x="29207" y="23218"/>
                </a:lnTo>
                <a:lnTo>
                  <a:pt x="29466" y="22811"/>
                </a:lnTo>
                <a:lnTo>
                  <a:pt x="29577" y="22663"/>
                </a:lnTo>
                <a:cubicBezTo>
                  <a:pt x="29614" y="22478"/>
                  <a:pt x="29614" y="22478"/>
                  <a:pt x="29762" y="22405"/>
                </a:cubicBezTo>
                <a:lnTo>
                  <a:pt x="29799" y="22294"/>
                </a:lnTo>
                <a:cubicBezTo>
                  <a:pt x="29873" y="21998"/>
                  <a:pt x="30131" y="21443"/>
                  <a:pt x="30242" y="21185"/>
                </a:cubicBezTo>
                <a:lnTo>
                  <a:pt x="30242" y="21148"/>
                </a:lnTo>
                <a:cubicBezTo>
                  <a:pt x="30242" y="20926"/>
                  <a:pt x="30427" y="20556"/>
                  <a:pt x="30538" y="20260"/>
                </a:cubicBezTo>
                <a:cubicBezTo>
                  <a:pt x="30538" y="20038"/>
                  <a:pt x="30760" y="19632"/>
                  <a:pt x="30723" y="19410"/>
                </a:cubicBezTo>
                <a:lnTo>
                  <a:pt x="30871" y="18892"/>
                </a:lnTo>
                <a:cubicBezTo>
                  <a:pt x="30797" y="18338"/>
                  <a:pt x="31056" y="18153"/>
                  <a:pt x="30945" y="18005"/>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14" name="Google Shape;2114;p51"/>
          <p:cNvSpPr/>
          <p:nvPr/>
        </p:nvSpPr>
        <p:spPr>
          <a:xfrm flipH="1">
            <a:off x="3773712" y="2061398"/>
            <a:ext cx="2217871" cy="2241032"/>
          </a:xfrm>
          <a:custGeom>
            <a:avLst/>
            <a:gdLst/>
            <a:ahLst/>
            <a:cxnLst/>
            <a:rect l="l" t="t" r="r" b="b"/>
            <a:pathLst>
              <a:path w="29873" h="29208" extrusionOk="0">
                <a:moveTo>
                  <a:pt x="29540" y="13606"/>
                </a:moveTo>
                <a:cubicBezTo>
                  <a:pt x="29873" y="13495"/>
                  <a:pt x="29392" y="13310"/>
                  <a:pt x="29577" y="13088"/>
                </a:cubicBezTo>
                <a:cubicBezTo>
                  <a:pt x="29540" y="12940"/>
                  <a:pt x="29725" y="12681"/>
                  <a:pt x="29503" y="12681"/>
                </a:cubicBezTo>
                <a:cubicBezTo>
                  <a:pt x="29503" y="12349"/>
                  <a:pt x="29540" y="12016"/>
                  <a:pt x="29355" y="11794"/>
                </a:cubicBezTo>
                <a:lnTo>
                  <a:pt x="29355" y="11757"/>
                </a:lnTo>
                <a:cubicBezTo>
                  <a:pt x="29355" y="11609"/>
                  <a:pt x="29355" y="11461"/>
                  <a:pt x="29318" y="11313"/>
                </a:cubicBezTo>
                <a:cubicBezTo>
                  <a:pt x="29207" y="11055"/>
                  <a:pt x="29355" y="10537"/>
                  <a:pt x="29060" y="10389"/>
                </a:cubicBezTo>
                <a:cubicBezTo>
                  <a:pt x="29023" y="10204"/>
                  <a:pt x="29023" y="10020"/>
                  <a:pt x="28986" y="9835"/>
                </a:cubicBezTo>
                <a:cubicBezTo>
                  <a:pt x="28986" y="9613"/>
                  <a:pt x="28838" y="9539"/>
                  <a:pt x="28764" y="9391"/>
                </a:cubicBezTo>
                <a:cubicBezTo>
                  <a:pt x="28875" y="9354"/>
                  <a:pt x="28838" y="9169"/>
                  <a:pt x="28690" y="9206"/>
                </a:cubicBezTo>
                <a:cubicBezTo>
                  <a:pt x="28690" y="9058"/>
                  <a:pt x="28616" y="8689"/>
                  <a:pt x="28505" y="8615"/>
                </a:cubicBezTo>
                <a:cubicBezTo>
                  <a:pt x="28505" y="8541"/>
                  <a:pt x="28468" y="8504"/>
                  <a:pt x="28394" y="8541"/>
                </a:cubicBezTo>
                <a:cubicBezTo>
                  <a:pt x="28320" y="8430"/>
                  <a:pt x="28431" y="8356"/>
                  <a:pt x="28579" y="8430"/>
                </a:cubicBezTo>
                <a:cubicBezTo>
                  <a:pt x="28505" y="8282"/>
                  <a:pt x="28320" y="8282"/>
                  <a:pt x="28320" y="8097"/>
                </a:cubicBezTo>
                <a:lnTo>
                  <a:pt x="28246" y="8134"/>
                </a:lnTo>
                <a:lnTo>
                  <a:pt x="28246" y="8097"/>
                </a:lnTo>
                <a:cubicBezTo>
                  <a:pt x="28394" y="8060"/>
                  <a:pt x="28320" y="7949"/>
                  <a:pt x="28283" y="7875"/>
                </a:cubicBezTo>
                <a:cubicBezTo>
                  <a:pt x="28135" y="7690"/>
                  <a:pt x="28209" y="7210"/>
                  <a:pt x="27913" y="7210"/>
                </a:cubicBezTo>
                <a:cubicBezTo>
                  <a:pt x="27729" y="6766"/>
                  <a:pt x="27655" y="6655"/>
                  <a:pt x="27359" y="6322"/>
                </a:cubicBezTo>
                <a:lnTo>
                  <a:pt x="27322" y="6285"/>
                </a:lnTo>
                <a:cubicBezTo>
                  <a:pt x="27285" y="6064"/>
                  <a:pt x="27137" y="6027"/>
                  <a:pt x="26989" y="5916"/>
                </a:cubicBezTo>
                <a:cubicBezTo>
                  <a:pt x="27026" y="5879"/>
                  <a:pt x="27100" y="5842"/>
                  <a:pt x="27026" y="5731"/>
                </a:cubicBezTo>
                <a:cubicBezTo>
                  <a:pt x="26915" y="5583"/>
                  <a:pt x="26841" y="5176"/>
                  <a:pt x="26620" y="5287"/>
                </a:cubicBezTo>
                <a:lnTo>
                  <a:pt x="26361" y="4844"/>
                </a:lnTo>
                <a:cubicBezTo>
                  <a:pt x="26102" y="4548"/>
                  <a:pt x="25880" y="4252"/>
                  <a:pt x="25621" y="3919"/>
                </a:cubicBezTo>
                <a:cubicBezTo>
                  <a:pt x="25547" y="3845"/>
                  <a:pt x="25436" y="3919"/>
                  <a:pt x="25363" y="3845"/>
                </a:cubicBezTo>
                <a:cubicBezTo>
                  <a:pt x="25252" y="3624"/>
                  <a:pt x="25178" y="3439"/>
                  <a:pt x="24919" y="3365"/>
                </a:cubicBezTo>
                <a:lnTo>
                  <a:pt x="24882" y="3328"/>
                </a:lnTo>
                <a:cubicBezTo>
                  <a:pt x="24734" y="3254"/>
                  <a:pt x="24623" y="3106"/>
                  <a:pt x="24512" y="2995"/>
                </a:cubicBezTo>
                <a:lnTo>
                  <a:pt x="24438" y="2958"/>
                </a:lnTo>
                <a:cubicBezTo>
                  <a:pt x="24253" y="2884"/>
                  <a:pt x="24069" y="2514"/>
                  <a:pt x="23847" y="2625"/>
                </a:cubicBezTo>
                <a:lnTo>
                  <a:pt x="23699" y="2551"/>
                </a:lnTo>
                <a:lnTo>
                  <a:pt x="23440" y="2293"/>
                </a:lnTo>
                <a:cubicBezTo>
                  <a:pt x="23144" y="2034"/>
                  <a:pt x="22183" y="1627"/>
                  <a:pt x="21924" y="1368"/>
                </a:cubicBezTo>
                <a:lnTo>
                  <a:pt x="21813" y="1331"/>
                </a:lnTo>
                <a:cubicBezTo>
                  <a:pt x="21444" y="1257"/>
                  <a:pt x="21000" y="814"/>
                  <a:pt x="20630" y="962"/>
                </a:cubicBezTo>
                <a:cubicBezTo>
                  <a:pt x="20482" y="962"/>
                  <a:pt x="20519" y="777"/>
                  <a:pt x="20445" y="777"/>
                </a:cubicBezTo>
                <a:cubicBezTo>
                  <a:pt x="20113" y="629"/>
                  <a:pt x="19743" y="555"/>
                  <a:pt x="19410" y="444"/>
                </a:cubicBezTo>
                <a:cubicBezTo>
                  <a:pt x="19077" y="296"/>
                  <a:pt x="18856" y="518"/>
                  <a:pt x="18523" y="370"/>
                </a:cubicBezTo>
                <a:lnTo>
                  <a:pt x="18227" y="333"/>
                </a:lnTo>
                <a:cubicBezTo>
                  <a:pt x="18042" y="259"/>
                  <a:pt x="17894" y="259"/>
                  <a:pt x="17710" y="222"/>
                </a:cubicBezTo>
                <a:cubicBezTo>
                  <a:pt x="17303" y="222"/>
                  <a:pt x="16748" y="0"/>
                  <a:pt x="16453" y="222"/>
                </a:cubicBezTo>
                <a:cubicBezTo>
                  <a:pt x="15676" y="74"/>
                  <a:pt x="14752" y="296"/>
                  <a:pt x="14049" y="444"/>
                </a:cubicBezTo>
                <a:cubicBezTo>
                  <a:pt x="13791" y="555"/>
                  <a:pt x="13273" y="407"/>
                  <a:pt x="13125" y="740"/>
                </a:cubicBezTo>
                <a:cubicBezTo>
                  <a:pt x="12792" y="555"/>
                  <a:pt x="12534" y="925"/>
                  <a:pt x="12312" y="851"/>
                </a:cubicBezTo>
                <a:cubicBezTo>
                  <a:pt x="12053" y="962"/>
                  <a:pt x="11609" y="888"/>
                  <a:pt x="11498" y="1147"/>
                </a:cubicBezTo>
                <a:cubicBezTo>
                  <a:pt x="11314" y="1294"/>
                  <a:pt x="11240" y="999"/>
                  <a:pt x="11203" y="1257"/>
                </a:cubicBezTo>
                <a:cubicBezTo>
                  <a:pt x="10500" y="1516"/>
                  <a:pt x="9650" y="1738"/>
                  <a:pt x="9169" y="2071"/>
                </a:cubicBezTo>
                <a:cubicBezTo>
                  <a:pt x="9058" y="2256"/>
                  <a:pt x="8800" y="2182"/>
                  <a:pt x="8504" y="2404"/>
                </a:cubicBezTo>
                <a:lnTo>
                  <a:pt x="8541" y="2514"/>
                </a:lnTo>
                <a:cubicBezTo>
                  <a:pt x="8282" y="2625"/>
                  <a:pt x="8060" y="2773"/>
                  <a:pt x="7764" y="2958"/>
                </a:cubicBezTo>
                <a:cubicBezTo>
                  <a:pt x="7025" y="3476"/>
                  <a:pt x="6692" y="3808"/>
                  <a:pt x="5879" y="4363"/>
                </a:cubicBezTo>
                <a:cubicBezTo>
                  <a:pt x="5657" y="4548"/>
                  <a:pt x="5472" y="4733"/>
                  <a:pt x="5213" y="4918"/>
                </a:cubicBezTo>
                <a:cubicBezTo>
                  <a:pt x="5103" y="5102"/>
                  <a:pt x="4733" y="5213"/>
                  <a:pt x="4770" y="5472"/>
                </a:cubicBezTo>
                <a:cubicBezTo>
                  <a:pt x="4585" y="5509"/>
                  <a:pt x="4437" y="5583"/>
                  <a:pt x="4363" y="5879"/>
                </a:cubicBezTo>
                <a:cubicBezTo>
                  <a:pt x="3846" y="5916"/>
                  <a:pt x="3809" y="6655"/>
                  <a:pt x="3365" y="6803"/>
                </a:cubicBezTo>
                <a:cubicBezTo>
                  <a:pt x="3291" y="6988"/>
                  <a:pt x="2921" y="7173"/>
                  <a:pt x="3069" y="7395"/>
                </a:cubicBezTo>
                <a:lnTo>
                  <a:pt x="2995" y="7432"/>
                </a:lnTo>
                <a:cubicBezTo>
                  <a:pt x="2736" y="7358"/>
                  <a:pt x="2699" y="7801"/>
                  <a:pt x="2552" y="7912"/>
                </a:cubicBezTo>
                <a:cubicBezTo>
                  <a:pt x="2441" y="8060"/>
                  <a:pt x="2589" y="8171"/>
                  <a:pt x="2404" y="8282"/>
                </a:cubicBezTo>
                <a:cubicBezTo>
                  <a:pt x="2256" y="8171"/>
                  <a:pt x="2219" y="8356"/>
                  <a:pt x="2182" y="8467"/>
                </a:cubicBezTo>
                <a:cubicBezTo>
                  <a:pt x="2182" y="8541"/>
                  <a:pt x="2145" y="8652"/>
                  <a:pt x="2034" y="8689"/>
                </a:cubicBezTo>
                <a:cubicBezTo>
                  <a:pt x="2367" y="7616"/>
                  <a:pt x="2626" y="6951"/>
                  <a:pt x="3069" y="6064"/>
                </a:cubicBezTo>
                <a:cubicBezTo>
                  <a:pt x="3291" y="5879"/>
                  <a:pt x="3106" y="5694"/>
                  <a:pt x="3254" y="5509"/>
                </a:cubicBezTo>
                <a:cubicBezTo>
                  <a:pt x="3365" y="5398"/>
                  <a:pt x="3328" y="5139"/>
                  <a:pt x="3661" y="4918"/>
                </a:cubicBezTo>
                <a:cubicBezTo>
                  <a:pt x="3735" y="4770"/>
                  <a:pt x="3883" y="4585"/>
                  <a:pt x="4030" y="4437"/>
                </a:cubicBezTo>
                <a:lnTo>
                  <a:pt x="4067" y="4400"/>
                </a:lnTo>
                <a:cubicBezTo>
                  <a:pt x="4104" y="4326"/>
                  <a:pt x="4067" y="4252"/>
                  <a:pt x="4067" y="4215"/>
                </a:cubicBezTo>
                <a:cubicBezTo>
                  <a:pt x="4178" y="4030"/>
                  <a:pt x="4548" y="3882"/>
                  <a:pt x="4437" y="3661"/>
                </a:cubicBezTo>
                <a:cubicBezTo>
                  <a:pt x="4733" y="3587"/>
                  <a:pt x="4659" y="3402"/>
                  <a:pt x="4844" y="3217"/>
                </a:cubicBezTo>
                <a:cubicBezTo>
                  <a:pt x="5103" y="2921"/>
                  <a:pt x="5694" y="2662"/>
                  <a:pt x="5768" y="2293"/>
                </a:cubicBezTo>
                <a:cubicBezTo>
                  <a:pt x="6027" y="2071"/>
                  <a:pt x="6507" y="1960"/>
                  <a:pt x="6581" y="1664"/>
                </a:cubicBezTo>
                <a:cubicBezTo>
                  <a:pt x="6951" y="1627"/>
                  <a:pt x="7506" y="1553"/>
                  <a:pt x="7617" y="1147"/>
                </a:cubicBezTo>
                <a:cubicBezTo>
                  <a:pt x="7691" y="1110"/>
                  <a:pt x="7617" y="962"/>
                  <a:pt x="7580" y="851"/>
                </a:cubicBezTo>
                <a:cubicBezTo>
                  <a:pt x="7691" y="777"/>
                  <a:pt x="7580" y="666"/>
                  <a:pt x="7617" y="555"/>
                </a:cubicBezTo>
                <a:lnTo>
                  <a:pt x="7691" y="555"/>
                </a:lnTo>
                <a:cubicBezTo>
                  <a:pt x="7617" y="333"/>
                  <a:pt x="7543" y="222"/>
                  <a:pt x="7432" y="148"/>
                </a:cubicBezTo>
                <a:cubicBezTo>
                  <a:pt x="7395" y="74"/>
                  <a:pt x="7358" y="74"/>
                  <a:pt x="7321" y="74"/>
                </a:cubicBezTo>
                <a:lnTo>
                  <a:pt x="7210" y="74"/>
                </a:lnTo>
                <a:cubicBezTo>
                  <a:pt x="7173" y="74"/>
                  <a:pt x="7136" y="148"/>
                  <a:pt x="7062" y="148"/>
                </a:cubicBezTo>
                <a:lnTo>
                  <a:pt x="6803" y="296"/>
                </a:lnTo>
                <a:cubicBezTo>
                  <a:pt x="6249" y="222"/>
                  <a:pt x="6323" y="740"/>
                  <a:pt x="5731" y="851"/>
                </a:cubicBezTo>
                <a:cubicBezTo>
                  <a:pt x="5176" y="1257"/>
                  <a:pt x="4918" y="1479"/>
                  <a:pt x="4400" y="1960"/>
                </a:cubicBezTo>
                <a:cubicBezTo>
                  <a:pt x="4252" y="2145"/>
                  <a:pt x="3809" y="2293"/>
                  <a:pt x="3919" y="2551"/>
                </a:cubicBezTo>
                <a:lnTo>
                  <a:pt x="3846" y="2662"/>
                </a:lnTo>
                <a:cubicBezTo>
                  <a:pt x="3698" y="2810"/>
                  <a:pt x="3550" y="2995"/>
                  <a:pt x="3365" y="3143"/>
                </a:cubicBezTo>
                <a:cubicBezTo>
                  <a:pt x="3254" y="3291"/>
                  <a:pt x="3180" y="3365"/>
                  <a:pt x="3180" y="3513"/>
                </a:cubicBezTo>
                <a:lnTo>
                  <a:pt x="3143" y="3550"/>
                </a:lnTo>
                <a:cubicBezTo>
                  <a:pt x="2958" y="3882"/>
                  <a:pt x="2515" y="4215"/>
                  <a:pt x="2589" y="4474"/>
                </a:cubicBezTo>
                <a:cubicBezTo>
                  <a:pt x="1997" y="5250"/>
                  <a:pt x="1849" y="5953"/>
                  <a:pt x="1405" y="6840"/>
                </a:cubicBezTo>
                <a:lnTo>
                  <a:pt x="1479" y="6877"/>
                </a:lnTo>
                <a:cubicBezTo>
                  <a:pt x="1442" y="7136"/>
                  <a:pt x="1110" y="7358"/>
                  <a:pt x="1295" y="7542"/>
                </a:cubicBezTo>
                <a:cubicBezTo>
                  <a:pt x="1036" y="7653"/>
                  <a:pt x="1036" y="8208"/>
                  <a:pt x="925" y="8393"/>
                </a:cubicBezTo>
                <a:lnTo>
                  <a:pt x="666" y="9243"/>
                </a:lnTo>
                <a:lnTo>
                  <a:pt x="740" y="9280"/>
                </a:lnTo>
                <a:lnTo>
                  <a:pt x="740" y="9391"/>
                </a:lnTo>
                <a:cubicBezTo>
                  <a:pt x="407" y="9391"/>
                  <a:pt x="777" y="9761"/>
                  <a:pt x="555" y="9946"/>
                </a:cubicBezTo>
                <a:cubicBezTo>
                  <a:pt x="555" y="10056"/>
                  <a:pt x="296" y="10352"/>
                  <a:pt x="518" y="10463"/>
                </a:cubicBezTo>
                <a:cubicBezTo>
                  <a:pt x="407" y="10759"/>
                  <a:pt x="296" y="11203"/>
                  <a:pt x="370" y="11461"/>
                </a:cubicBezTo>
                <a:lnTo>
                  <a:pt x="370" y="11572"/>
                </a:lnTo>
                <a:lnTo>
                  <a:pt x="296" y="12053"/>
                </a:lnTo>
                <a:cubicBezTo>
                  <a:pt x="296" y="12386"/>
                  <a:pt x="1" y="12903"/>
                  <a:pt x="222" y="13125"/>
                </a:cubicBezTo>
                <a:cubicBezTo>
                  <a:pt x="185" y="13347"/>
                  <a:pt x="185" y="13532"/>
                  <a:pt x="148" y="13791"/>
                </a:cubicBezTo>
                <a:cubicBezTo>
                  <a:pt x="38" y="14012"/>
                  <a:pt x="148" y="14197"/>
                  <a:pt x="185" y="14382"/>
                </a:cubicBezTo>
                <a:cubicBezTo>
                  <a:pt x="38" y="14382"/>
                  <a:pt x="38" y="14567"/>
                  <a:pt x="185" y="14604"/>
                </a:cubicBezTo>
                <a:cubicBezTo>
                  <a:pt x="148" y="14752"/>
                  <a:pt x="112" y="15195"/>
                  <a:pt x="148" y="15306"/>
                </a:cubicBezTo>
                <a:cubicBezTo>
                  <a:pt x="148" y="15343"/>
                  <a:pt x="148" y="15380"/>
                  <a:pt x="222" y="15380"/>
                </a:cubicBezTo>
                <a:cubicBezTo>
                  <a:pt x="222" y="15528"/>
                  <a:pt x="148" y="15528"/>
                  <a:pt x="1" y="15491"/>
                </a:cubicBezTo>
                <a:cubicBezTo>
                  <a:pt x="1" y="15676"/>
                  <a:pt x="185" y="15713"/>
                  <a:pt x="112" y="15898"/>
                </a:cubicBezTo>
                <a:lnTo>
                  <a:pt x="185" y="15898"/>
                </a:lnTo>
                <a:lnTo>
                  <a:pt x="185" y="16009"/>
                </a:lnTo>
                <a:cubicBezTo>
                  <a:pt x="38" y="16009"/>
                  <a:pt x="38" y="16120"/>
                  <a:pt x="112" y="16231"/>
                </a:cubicBezTo>
                <a:cubicBezTo>
                  <a:pt x="185" y="16489"/>
                  <a:pt x="1" y="16970"/>
                  <a:pt x="222" y="17044"/>
                </a:cubicBezTo>
                <a:cubicBezTo>
                  <a:pt x="296" y="17672"/>
                  <a:pt x="333" y="17783"/>
                  <a:pt x="518" y="18264"/>
                </a:cubicBezTo>
                <a:lnTo>
                  <a:pt x="518" y="18338"/>
                </a:lnTo>
                <a:cubicBezTo>
                  <a:pt x="518" y="18597"/>
                  <a:pt x="592" y="18708"/>
                  <a:pt x="740" y="18892"/>
                </a:cubicBezTo>
                <a:cubicBezTo>
                  <a:pt x="666" y="18966"/>
                  <a:pt x="666" y="19003"/>
                  <a:pt x="666" y="19077"/>
                </a:cubicBezTo>
                <a:cubicBezTo>
                  <a:pt x="740" y="19262"/>
                  <a:pt x="666" y="19743"/>
                  <a:pt x="925" y="19743"/>
                </a:cubicBezTo>
                <a:cubicBezTo>
                  <a:pt x="962" y="19928"/>
                  <a:pt x="1036" y="20113"/>
                  <a:pt x="1110" y="20297"/>
                </a:cubicBezTo>
                <a:cubicBezTo>
                  <a:pt x="1258" y="20704"/>
                  <a:pt x="1442" y="21185"/>
                  <a:pt x="1627" y="21591"/>
                </a:cubicBezTo>
                <a:cubicBezTo>
                  <a:pt x="1664" y="21739"/>
                  <a:pt x="1812" y="21665"/>
                  <a:pt x="1849" y="21813"/>
                </a:cubicBezTo>
                <a:cubicBezTo>
                  <a:pt x="1960" y="22146"/>
                  <a:pt x="1960" y="22331"/>
                  <a:pt x="2219" y="22516"/>
                </a:cubicBezTo>
                <a:lnTo>
                  <a:pt x="2256" y="22553"/>
                </a:lnTo>
                <a:cubicBezTo>
                  <a:pt x="2367" y="22737"/>
                  <a:pt x="2441" y="22885"/>
                  <a:pt x="2589" y="23070"/>
                </a:cubicBezTo>
                <a:lnTo>
                  <a:pt x="2626" y="23107"/>
                </a:lnTo>
                <a:cubicBezTo>
                  <a:pt x="2810" y="23255"/>
                  <a:pt x="2921" y="23699"/>
                  <a:pt x="3180" y="23662"/>
                </a:cubicBezTo>
                <a:lnTo>
                  <a:pt x="3328" y="23847"/>
                </a:lnTo>
                <a:lnTo>
                  <a:pt x="3624" y="24179"/>
                </a:lnTo>
                <a:cubicBezTo>
                  <a:pt x="3846" y="24549"/>
                  <a:pt x="4733" y="25325"/>
                  <a:pt x="4992" y="25621"/>
                </a:cubicBezTo>
                <a:lnTo>
                  <a:pt x="5103" y="25695"/>
                </a:lnTo>
                <a:cubicBezTo>
                  <a:pt x="5472" y="25917"/>
                  <a:pt x="5842" y="26471"/>
                  <a:pt x="6249" y="26471"/>
                </a:cubicBezTo>
                <a:cubicBezTo>
                  <a:pt x="6397" y="26545"/>
                  <a:pt x="6286" y="26656"/>
                  <a:pt x="6397" y="26730"/>
                </a:cubicBezTo>
                <a:cubicBezTo>
                  <a:pt x="6692" y="26952"/>
                  <a:pt x="7025" y="27174"/>
                  <a:pt x="7358" y="27359"/>
                </a:cubicBezTo>
                <a:cubicBezTo>
                  <a:pt x="7691" y="27655"/>
                  <a:pt x="7949" y="27507"/>
                  <a:pt x="8282" y="27728"/>
                </a:cubicBezTo>
                <a:lnTo>
                  <a:pt x="8615" y="27876"/>
                </a:lnTo>
                <a:cubicBezTo>
                  <a:pt x="8800" y="27950"/>
                  <a:pt x="8911" y="28024"/>
                  <a:pt x="9095" y="28098"/>
                </a:cubicBezTo>
                <a:cubicBezTo>
                  <a:pt x="9539" y="28209"/>
                  <a:pt x="10020" y="28616"/>
                  <a:pt x="10463" y="28468"/>
                </a:cubicBezTo>
                <a:cubicBezTo>
                  <a:pt x="11240" y="28838"/>
                  <a:pt x="12238" y="28949"/>
                  <a:pt x="12977" y="28949"/>
                </a:cubicBezTo>
                <a:cubicBezTo>
                  <a:pt x="13310" y="28875"/>
                  <a:pt x="13791" y="29170"/>
                  <a:pt x="14012" y="28949"/>
                </a:cubicBezTo>
                <a:cubicBezTo>
                  <a:pt x="14271" y="29207"/>
                  <a:pt x="14641" y="28949"/>
                  <a:pt x="14900" y="29059"/>
                </a:cubicBezTo>
                <a:cubicBezTo>
                  <a:pt x="15159" y="29022"/>
                  <a:pt x="15639" y="29207"/>
                  <a:pt x="15750" y="28949"/>
                </a:cubicBezTo>
                <a:cubicBezTo>
                  <a:pt x="16009" y="28838"/>
                  <a:pt x="16009" y="29133"/>
                  <a:pt x="16083" y="28949"/>
                </a:cubicBezTo>
                <a:cubicBezTo>
                  <a:pt x="16859" y="28838"/>
                  <a:pt x="17784" y="28764"/>
                  <a:pt x="18338" y="28579"/>
                </a:cubicBezTo>
                <a:cubicBezTo>
                  <a:pt x="18486" y="28394"/>
                  <a:pt x="18782" y="28505"/>
                  <a:pt x="19077" y="28394"/>
                </a:cubicBezTo>
                <a:lnTo>
                  <a:pt x="19041" y="28283"/>
                </a:lnTo>
                <a:cubicBezTo>
                  <a:pt x="19336" y="28209"/>
                  <a:pt x="19632" y="28098"/>
                  <a:pt x="19928" y="28024"/>
                </a:cubicBezTo>
                <a:cubicBezTo>
                  <a:pt x="20741" y="27655"/>
                  <a:pt x="21185" y="27396"/>
                  <a:pt x="22109" y="26989"/>
                </a:cubicBezTo>
                <a:cubicBezTo>
                  <a:pt x="22331" y="26841"/>
                  <a:pt x="22590" y="26730"/>
                  <a:pt x="22848" y="26545"/>
                </a:cubicBezTo>
                <a:cubicBezTo>
                  <a:pt x="23033" y="26361"/>
                  <a:pt x="23403" y="26287"/>
                  <a:pt x="23403" y="26028"/>
                </a:cubicBezTo>
                <a:cubicBezTo>
                  <a:pt x="23588" y="25991"/>
                  <a:pt x="23773" y="25917"/>
                  <a:pt x="23847" y="25658"/>
                </a:cubicBezTo>
                <a:cubicBezTo>
                  <a:pt x="24364" y="25695"/>
                  <a:pt x="24549" y="24919"/>
                  <a:pt x="24956" y="24882"/>
                </a:cubicBezTo>
                <a:cubicBezTo>
                  <a:pt x="25067" y="24697"/>
                  <a:pt x="25473" y="24586"/>
                  <a:pt x="25363" y="24327"/>
                </a:cubicBezTo>
                <a:lnTo>
                  <a:pt x="25436" y="24253"/>
                </a:lnTo>
                <a:cubicBezTo>
                  <a:pt x="25658" y="24364"/>
                  <a:pt x="25806" y="23957"/>
                  <a:pt x="25991" y="23847"/>
                </a:cubicBezTo>
                <a:cubicBezTo>
                  <a:pt x="26065" y="23773"/>
                  <a:pt x="25991" y="23588"/>
                  <a:pt x="26176" y="23477"/>
                </a:cubicBezTo>
                <a:cubicBezTo>
                  <a:pt x="26287" y="23588"/>
                  <a:pt x="26361" y="23440"/>
                  <a:pt x="26435" y="23329"/>
                </a:cubicBezTo>
                <a:cubicBezTo>
                  <a:pt x="26583" y="22959"/>
                  <a:pt x="26841" y="23107"/>
                  <a:pt x="27026" y="22959"/>
                </a:cubicBezTo>
                <a:lnTo>
                  <a:pt x="26952" y="22922"/>
                </a:lnTo>
                <a:cubicBezTo>
                  <a:pt x="27100" y="22700"/>
                  <a:pt x="27137" y="22664"/>
                  <a:pt x="27100" y="22553"/>
                </a:cubicBezTo>
                <a:lnTo>
                  <a:pt x="27137" y="22516"/>
                </a:lnTo>
                <a:cubicBezTo>
                  <a:pt x="27359" y="22368"/>
                  <a:pt x="27137" y="22183"/>
                  <a:pt x="26915" y="21998"/>
                </a:cubicBezTo>
                <a:cubicBezTo>
                  <a:pt x="26952" y="21850"/>
                  <a:pt x="26952" y="21665"/>
                  <a:pt x="27174" y="21591"/>
                </a:cubicBezTo>
                <a:cubicBezTo>
                  <a:pt x="27396" y="21111"/>
                  <a:pt x="27581" y="20889"/>
                  <a:pt x="27840" y="20482"/>
                </a:cubicBezTo>
                <a:cubicBezTo>
                  <a:pt x="27877" y="20297"/>
                  <a:pt x="28246" y="20113"/>
                  <a:pt x="28061" y="19928"/>
                </a:cubicBezTo>
                <a:lnTo>
                  <a:pt x="28098" y="19817"/>
                </a:lnTo>
                <a:cubicBezTo>
                  <a:pt x="28209" y="19706"/>
                  <a:pt x="28283" y="19558"/>
                  <a:pt x="28320" y="19373"/>
                </a:cubicBezTo>
                <a:cubicBezTo>
                  <a:pt x="28431" y="19225"/>
                  <a:pt x="28431" y="19151"/>
                  <a:pt x="28394" y="19040"/>
                </a:cubicBezTo>
                <a:lnTo>
                  <a:pt x="28431" y="19003"/>
                </a:lnTo>
                <a:cubicBezTo>
                  <a:pt x="28468" y="18708"/>
                  <a:pt x="28875" y="18412"/>
                  <a:pt x="28690" y="18116"/>
                </a:cubicBezTo>
                <a:cubicBezTo>
                  <a:pt x="29060" y="17377"/>
                  <a:pt x="29060" y="16785"/>
                  <a:pt x="29355" y="16009"/>
                </a:cubicBezTo>
                <a:lnTo>
                  <a:pt x="29244" y="15935"/>
                </a:lnTo>
                <a:cubicBezTo>
                  <a:pt x="29244" y="15750"/>
                  <a:pt x="29540" y="15491"/>
                  <a:pt x="29318" y="15380"/>
                </a:cubicBezTo>
                <a:cubicBezTo>
                  <a:pt x="29540" y="15269"/>
                  <a:pt x="29429" y="14789"/>
                  <a:pt x="29429" y="14604"/>
                </a:cubicBezTo>
                <a:cubicBezTo>
                  <a:pt x="29503" y="14382"/>
                  <a:pt x="29540" y="14086"/>
                  <a:pt x="29540" y="13864"/>
                </a:cubicBezTo>
                <a:lnTo>
                  <a:pt x="29429" y="13864"/>
                </a:lnTo>
                <a:close/>
                <a:moveTo>
                  <a:pt x="24327" y="23699"/>
                </a:moveTo>
                <a:cubicBezTo>
                  <a:pt x="24032" y="23921"/>
                  <a:pt x="23810" y="24179"/>
                  <a:pt x="23514" y="24401"/>
                </a:cubicBezTo>
                <a:lnTo>
                  <a:pt x="23440" y="24512"/>
                </a:lnTo>
                <a:cubicBezTo>
                  <a:pt x="23255" y="24697"/>
                  <a:pt x="23070" y="24771"/>
                  <a:pt x="22848" y="24956"/>
                </a:cubicBezTo>
                <a:cubicBezTo>
                  <a:pt x="22664" y="25104"/>
                  <a:pt x="22405" y="25251"/>
                  <a:pt x="22368" y="25436"/>
                </a:cubicBezTo>
                <a:cubicBezTo>
                  <a:pt x="22146" y="25288"/>
                  <a:pt x="22183" y="25510"/>
                  <a:pt x="22035" y="25621"/>
                </a:cubicBezTo>
                <a:cubicBezTo>
                  <a:pt x="21998" y="25547"/>
                  <a:pt x="21961" y="25510"/>
                  <a:pt x="21998" y="25658"/>
                </a:cubicBezTo>
                <a:cubicBezTo>
                  <a:pt x="21628" y="25621"/>
                  <a:pt x="21591" y="25880"/>
                  <a:pt x="21222" y="25991"/>
                </a:cubicBezTo>
                <a:cubicBezTo>
                  <a:pt x="21074" y="26102"/>
                  <a:pt x="20667" y="26102"/>
                  <a:pt x="20667" y="26398"/>
                </a:cubicBezTo>
                <a:cubicBezTo>
                  <a:pt x="20482" y="26471"/>
                  <a:pt x="20298" y="26582"/>
                  <a:pt x="20113" y="26619"/>
                </a:cubicBezTo>
                <a:cubicBezTo>
                  <a:pt x="19780" y="26767"/>
                  <a:pt x="19447" y="26841"/>
                  <a:pt x="19151" y="26989"/>
                </a:cubicBezTo>
                <a:cubicBezTo>
                  <a:pt x="18967" y="27026"/>
                  <a:pt x="18708" y="27026"/>
                  <a:pt x="18671" y="27211"/>
                </a:cubicBezTo>
                <a:cubicBezTo>
                  <a:pt x="18597" y="26952"/>
                  <a:pt x="18634" y="27396"/>
                  <a:pt x="18449" y="27285"/>
                </a:cubicBezTo>
                <a:cubicBezTo>
                  <a:pt x="18153" y="27285"/>
                  <a:pt x="17747" y="27396"/>
                  <a:pt x="17229" y="27507"/>
                </a:cubicBezTo>
                <a:cubicBezTo>
                  <a:pt x="17044" y="27544"/>
                  <a:pt x="16933" y="27544"/>
                  <a:pt x="16748" y="27544"/>
                </a:cubicBezTo>
                <a:cubicBezTo>
                  <a:pt x="16009" y="27581"/>
                  <a:pt x="15713" y="27692"/>
                  <a:pt x="15306" y="27728"/>
                </a:cubicBezTo>
                <a:lnTo>
                  <a:pt x="14937" y="27728"/>
                </a:lnTo>
                <a:lnTo>
                  <a:pt x="14900" y="27728"/>
                </a:lnTo>
                <a:cubicBezTo>
                  <a:pt x="14641" y="27728"/>
                  <a:pt x="14382" y="27728"/>
                  <a:pt x="14160" y="27692"/>
                </a:cubicBezTo>
                <a:lnTo>
                  <a:pt x="14086" y="27692"/>
                </a:lnTo>
                <a:cubicBezTo>
                  <a:pt x="13902" y="27692"/>
                  <a:pt x="13717" y="27581"/>
                  <a:pt x="13643" y="27728"/>
                </a:cubicBezTo>
                <a:lnTo>
                  <a:pt x="13495" y="27728"/>
                </a:lnTo>
                <a:cubicBezTo>
                  <a:pt x="13347" y="27470"/>
                  <a:pt x="13162" y="27765"/>
                  <a:pt x="12940" y="27655"/>
                </a:cubicBezTo>
                <a:lnTo>
                  <a:pt x="12792" y="27655"/>
                </a:lnTo>
                <a:cubicBezTo>
                  <a:pt x="12349" y="27655"/>
                  <a:pt x="11831" y="27285"/>
                  <a:pt x="11425" y="27433"/>
                </a:cubicBezTo>
                <a:cubicBezTo>
                  <a:pt x="11388" y="27544"/>
                  <a:pt x="11425" y="27581"/>
                  <a:pt x="11425" y="27692"/>
                </a:cubicBezTo>
                <a:cubicBezTo>
                  <a:pt x="11277" y="27655"/>
                  <a:pt x="11425" y="27359"/>
                  <a:pt x="11240" y="27396"/>
                </a:cubicBezTo>
                <a:cubicBezTo>
                  <a:pt x="11055" y="27396"/>
                  <a:pt x="10833" y="27137"/>
                  <a:pt x="10648" y="27322"/>
                </a:cubicBezTo>
                <a:cubicBezTo>
                  <a:pt x="10537" y="27285"/>
                  <a:pt x="10574" y="27137"/>
                  <a:pt x="10500" y="27137"/>
                </a:cubicBezTo>
                <a:cubicBezTo>
                  <a:pt x="9946" y="26841"/>
                  <a:pt x="9539" y="26952"/>
                  <a:pt x="9095" y="26508"/>
                </a:cubicBezTo>
                <a:cubicBezTo>
                  <a:pt x="9058" y="26582"/>
                  <a:pt x="9058" y="26619"/>
                  <a:pt x="9021" y="26619"/>
                </a:cubicBezTo>
                <a:cubicBezTo>
                  <a:pt x="8874" y="26508"/>
                  <a:pt x="8689" y="26471"/>
                  <a:pt x="8541" y="26398"/>
                </a:cubicBezTo>
                <a:cubicBezTo>
                  <a:pt x="8615" y="26250"/>
                  <a:pt x="8504" y="26287"/>
                  <a:pt x="8467" y="26361"/>
                </a:cubicBezTo>
                <a:lnTo>
                  <a:pt x="8282" y="26250"/>
                </a:lnTo>
                <a:cubicBezTo>
                  <a:pt x="8282" y="25991"/>
                  <a:pt x="7801" y="25917"/>
                  <a:pt x="7617" y="25695"/>
                </a:cubicBezTo>
                <a:lnTo>
                  <a:pt x="7580" y="25806"/>
                </a:lnTo>
                <a:lnTo>
                  <a:pt x="7506" y="25695"/>
                </a:lnTo>
                <a:cubicBezTo>
                  <a:pt x="7321" y="25547"/>
                  <a:pt x="7136" y="25473"/>
                  <a:pt x="6988" y="25325"/>
                </a:cubicBezTo>
                <a:cubicBezTo>
                  <a:pt x="6692" y="25251"/>
                  <a:pt x="6507" y="24771"/>
                  <a:pt x="6212" y="24882"/>
                </a:cubicBezTo>
                <a:lnTo>
                  <a:pt x="6138" y="24808"/>
                </a:lnTo>
                <a:cubicBezTo>
                  <a:pt x="6101" y="24438"/>
                  <a:pt x="5509" y="24216"/>
                  <a:pt x="5287" y="23847"/>
                </a:cubicBezTo>
                <a:cubicBezTo>
                  <a:pt x="4807" y="23625"/>
                  <a:pt x="4844" y="22959"/>
                  <a:pt x="4252" y="23033"/>
                </a:cubicBezTo>
                <a:cubicBezTo>
                  <a:pt x="4252" y="23070"/>
                  <a:pt x="4363" y="23107"/>
                  <a:pt x="4252" y="23218"/>
                </a:cubicBezTo>
                <a:lnTo>
                  <a:pt x="4104" y="23070"/>
                </a:lnTo>
                <a:cubicBezTo>
                  <a:pt x="4178" y="23033"/>
                  <a:pt x="4289" y="22922"/>
                  <a:pt x="4252" y="22885"/>
                </a:cubicBezTo>
                <a:cubicBezTo>
                  <a:pt x="4104" y="22737"/>
                  <a:pt x="4030" y="22590"/>
                  <a:pt x="3919" y="22405"/>
                </a:cubicBezTo>
                <a:cubicBezTo>
                  <a:pt x="3883" y="22331"/>
                  <a:pt x="3846" y="22220"/>
                  <a:pt x="3735" y="22183"/>
                </a:cubicBezTo>
                <a:cubicBezTo>
                  <a:pt x="3698" y="22146"/>
                  <a:pt x="3624" y="22109"/>
                  <a:pt x="3550" y="22109"/>
                </a:cubicBezTo>
                <a:cubicBezTo>
                  <a:pt x="3550" y="21961"/>
                  <a:pt x="3550" y="21850"/>
                  <a:pt x="3365" y="21776"/>
                </a:cubicBezTo>
                <a:cubicBezTo>
                  <a:pt x="3365" y="21554"/>
                  <a:pt x="3365" y="21554"/>
                  <a:pt x="3180" y="21443"/>
                </a:cubicBezTo>
                <a:cubicBezTo>
                  <a:pt x="3291" y="21185"/>
                  <a:pt x="2958" y="21185"/>
                  <a:pt x="2884" y="20815"/>
                </a:cubicBezTo>
                <a:cubicBezTo>
                  <a:pt x="2699" y="20371"/>
                  <a:pt x="2552" y="19965"/>
                  <a:pt x="2404" y="19558"/>
                </a:cubicBezTo>
                <a:cubicBezTo>
                  <a:pt x="2367" y="19077"/>
                  <a:pt x="2071" y="18856"/>
                  <a:pt x="2034" y="18449"/>
                </a:cubicBezTo>
                <a:lnTo>
                  <a:pt x="2034" y="18375"/>
                </a:lnTo>
                <a:cubicBezTo>
                  <a:pt x="1849" y="18116"/>
                  <a:pt x="2034" y="18042"/>
                  <a:pt x="1849" y="17820"/>
                </a:cubicBezTo>
                <a:cubicBezTo>
                  <a:pt x="1775" y="17525"/>
                  <a:pt x="1775" y="17562"/>
                  <a:pt x="1775" y="17229"/>
                </a:cubicBezTo>
                <a:lnTo>
                  <a:pt x="1516" y="17229"/>
                </a:lnTo>
                <a:cubicBezTo>
                  <a:pt x="1516" y="17192"/>
                  <a:pt x="1627" y="17155"/>
                  <a:pt x="1775" y="17155"/>
                </a:cubicBezTo>
                <a:cubicBezTo>
                  <a:pt x="1775" y="17007"/>
                  <a:pt x="1627" y="17007"/>
                  <a:pt x="1627" y="16859"/>
                </a:cubicBezTo>
                <a:lnTo>
                  <a:pt x="1627" y="16526"/>
                </a:lnTo>
                <a:cubicBezTo>
                  <a:pt x="1627" y="16489"/>
                  <a:pt x="1516" y="16452"/>
                  <a:pt x="1479" y="16415"/>
                </a:cubicBezTo>
                <a:cubicBezTo>
                  <a:pt x="1664" y="16305"/>
                  <a:pt x="1664" y="15824"/>
                  <a:pt x="1479" y="15713"/>
                </a:cubicBezTo>
                <a:cubicBezTo>
                  <a:pt x="1516" y="15602"/>
                  <a:pt x="1627" y="15565"/>
                  <a:pt x="1590" y="15454"/>
                </a:cubicBezTo>
                <a:lnTo>
                  <a:pt x="1479" y="15454"/>
                </a:lnTo>
                <a:cubicBezTo>
                  <a:pt x="1627" y="15158"/>
                  <a:pt x="1516" y="15269"/>
                  <a:pt x="1479" y="14863"/>
                </a:cubicBezTo>
                <a:cubicBezTo>
                  <a:pt x="1479" y="14567"/>
                  <a:pt x="1516" y="14234"/>
                  <a:pt x="1516" y="13938"/>
                </a:cubicBezTo>
                <a:cubicBezTo>
                  <a:pt x="1479" y="13864"/>
                  <a:pt x="1701" y="13643"/>
                  <a:pt x="1442" y="13643"/>
                </a:cubicBezTo>
                <a:cubicBezTo>
                  <a:pt x="1479" y="13088"/>
                  <a:pt x="1627" y="12460"/>
                  <a:pt x="1516" y="12201"/>
                </a:cubicBezTo>
                <a:lnTo>
                  <a:pt x="1516" y="12164"/>
                </a:lnTo>
                <a:cubicBezTo>
                  <a:pt x="1479" y="11979"/>
                  <a:pt x="1775" y="11683"/>
                  <a:pt x="1516" y="11609"/>
                </a:cubicBezTo>
                <a:lnTo>
                  <a:pt x="1516" y="11535"/>
                </a:lnTo>
                <a:cubicBezTo>
                  <a:pt x="1479" y="11313"/>
                  <a:pt x="1775" y="11424"/>
                  <a:pt x="1701" y="11166"/>
                </a:cubicBezTo>
                <a:cubicBezTo>
                  <a:pt x="1627" y="10944"/>
                  <a:pt x="1812" y="10685"/>
                  <a:pt x="1664" y="10426"/>
                </a:cubicBezTo>
                <a:lnTo>
                  <a:pt x="1664" y="10389"/>
                </a:lnTo>
                <a:cubicBezTo>
                  <a:pt x="1886" y="10352"/>
                  <a:pt x="1775" y="10167"/>
                  <a:pt x="1812" y="9983"/>
                </a:cubicBezTo>
                <a:lnTo>
                  <a:pt x="1849" y="9798"/>
                </a:lnTo>
                <a:cubicBezTo>
                  <a:pt x="2034" y="9872"/>
                  <a:pt x="2219" y="10020"/>
                  <a:pt x="2256" y="10130"/>
                </a:cubicBezTo>
                <a:cubicBezTo>
                  <a:pt x="2367" y="9983"/>
                  <a:pt x="3069" y="10241"/>
                  <a:pt x="2921" y="10056"/>
                </a:cubicBezTo>
                <a:cubicBezTo>
                  <a:pt x="3698" y="9983"/>
                  <a:pt x="3365" y="9243"/>
                  <a:pt x="3550" y="8873"/>
                </a:cubicBezTo>
                <a:lnTo>
                  <a:pt x="3624" y="8836"/>
                </a:lnTo>
                <a:cubicBezTo>
                  <a:pt x="3883" y="8836"/>
                  <a:pt x="3698" y="8652"/>
                  <a:pt x="3919" y="8541"/>
                </a:cubicBezTo>
                <a:cubicBezTo>
                  <a:pt x="4030" y="8319"/>
                  <a:pt x="4437" y="8097"/>
                  <a:pt x="4289" y="7838"/>
                </a:cubicBezTo>
                <a:lnTo>
                  <a:pt x="4437" y="7653"/>
                </a:lnTo>
                <a:cubicBezTo>
                  <a:pt x="4659" y="7395"/>
                  <a:pt x="4918" y="7099"/>
                  <a:pt x="5140" y="6877"/>
                </a:cubicBezTo>
                <a:lnTo>
                  <a:pt x="5213" y="6803"/>
                </a:lnTo>
                <a:cubicBezTo>
                  <a:pt x="5472" y="6433"/>
                  <a:pt x="6064" y="6138"/>
                  <a:pt x="6138" y="5731"/>
                </a:cubicBezTo>
                <a:cubicBezTo>
                  <a:pt x="6397" y="5805"/>
                  <a:pt x="6323" y="5583"/>
                  <a:pt x="6434" y="5509"/>
                </a:cubicBezTo>
                <a:cubicBezTo>
                  <a:pt x="6470" y="5546"/>
                  <a:pt x="6581" y="5546"/>
                  <a:pt x="6470" y="5435"/>
                </a:cubicBezTo>
                <a:cubicBezTo>
                  <a:pt x="6840" y="5398"/>
                  <a:pt x="6840" y="5139"/>
                  <a:pt x="7210" y="4992"/>
                </a:cubicBezTo>
                <a:cubicBezTo>
                  <a:pt x="7358" y="4807"/>
                  <a:pt x="7764" y="4770"/>
                  <a:pt x="7691" y="4511"/>
                </a:cubicBezTo>
                <a:cubicBezTo>
                  <a:pt x="7875" y="4400"/>
                  <a:pt x="7986" y="4289"/>
                  <a:pt x="8171" y="4215"/>
                </a:cubicBezTo>
                <a:cubicBezTo>
                  <a:pt x="8467" y="4030"/>
                  <a:pt x="8726" y="3845"/>
                  <a:pt x="9058" y="3698"/>
                </a:cubicBezTo>
                <a:cubicBezTo>
                  <a:pt x="9206" y="3587"/>
                  <a:pt x="9428" y="3550"/>
                  <a:pt x="9428" y="3365"/>
                </a:cubicBezTo>
                <a:cubicBezTo>
                  <a:pt x="9576" y="3587"/>
                  <a:pt x="9428" y="3180"/>
                  <a:pt x="9650" y="3291"/>
                </a:cubicBezTo>
                <a:cubicBezTo>
                  <a:pt x="9946" y="3217"/>
                  <a:pt x="10278" y="2995"/>
                  <a:pt x="10759" y="2773"/>
                </a:cubicBezTo>
                <a:lnTo>
                  <a:pt x="11240" y="2588"/>
                </a:lnTo>
                <a:cubicBezTo>
                  <a:pt x="11868" y="2367"/>
                  <a:pt x="12127" y="2219"/>
                  <a:pt x="12497" y="2071"/>
                </a:cubicBezTo>
                <a:lnTo>
                  <a:pt x="12682" y="1960"/>
                </a:lnTo>
                <a:lnTo>
                  <a:pt x="12719" y="1960"/>
                </a:lnTo>
                <a:lnTo>
                  <a:pt x="13421" y="1812"/>
                </a:lnTo>
                <a:lnTo>
                  <a:pt x="13458" y="1812"/>
                </a:lnTo>
                <a:cubicBezTo>
                  <a:pt x="13606" y="1775"/>
                  <a:pt x="13754" y="1812"/>
                  <a:pt x="13828" y="1627"/>
                </a:cubicBezTo>
                <a:lnTo>
                  <a:pt x="13976" y="1627"/>
                </a:lnTo>
                <a:cubicBezTo>
                  <a:pt x="14160" y="1849"/>
                  <a:pt x="14234" y="1479"/>
                  <a:pt x="14456" y="1590"/>
                </a:cubicBezTo>
                <a:lnTo>
                  <a:pt x="14604" y="1590"/>
                </a:lnTo>
                <a:cubicBezTo>
                  <a:pt x="15011" y="1479"/>
                  <a:pt x="15565" y="1664"/>
                  <a:pt x="15898" y="1405"/>
                </a:cubicBezTo>
                <a:cubicBezTo>
                  <a:pt x="15898" y="1294"/>
                  <a:pt x="15861" y="1257"/>
                  <a:pt x="15861" y="1147"/>
                </a:cubicBezTo>
                <a:cubicBezTo>
                  <a:pt x="16009" y="1147"/>
                  <a:pt x="15935" y="1479"/>
                  <a:pt x="16083" y="1405"/>
                </a:cubicBezTo>
                <a:cubicBezTo>
                  <a:pt x="16231" y="1331"/>
                  <a:pt x="16563" y="1516"/>
                  <a:pt x="16600" y="1294"/>
                </a:cubicBezTo>
                <a:cubicBezTo>
                  <a:pt x="16674" y="1294"/>
                  <a:pt x="16674" y="1442"/>
                  <a:pt x="16785" y="1442"/>
                </a:cubicBezTo>
                <a:cubicBezTo>
                  <a:pt x="17340" y="1516"/>
                  <a:pt x="17673" y="1331"/>
                  <a:pt x="18153" y="1627"/>
                </a:cubicBezTo>
                <a:cubicBezTo>
                  <a:pt x="18153" y="1590"/>
                  <a:pt x="18227" y="1479"/>
                  <a:pt x="18264" y="1516"/>
                </a:cubicBezTo>
                <a:lnTo>
                  <a:pt x="18708" y="1627"/>
                </a:lnTo>
                <a:cubicBezTo>
                  <a:pt x="18708" y="1775"/>
                  <a:pt x="18782" y="1701"/>
                  <a:pt x="18819" y="1664"/>
                </a:cubicBezTo>
                <a:lnTo>
                  <a:pt x="19004" y="1701"/>
                </a:lnTo>
                <a:cubicBezTo>
                  <a:pt x="19077" y="1997"/>
                  <a:pt x="19521" y="1886"/>
                  <a:pt x="19706" y="2034"/>
                </a:cubicBezTo>
                <a:lnTo>
                  <a:pt x="19743" y="1960"/>
                </a:lnTo>
                <a:lnTo>
                  <a:pt x="19817" y="1997"/>
                </a:lnTo>
                <a:cubicBezTo>
                  <a:pt x="20002" y="2034"/>
                  <a:pt x="20187" y="2145"/>
                  <a:pt x="20371" y="2182"/>
                </a:cubicBezTo>
                <a:cubicBezTo>
                  <a:pt x="20667" y="2182"/>
                  <a:pt x="20926" y="2551"/>
                  <a:pt x="21148" y="2367"/>
                </a:cubicBezTo>
                <a:lnTo>
                  <a:pt x="21222" y="2404"/>
                </a:lnTo>
                <a:cubicBezTo>
                  <a:pt x="21370" y="2773"/>
                  <a:pt x="21887" y="2773"/>
                  <a:pt x="22146" y="3069"/>
                </a:cubicBezTo>
                <a:cubicBezTo>
                  <a:pt x="22590" y="3106"/>
                  <a:pt x="22701" y="3734"/>
                  <a:pt x="23218" y="3476"/>
                </a:cubicBezTo>
                <a:cubicBezTo>
                  <a:pt x="23218" y="3439"/>
                  <a:pt x="23107" y="3439"/>
                  <a:pt x="23144" y="3328"/>
                </a:cubicBezTo>
                <a:lnTo>
                  <a:pt x="23292" y="3439"/>
                </a:lnTo>
                <a:cubicBezTo>
                  <a:pt x="23255" y="3513"/>
                  <a:pt x="23144" y="3624"/>
                  <a:pt x="23218" y="3661"/>
                </a:cubicBezTo>
                <a:cubicBezTo>
                  <a:pt x="23477" y="3808"/>
                  <a:pt x="23662" y="4252"/>
                  <a:pt x="23995" y="4178"/>
                </a:cubicBezTo>
                <a:cubicBezTo>
                  <a:pt x="24032" y="4289"/>
                  <a:pt x="24032" y="4400"/>
                  <a:pt x="24216" y="4400"/>
                </a:cubicBezTo>
                <a:cubicBezTo>
                  <a:pt x="24253" y="4585"/>
                  <a:pt x="24253" y="4585"/>
                  <a:pt x="24438" y="4622"/>
                </a:cubicBezTo>
                <a:cubicBezTo>
                  <a:pt x="24438" y="4918"/>
                  <a:pt x="24734" y="4807"/>
                  <a:pt x="24882" y="5102"/>
                </a:cubicBezTo>
                <a:cubicBezTo>
                  <a:pt x="25104" y="5361"/>
                  <a:pt x="25363" y="5694"/>
                  <a:pt x="25547" y="6027"/>
                </a:cubicBezTo>
                <a:cubicBezTo>
                  <a:pt x="25695" y="6396"/>
                  <a:pt x="26028" y="6470"/>
                  <a:pt x="26176" y="6803"/>
                </a:cubicBezTo>
                <a:lnTo>
                  <a:pt x="26213" y="6840"/>
                </a:lnTo>
                <a:cubicBezTo>
                  <a:pt x="26435" y="7025"/>
                  <a:pt x="26287" y="7173"/>
                  <a:pt x="26546" y="7210"/>
                </a:cubicBezTo>
                <a:cubicBezTo>
                  <a:pt x="26730" y="7432"/>
                  <a:pt x="26656" y="7395"/>
                  <a:pt x="26767" y="7690"/>
                </a:cubicBezTo>
                <a:lnTo>
                  <a:pt x="26952" y="7579"/>
                </a:lnTo>
                <a:cubicBezTo>
                  <a:pt x="26952" y="7616"/>
                  <a:pt x="26915" y="7690"/>
                  <a:pt x="26767" y="7727"/>
                </a:cubicBezTo>
                <a:cubicBezTo>
                  <a:pt x="26767" y="7801"/>
                  <a:pt x="26915" y="7764"/>
                  <a:pt x="26952" y="7875"/>
                </a:cubicBezTo>
                <a:lnTo>
                  <a:pt x="27026" y="8134"/>
                </a:lnTo>
                <a:cubicBezTo>
                  <a:pt x="27026" y="8171"/>
                  <a:pt x="27137" y="8171"/>
                  <a:pt x="27174" y="8171"/>
                </a:cubicBezTo>
                <a:cubicBezTo>
                  <a:pt x="27026" y="8319"/>
                  <a:pt x="27174" y="8726"/>
                  <a:pt x="27359" y="8689"/>
                </a:cubicBezTo>
                <a:cubicBezTo>
                  <a:pt x="27359" y="8799"/>
                  <a:pt x="27285" y="8836"/>
                  <a:pt x="27322" y="8984"/>
                </a:cubicBezTo>
                <a:lnTo>
                  <a:pt x="27396" y="8910"/>
                </a:lnTo>
                <a:lnTo>
                  <a:pt x="27396" y="9021"/>
                </a:lnTo>
                <a:lnTo>
                  <a:pt x="27396" y="9058"/>
                </a:lnTo>
                <a:lnTo>
                  <a:pt x="27396" y="9095"/>
                </a:lnTo>
                <a:lnTo>
                  <a:pt x="27396" y="9206"/>
                </a:lnTo>
                <a:cubicBezTo>
                  <a:pt x="27396" y="9243"/>
                  <a:pt x="27470" y="9280"/>
                  <a:pt x="27544" y="9428"/>
                </a:cubicBezTo>
                <a:cubicBezTo>
                  <a:pt x="27655" y="9650"/>
                  <a:pt x="27692" y="9946"/>
                  <a:pt x="27729" y="10204"/>
                </a:cubicBezTo>
                <a:cubicBezTo>
                  <a:pt x="27840" y="10278"/>
                  <a:pt x="27655" y="10537"/>
                  <a:pt x="27913" y="10463"/>
                </a:cubicBezTo>
                <a:cubicBezTo>
                  <a:pt x="28024" y="10907"/>
                  <a:pt x="28024" y="11424"/>
                  <a:pt x="28209" y="11609"/>
                </a:cubicBezTo>
                <a:lnTo>
                  <a:pt x="28209" y="11646"/>
                </a:lnTo>
                <a:cubicBezTo>
                  <a:pt x="28283" y="11794"/>
                  <a:pt x="28098" y="12053"/>
                  <a:pt x="28320" y="12127"/>
                </a:cubicBezTo>
                <a:lnTo>
                  <a:pt x="28320" y="12164"/>
                </a:lnTo>
                <a:cubicBezTo>
                  <a:pt x="28431" y="12349"/>
                  <a:pt x="28135" y="12349"/>
                  <a:pt x="28246" y="12534"/>
                </a:cubicBezTo>
                <a:cubicBezTo>
                  <a:pt x="28394" y="12681"/>
                  <a:pt x="28246" y="12940"/>
                  <a:pt x="28431" y="13088"/>
                </a:cubicBezTo>
                <a:lnTo>
                  <a:pt x="28431" y="13125"/>
                </a:lnTo>
                <a:cubicBezTo>
                  <a:pt x="28209" y="13236"/>
                  <a:pt x="28394" y="13310"/>
                  <a:pt x="28394" y="13458"/>
                </a:cubicBezTo>
                <a:cubicBezTo>
                  <a:pt x="28394" y="13606"/>
                  <a:pt x="28320" y="13791"/>
                  <a:pt x="28320" y="13901"/>
                </a:cubicBezTo>
                <a:cubicBezTo>
                  <a:pt x="28246" y="14086"/>
                  <a:pt x="28320" y="14234"/>
                  <a:pt x="28394" y="14382"/>
                </a:cubicBezTo>
                <a:lnTo>
                  <a:pt x="28394" y="14419"/>
                </a:lnTo>
                <a:cubicBezTo>
                  <a:pt x="28283" y="15454"/>
                  <a:pt x="28209" y="16083"/>
                  <a:pt x="27913" y="16859"/>
                </a:cubicBezTo>
                <a:cubicBezTo>
                  <a:pt x="27766" y="17044"/>
                  <a:pt x="27950" y="17192"/>
                  <a:pt x="27840" y="17340"/>
                </a:cubicBezTo>
                <a:cubicBezTo>
                  <a:pt x="27692" y="17414"/>
                  <a:pt x="27840" y="17672"/>
                  <a:pt x="27581" y="17894"/>
                </a:cubicBezTo>
                <a:lnTo>
                  <a:pt x="27359" y="18301"/>
                </a:lnTo>
                <a:lnTo>
                  <a:pt x="27322" y="18338"/>
                </a:lnTo>
                <a:cubicBezTo>
                  <a:pt x="27285" y="18412"/>
                  <a:pt x="27359" y="18449"/>
                  <a:pt x="27359" y="18486"/>
                </a:cubicBezTo>
                <a:cubicBezTo>
                  <a:pt x="27359" y="18671"/>
                  <a:pt x="26989" y="18856"/>
                  <a:pt x="27211" y="19003"/>
                </a:cubicBezTo>
                <a:cubicBezTo>
                  <a:pt x="26989" y="19077"/>
                  <a:pt x="27026" y="19225"/>
                  <a:pt x="26989" y="19410"/>
                </a:cubicBezTo>
                <a:cubicBezTo>
                  <a:pt x="26915" y="19743"/>
                  <a:pt x="26435" y="20002"/>
                  <a:pt x="26546" y="20334"/>
                </a:cubicBezTo>
                <a:cubicBezTo>
                  <a:pt x="26435" y="20556"/>
                  <a:pt x="26065" y="20815"/>
                  <a:pt x="26176" y="21037"/>
                </a:cubicBezTo>
                <a:cubicBezTo>
                  <a:pt x="25917" y="21185"/>
                  <a:pt x="25510" y="21370"/>
                  <a:pt x="25621" y="21628"/>
                </a:cubicBezTo>
                <a:cubicBezTo>
                  <a:pt x="25363" y="21850"/>
                  <a:pt x="25473" y="22368"/>
                  <a:pt x="25289" y="22590"/>
                </a:cubicBezTo>
                <a:lnTo>
                  <a:pt x="25252" y="22664"/>
                </a:lnTo>
                <a:cubicBezTo>
                  <a:pt x="24956" y="22590"/>
                  <a:pt x="25141" y="22848"/>
                  <a:pt x="24882" y="22885"/>
                </a:cubicBezTo>
                <a:cubicBezTo>
                  <a:pt x="24734" y="23107"/>
                  <a:pt x="24327" y="23255"/>
                  <a:pt x="24401" y="23514"/>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2115" name="Google Shape;2115;p51"/>
          <p:cNvGrpSpPr/>
          <p:nvPr/>
        </p:nvGrpSpPr>
        <p:grpSpPr>
          <a:xfrm>
            <a:off x="10091634" y="511233"/>
            <a:ext cx="773500" cy="974600"/>
            <a:chOff x="4254350" y="2964700"/>
            <a:chExt cx="580125" cy="730950"/>
          </a:xfrm>
        </p:grpSpPr>
        <p:sp>
          <p:nvSpPr>
            <p:cNvPr id="2116" name="Google Shape;2116;p51"/>
            <p:cNvSpPr/>
            <p:nvPr/>
          </p:nvSpPr>
          <p:spPr>
            <a:xfrm>
              <a:off x="4627525" y="3590925"/>
              <a:ext cx="76175" cy="67275"/>
            </a:xfrm>
            <a:custGeom>
              <a:avLst/>
              <a:gdLst/>
              <a:ahLst/>
              <a:cxnLst/>
              <a:rect l="l" t="t" r="r" b="b"/>
              <a:pathLst>
                <a:path w="3047" h="2691" extrusionOk="0">
                  <a:moveTo>
                    <a:pt x="250" y="0"/>
                  </a:moveTo>
                  <a:cubicBezTo>
                    <a:pt x="142" y="0"/>
                    <a:pt x="0" y="95"/>
                    <a:pt x="13" y="239"/>
                  </a:cubicBezTo>
                  <a:cubicBezTo>
                    <a:pt x="160" y="1055"/>
                    <a:pt x="327" y="1954"/>
                    <a:pt x="1059" y="2415"/>
                  </a:cubicBezTo>
                  <a:cubicBezTo>
                    <a:pt x="1335" y="2592"/>
                    <a:pt x="1653" y="2690"/>
                    <a:pt x="1962" y="2690"/>
                  </a:cubicBezTo>
                  <a:cubicBezTo>
                    <a:pt x="2309" y="2690"/>
                    <a:pt x="2646" y="2566"/>
                    <a:pt x="2901" y="2289"/>
                  </a:cubicBezTo>
                  <a:cubicBezTo>
                    <a:pt x="3046" y="2143"/>
                    <a:pt x="2904" y="1935"/>
                    <a:pt x="2745" y="1935"/>
                  </a:cubicBezTo>
                  <a:cubicBezTo>
                    <a:pt x="2699" y="1935"/>
                    <a:pt x="2650" y="1953"/>
                    <a:pt x="2608" y="1996"/>
                  </a:cubicBezTo>
                  <a:cubicBezTo>
                    <a:pt x="2427" y="2186"/>
                    <a:pt x="2192" y="2269"/>
                    <a:pt x="1950" y="2269"/>
                  </a:cubicBezTo>
                  <a:cubicBezTo>
                    <a:pt x="1604" y="2269"/>
                    <a:pt x="1243" y="2099"/>
                    <a:pt x="996" y="1829"/>
                  </a:cubicBezTo>
                  <a:cubicBezTo>
                    <a:pt x="536" y="1368"/>
                    <a:pt x="473" y="720"/>
                    <a:pt x="369" y="113"/>
                  </a:cubicBezTo>
                  <a:cubicBezTo>
                    <a:pt x="369" y="34"/>
                    <a:pt x="316" y="0"/>
                    <a:pt x="250"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17" name="Google Shape;2117;p51"/>
            <p:cNvSpPr/>
            <p:nvPr/>
          </p:nvSpPr>
          <p:spPr>
            <a:xfrm>
              <a:off x="4384863" y="3041988"/>
              <a:ext cx="369325" cy="282500"/>
            </a:xfrm>
            <a:custGeom>
              <a:avLst/>
              <a:gdLst/>
              <a:ahLst/>
              <a:cxnLst/>
              <a:rect l="l" t="t" r="r" b="b"/>
              <a:pathLst>
                <a:path w="14773" h="11300" extrusionOk="0">
                  <a:moveTo>
                    <a:pt x="4747" y="0"/>
                  </a:moveTo>
                  <a:cubicBezTo>
                    <a:pt x="4735" y="0"/>
                    <a:pt x="4722" y="1"/>
                    <a:pt x="4709" y="3"/>
                  </a:cubicBezTo>
                  <a:cubicBezTo>
                    <a:pt x="2595" y="338"/>
                    <a:pt x="315" y="2514"/>
                    <a:pt x="168" y="4732"/>
                  </a:cubicBezTo>
                  <a:cubicBezTo>
                    <a:pt x="1" y="7117"/>
                    <a:pt x="3118" y="8582"/>
                    <a:pt x="4792" y="9607"/>
                  </a:cubicBezTo>
                  <a:cubicBezTo>
                    <a:pt x="6204" y="10448"/>
                    <a:pt x="7907" y="11299"/>
                    <a:pt x="9564" y="11299"/>
                  </a:cubicBezTo>
                  <a:cubicBezTo>
                    <a:pt x="10338" y="11299"/>
                    <a:pt x="11103" y="11113"/>
                    <a:pt x="11823" y="10653"/>
                  </a:cubicBezTo>
                  <a:cubicBezTo>
                    <a:pt x="13559" y="9544"/>
                    <a:pt x="14773" y="7180"/>
                    <a:pt x="14166" y="5150"/>
                  </a:cubicBezTo>
                  <a:cubicBezTo>
                    <a:pt x="14133" y="5060"/>
                    <a:pt x="14056" y="5022"/>
                    <a:pt x="13978" y="5022"/>
                  </a:cubicBezTo>
                  <a:cubicBezTo>
                    <a:pt x="13858" y="5022"/>
                    <a:pt x="13739" y="5115"/>
                    <a:pt x="13789" y="5255"/>
                  </a:cubicBezTo>
                  <a:cubicBezTo>
                    <a:pt x="14396" y="7138"/>
                    <a:pt x="13162" y="9482"/>
                    <a:pt x="11488" y="10423"/>
                  </a:cubicBezTo>
                  <a:cubicBezTo>
                    <a:pt x="10869" y="10769"/>
                    <a:pt x="10222" y="10911"/>
                    <a:pt x="9570" y="10911"/>
                  </a:cubicBezTo>
                  <a:cubicBezTo>
                    <a:pt x="7972" y="10911"/>
                    <a:pt x="6339" y="10060"/>
                    <a:pt x="5002" y="9272"/>
                  </a:cubicBezTo>
                  <a:cubicBezTo>
                    <a:pt x="3453" y="8352"/>
                    <a:pt x="629" y="6992"/>
                    <a:pt x="608" y="5004"/>
                  </a:cubicBezTo>
                  <a:cubicBezTo>
                    <a:pt x="587" y="2828"/>
                    <a:pt x="2763" y="715"/>
                    <a:pt x="4792" y="380"/>
                  </a:cubicBezTo>
                  <a:cubicBezTo>
                    <a:pt x="5050" y="340"/>
                    <a:pt x="4970" y="0"/>
                    <a:pt x="4747"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18" name="Google Shape;2118;p51"/>
            <p:cNvSpPr/>
            <p:nvPr/>
          </p:nvSpPr>
          <p:spPr>
            <a:xfrm>
              <a:off x="4254350" y="3056000"/>
              <a:ext cx="514750" cy="601000"/>
            </a:xfrm>
            <a:custGeom>
              <a:avLst/>
              <a:gdLst/>
              <a:ahLst/>
              <a:cxnLst/>
              <a:rect l="l" t="t" r="r" b="b"/>
              <a:pathLst>
                <a:path w="20590" h="24040" extrusionOk="0">
                  <a:moveTo>
                    <a:pt x="9981" y="1"/>
                  </a:moveTo>
                  <a:cubicBezTo>
                    <a:pt x="9793" y="21"/>
                    <a:pt x="9793" y="398"/>
                    <a:pt x="10023" y="398"/>
                  </a:cubicBezTo>
                  <a:cubicBezTo>
                    <a:pt x="13894" y="607"/>
                    <a:pt x="18183" y="1381"/>
                    <a:pt x="19334" y="5713"/>
                  </a:cubicBezTo>
                  <a:cubicBezTo>
                    <a:pt x="20276" y="9374"/>
                    <a:pt x="18978" y="13475"/>
                    <a:pt x="17493" y="16802"/>
                  </a:cubicBezTo>
                  <a:cubicBezTo>
                    <a:pt x="16719" y="18497"/>
                    <a:pt x="15777" y="20171"/>
                    <a:pt x="14689" y="21698"/>
                  </a:cubicBezTo>
                  <a:cubicBezTo>
                    <a:pt x="13814" y="22919"/>
                    <a:pt x="12861" y="23625"/>
                    <a:pt x="11328" y="23625"/>
                  </a:cubicBezTo>
                  <a:cubicBezTo>
                    <a:pt x="11284" y="23625"/>
                    <a:pt x="11240" y="23624"/>
                    <a:pt x="11195" y="23623"/>
                  </a:cubicBezTo>
                  <a:cubicBezTo>
                    <a:pt x="10190" y="23623"/>
                    <a:pt x="9144" y="23393"/>
                    <a:pt x="8161" y="23079"/>
                  </a:cubicBezTo>
                  <a:cubicBezTo>
                    <a:pt x="4708" y="21970"/>
                    <a:pt x="691" y="18915"/>
                    <a:pt x="628" y="14940"/>
                  </a:cubicBezTo>
                  <a:cubicBezTo>
                    <a:pt x="586" y="10839"/>
                    <a:pt x="6048" y="9584"/>
                    <a:pt x="6027" y="5483"/>
                  </a:cubicBezTo>
                  <a:cubicBezTo>
                    <a:pt x="6027" y="5346"/>
                    <a:pt x="5927" y="5278"/>
                    <a:pt x="5828" y="5278"/>
                  </a:cubicBezTo>
                  <a:cubicBezTo>
                    <a:pt x="5728" y="5278"/>
                    <a:pt x="5629" y="5346"/>
                    <a:pt x="5629" y="5483"/>
                  </a:cubicBezTo>
                  <a:cubicBezTo>
                    <a:pt x="5650" y="8119"/>
                    <a:pt x="3202" y="9521"/>
                    <a:pt x="1654" y="11341"/>
                  </a:cubicBezTo>
                  <a:cubicBezTo>
                    <a:pt x="524" y="12638"/>
                    <a:pt x="1" y="14208"/>
                    <a:pt x="314" y="15944"/>
                  </a:cubicBezTo>
                  <a:cubicBezTo>
                    <a:pt x="1047" y="19773"/>
                    <a:pt x="4855" y="22577"/>
                    <a:pt x="8412" y="23581"/>
                  </a:cubicBezTo>
                  <a:cubicBezTo>
                    <a:pt x="9273" y="23816"/>
                    <a:pt x="10266" y="24039"/>
                    <a:pt x="11231" y="24039"/>
                  </a:cubicBezTo>
                  <a:cubicBezTo>
                    <a:pt x="12070" y="24039"/>
                    <a:pt x="12889" y="23870"/>
                    <a:pt x="13580" y="23393"/>
                  </a:cubicBezTo>
                  <a:cubicBezTo>
                    <a:pt x="15254" y="22221"/>
                    <a:pt x="16384" y="19773"/>
                    <a:pt x="17263" y="18037"/>
                  </a:cubicBezTo>
                  <a:cubicBezTo>
                    <a:pt x="19041" y="14438"/>
                    <a:pt x="20589" y="10002"/>
                    <a:pt x="19732" y="5964"/>
                  </a:cubicBezTo>
                  <a:cubicBezTo>
                    <a:pt x="18706" y="1214"/>
                    <a:pt x="14187" y="252"/>
                    <a:pt x="9981"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19" name="Google Shape;2119;p51"/>
            <p:cNvSpPr/>
            <p:nvPr/>
          </p:nvSpPr>
          <p:spPr>
            <a:xfrm>
              <a:off x="4344250" y="3293850"/>
              <a:ext cx="244900" cy="355950"/>
            </a:xfrm>
            <a:custGeom>
              <a:avLst/>
              <a:gdLst/>
              <a:ahLst/>
              <a:cxnLst/>
              <a:rect l="l" t="t" r="r" b="b"/>
              <a:pathLst>
                <a:path w="9796" h="14238" extrusionOk="0">
                  <a:moveTo>
                    <a:pt x="290" y="0"/>
                  </a:moveTo>
                  <a:cubicBezTo>
                    <a:pt x="92" y="0"/>
                    <a:pt x="1" y="345"/>
                    <a:pt x="234" y="383"/>
                  </a:cubicBezTo>
                  <a:cubicBezTo>
                    <a:pt x="736" y="488"/>
                    <a:pt x="1259" y="1220"/>
                    <a:pt x="1698" y="1534"/>
                  </a:cubicBezTo>
                  <a:cubicBezTo>
                    <a:pt x="2305" y="1953"/>
                    <a:pt x="2954" y="2287"/>
                    <a:pt x="3644" y="2580"/>
                  </a:cubicBezTo>
                  <a:cubicBezTo>
                    <a:pt x="5025" y="3187"/>
                    <a:pt x="6490" y="3606"/>
                    <a:pt x="7871" y="4233"/>
                  </a:cubicBezTo>
                  <a:cubicBezTo>
                    <a:pt x="8791" y="4652"/>
                    <a:pt x="9356" y="4756"/>
                    <a:pt x="9147" y="5824"/>
                  </a:cubicBezTo>
                  <a:cubicBezTo>
                    <a:pt x="9001" y="6723"/>
                    <a:pt x="8561" y="7665"/>
                    <a:pt x="8206" y="8502"/>
                  </a:cubicBezTo>
                  <a:cubicBezTo>
                    <a:pt x="7452" y="10406"/>
                    <a:pt x="6427" y="12142"/>
                    <a:pt x="5402" y="13942"/>
                  </a:cubicBezTo>
                  <a:cubicBezTo>
                    <a:pt x="5313" y="14090"/>
                    <a:pt x="5454" y="14238"/>
                    <a:pt x="5597" y="14238"/>
                  </a:cubicBezTo>
                  <a:cubicBezTo>
                    <a:pt x="5656" y="14238"/>
                    <a:pt x="5715" y="14212"/>
                    <a:pt x="5757" y="14151"/>
                  </a:cubicBezTo>
                  <a:cubicBezTo>
                    <a:pt x="7452" y="11243"/>
                    <a:pt x="8896" y="8293"/>
                    <a:pt x="9775" y="5049"/>
                  </a:cubicBezTo>
                  <a:cubicBezTo>
                    <a:pt x="9796" y="4966"/>
                    <a:pt x="9754" y="4861"/>
                    <a:pt x="9712" y="4819"/>
                  </a:cubicBezTo>
                  <a:cubicBezTo>
                    <a:pt x="8185" y="3836"/>
                    <a:pt x="6511" y="3313"/>
                    <a:pt x="4837" y="2664"/>
                  </a:cubicBezTo>
                  <a:cubicBezTo>
                    <a:pt x="3916" y="2308"/>
                    <a:pt x="3037" y="1932"/>
                    <a:pt x="2200" y="1409"/>
                  </a:cubicBezTo>
                  <a:cubicBezTo>
                    <a:pt x="1594" y="1011"/>
                    <a:pt x="1050" y="174"/>
                    <a:pt x="338" y="7"/>
                  </a:cubicBezTo>
                  <a:cubicBezTo>
                    <a:pt x="321" y="2"/>
                    <a:pt x="305" y="0"/>
                    <a:pt x="290"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20" name="Google Shape;2120;p51"/>
            <p:cNvSpPr/>
            <p:nvPr/>
          </p:nvSpPr>
          <p:spPr>
            <a:xfrm>
              <a:off x="4456800" y="3272375"/>
              <a:ext cx="46800" cy="66400"/>
            </a:xfrm>
            <a:custGeom>
              <a:avLst/>
              <a:gdLst/>
              <a:ahLst/>
              <a:cxnLst/>
              <a:rect l="l" t="t" r="r" b="b"/>
              <a:pathLst>
                <a:path w="1872" h="2656" extrusionOk="0">
                  <a:moveTo>
                    <a:pt x="994" y="0"/>
                  </a:moveTo>
                  <a:cubicBezTo>
                    <a:pt x="934" y="0"/>
                    <a:pt x="876" y="27"/>
                    <a:pt x="837" y="92"/>
                  </a:cubicBezTo>
                  <a:cubicBezTo>
                    <a:pt x="356" y="782"/>
                    <a:pt x="84" y="1535"/>
                    <a:pt x="0" y="2372"/>
                  </a:cubicBezTo>
                  <a:cubicBezTo>
                    <a:pt x="0" y="2456"/>
                    <a:pt x="42" y="2498"/>
                    <a:pt x="105" y="2519"/>
                  </a:cubicBezTo>
                  <a:cubicBezTo>
                    <a:pt x="244" y="2614"/>
                    <a:pt x="388" y="2655"/>
                    <a:pt x="531" y="2655"/>
                  </a:cubicBezTo>
                  <a:cubicBezTo>
                    <a:pt x="795" y="2655"/>
                    <a:pt x="1052" y="2513"/>
                    <a:pt x="1255" y="2309"/>
                  </a:cubicBezTo>
                  <a:cubicBezTo>
                    <a:pt x="1695" y="1870"/>
                    <a:pt x="1611" y="1201"/>
                    <a:pt x="1820" y="636"/>
                  </a:cubicBezTo>
                  <a:cubicBezTo>
                    <a:pt x="1871" y="496"/>
                    <a:pt x="1752" y="402"/>
                    <a:pt x="1636" y="402"/>
                  </a:cubicBezTo>
                  <a:cubicBezTo>
                    <a:pt x="1562" y="402"/>
                    <a:pt x="1489" y="441"/>
                    <a:pt x="1465" y="531"/>
                  </a:cubicBezTo>
                  <a:cubicBezTo>
                    <a:pt x="1339" y="887"/>
                    <a:pt x="1339" y="1242"/>
                    <a:pt x="1235" y="1577"/>
                  </a:cubicBezTo>
                  <a:cubicBezTo>
                    <a:pt x="1151" y="1877"/>
                    <a:pt x="896" y="2270"/>
                    <a:pt x="573" y="2270"/>
                  </a:cubicBezTo>
                  <a:cubicBezTo>
                    <a:pt x="527" y="2270"/>
                    <a:pt x="480" y="2262"/>
                    <a:pt x="431" y="2244"/>
                  </a:cubicBezTo>
                  <a:lnTo>
                    <a:pt x="431" y="2244"/>
                  </a:lnTo>
                  <a:cubicBezTo>
                    <a:pt x="526" y="1515"/>
                    <a:pt x="774" y="878"/>
                    <a:pt x="1193" y="280"/>
                  </a:cubicBezTo>
                  <a:cubicBezTo>
                    <a:pt x="1265" y="135"/>
                    <a:pt x="1127" y="0"/>
                    <a:pt x="994"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21" name="Google Shape;2121;p51"/>
            <p:cNvSpPr/>
            <p:nvPr/>
          </p:nvSpPr>
          <p:spPr>
            <a:xfrm>
              <a:off x="4311200" y="3321550"/>
              <a:ext cx="239775" cy="239800"/>
            </a:xfrm>
            <a:custGeom>
              <a:avLst/>
              <a:gdLst/>
              <a:ahLst/>
              <a:cxnLst/>
              <a:rect l="l" t="t" r="r" b="b"/>
              <a:pathLst>
                <a:path w="9591" h="9592" extrusionOk="0">
                  <a:moveTo>
                    <a:pt x="314" y="1"/>
                  </a:moveTo>
                  <a:cubicBezTo>
                    <a:pt x="121" y="1"/>
                    <a:pt x="1" y="254"/>
                    <a:pt x="196" y="342"/>
                  </a:cubicBezTo>
                  <a:cubicBezTo>
                    <a:pt x="2183" y="1242"/>
                    <a:pt x="4150" y="2142"/>
                    <a:pt x="6138" y="3042"/>
                  </a:cubicBezTo>
                  <a:cubicBezTo>
                    <a:pt x="7310" y="3565"/>
                    <a:pt x="8419" y="4088"/>
                    <a:pt x="8314" y="5615"/>
                  </a:cubicBezTo>
                  <a:cubicBezTo>
                    <a:pt x="8209" y="6933"/>
                    <a:pt x="7603" y="8189"/>
                    <a:pt x="6787" y="9235"/>
                  </a:cubicBezTo>
                  <a:cubicBezTo>
                    <a:pt x="6675" y="9395"/>
                    <a:pt x="6807" y="9591"/>
                    <a:pt x="6950" y="9591"/>
                  </a:cubicBezTo>
                  <a:cubicBezTo>
                    <a:pt x="6995" y="9591"/>
                    <a:pt x="7040" y="9572"/>
                    <a:pt x="7079" y="9528"/>
                  </a:cubicBezTo>
                  <a:cubicBezTo>
                    <a:pt x="8105" y="8231"/>
                    <a:pt x="9590" y="5427"/>
                    <a:pt x="8335" y="3858"/>
                  </a:cubicBezTo>
                  <a:cubicBezTo>
                    <a:pt x="7686" y="3021"/>
                    <a:pt x="6159" y="2623"/>
                    <a:pt x="5217" y="2205"/>
                  </a:cubicBezTo>
                  <a:cubicBezTo>
                    <a:pt x="3627" y="1472"/>
                    <a:pt x="2037" y="761"/>
                    <a:pt x="426" y="29"/>
                  </a:cubicBezTo>
                  <a:cubicBezTo>
                    <a:pt x="387" y="9"/>
                    <a:pt x="349" y="1"/>
                    <a:pt x="314"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22" name="Google Shape;2122;p51"/>
            <p:cNvSpPr/>
            <p:nvPr/>
          </p:nvSpPr>
          <p:spPr>
            <a:xfrm>
              <a:off x="4570300" y="2964700"/>
              <a:ext cx="159050" cy="157600"/>
            </a:xfrm>
            <a:custGeom>
              <a:avLst/>
              <a:gdLst/>
              <a:ahLst/>
              <a:cxnLst/>
              <a:rect l="l" t="t" r="r" b="b"/>
              <a:pathLst>
                <a:path w="6362" h="6304" extrusionOk="0">
                  <a:moveTo>
                    <a:pt x="2883" y="1"/>
                  </a:moveTo>
                  <a:cubicBezTo>
                    <a:pt x="2169" y="1"/>
                    <a:pt x="1446" y="330"/>
                    <a:pt x="942" y="849"/>
                  </a:cubicBezTo>
                  <a:cubicBezTo>
                    <a:pt x="63" y="1790"/>
                    <a:pt x="0" y="3150"/>
                    <a:pt x="335" y="4322"/>
                  </a:cubicBezTo>
                  <a:cubicBezTo>
                    <a:pt x="368" y="4411"/>
                    <a:pt x="446" y="4450"/>
                    <a:pt x="526" y="4450"/>
                  </a:cubicBezTo>
                  <a:cubicBezTo>
                    <a:pt x="654" y="4450"/>
                    <a:pt x="784" y="4351"/>
                    <a:pt x="733" y="4197"/>
                  </a:cubicBezTo>
                  <a:cubicBezTo>
                    <a:pt x="461" y="3150"/>
                    <a:pt x="461" y="1937"/>
                    <a:pt x="1235" y="1100"/>
                  </a:cubicBezTo>
                  <a:cubicBezTo>
                    <a:pt x="1675" y="640"/>
                    <a:pt x="2224" y="419"/>
                    <a:pt x="2771" y="419"/>
                  </a:cubicBezTo>
                  <a:cubicBezTo>
                    <a:pt x="3344" y="419"/>
                    <a:pt x="3914" y="661"/>
                    <a:pt x="4353" y="1121"/>
                  </a:cubicBezTo>
                  <a:cubicBezTo>
                    <a:pt x="5587" y="2418"/>
                    <a:pt x="5796" y="4615"/>
                    <a:pt x="4750" y="6017"/>
                  </a:cubicBezTo>
                  <a:cubicBezTo>
                    <a:pt x="4631" y="6166"/>
                    <a:pt x="4766" y="6304"/>
                    <a:pt x="4914" y="6304"/>
                  </a:cubicBezTo>
                  <a:cubicBezTo>
                    <a:pt x="4974" y="6304"/>
                    <a:pt x="5036" y="6281"/>
                    <a:pt x="5085" y="6226"/>
                  </a:cubicBezTo>
                  <a:cubicBezTo>
                    <a:pt x="6361" y="4510"/>
                    <a:pt x="5922" y="1121"/>
                    <a:pt x="3746" y="179"/>
                  </a:cubicBezTo>
                  <a:cubicBezTo>
                    <a:pt x="3471" y="57"/>
                    <a:pt x="3178" y="1"/>
                    <a:pt x="2883"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23" name="Google Shape;2123;p51"/>
            <p:cNvSpPr/>
            <p:nvPr/>
          </p:nvSpPr>
          <p:spPr>
            <a:xfrm>
              <a:off x="4599075" y="3004350"/>
              <a:ext cx="82150" cy="98325"/>
            </a:xfrm>
            <a:custGeom>
              <a:avLst/>
              <a:gdLst/>
              <a:ahLst/>
              <a:cxnLst/>
              <a:rect l="l" t="t" r="r" b="b"/>
              <a:pathLst>
                <a:path w="3286" h="3933" extrusionOk="0">
                  <a:moveTo>
                    <a:pt x="1451" y="1"/>
                  </a:moveTo>
                  <a:cubicBezTo>
                    <a:pt x="1025" y="1"/>
                    <a:pt x="658" y="255"/>
                    <a:pt x="419" y="623"/>
                  </a:cubicBezTo>
                  <a:cubicBezTo>
                    <a:pt x="0" y="1271"/>
                    <a:pt x="189" y="2046"/>
                    <a:pt x="356" y="2736"/>
                  </a:cubicBezTo>
                  <a:cubicBezTo>
                    <a:pt x="397" y="2826"/>
                    <a:pt x="476" y="2865"/>
                    <a:pt x="556" y="2865"/>
                  </a:cubicBezTo>
                  <a:cubicBezTo>
                    <a:pt x="678" y="2865"/>
                    <a:pt x="800" y="2771"/>
                    <a:pt x="774" y="2631"/>
                  </a:cubicBezTo>
                  <a:cubicBezTo>
                    <a:pt x="628" y="2046"/>
                    <a:pt x="461" y="1355"/>
                    <a:pt x="795" y="790"/>
                  </a:cubicBezTo>
                  <a:cubicBezTo>
                    <a:pt x="982" y="510"/>
                    <a:pt x="1206" y="395"/>
                    <a:pt x="1429" y="395"/>
                  </a:cubicBezTo>
                  <a:cubicBezTo>
                    <a:pt x="1806" y="395"/>
                    <a:pt x="2181" y="725"/>
                    <a:pt x="2365" y="1146"/>
                  </a:cubicBezTo>
                  <a:cubicBezTo>
                    <a:pt x="2720" y="1941"/>
                    <a:pt x="2469" y="2945"/>
                    <a:pt x="2762" y="3803"/>
                  </a:cubicBezTo>
                  <a:cubicBezTo>
                    <a:pt x="2787" y="3893"/>
                    <a:pt x="2863" y="3932"/>
                    <a:pt x="2940" y="3932"/>
                  </a:cubicBezTo>
                  <a:cubicBezTo>
                    <a:pt x="3059" y="3932"/>
                    <a:pt x="3182" y="3839"/>
                    <a:pt x="3118" y="3699"/>
                  </a:cubicBezTo>
                  <a:cubicBezTo>
                    <a:pt x="2762" y="2631"/>
                    <a:pt x="3285" y="309"/>
                    <a:pt x="1632" y="16"/>
                  </a:cubicBezTo>
                  <a:cubicBezTo>
                    <a:pt x="1571" y="6"/>
                    <a:pt x="1511" y="1"/>
                    <a:pt x="1451"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24" name="Google Shape;2124;p51"/>
            <p:cNvSpPr/>
            <p:nvPr/>
          </p:nvSpPr>
          <p:spPr>
            <a:xfrm>
              <a:off x="4609275" y="3139100"/>
              <a:ext cx="225200" cy="556550"/>
            </a:xfrm>
            <a:custGeom>
              <a:avLst/>
              <a:gdLst/>
              <a:ahLst/>
              <a:cxnLst/>
              <a:rect l="l" t="t" r="r" b="b"/>
              <a:pathLst>
                <a:path w="9008" h="22262" extrusionOk="0">
                  <a:moveTo>
                    <a:pt x="4366" y="0"/>
                  </a:moveTo>
                  <a:cubicBezTo>
                    <a:pt x="4133" y="0"/>
                    <a:pt x="4145" y="360"/>
                    <a:pt x="4384" y="380"/>
                  </a:cubicBezTo>
                  <a:cubicBezTo>
                    <a:pt x="5451" y="464"/>
                    <a:pt x="6162" y="2179"/>
                    <a:pt x="6581" y="2995"/>
                  </a:cubicBezTo>
                  <a:cubicBezTo>
                    <a:pt x="7041" y="3916"/>
                    <a:pt x="7418" y="4879"/>
                    <a:pt x="7690" y="5862"/>
                  </a:cubicBezTo>
                  <a:cubicBezTo>
                    <a:pt x="8422" y="8457"/>
                    <a:pt x="8234" y="10988"/>
                    <a:pt x="7585" y="13583"/>
                  </a:cubicBezTo>
                  <a:cubicBezTo>
                    <a:pt x="7083" y="15550"/>
                    <a:pt x="6497" y="17684"/>
                    <a:pt x="5493" y="19462"/>
                  </a:cubicBezTo>
                  <a:cubicBezTo>
                    <a:pt x="4970" y="20383"/>
                    <a:pt x="4258" y="21220"/>
                    <a:pt x="3254" y="21638"/>
                  </a:cubicBezTo>
                  <a:cubicBezTo>
                    <a:pt x="2911" y="21783"/>
                    <a:pt x="2603" y="21848"/>
                    <a:pt x="2328" y="21848"/>
                  </a:cubicBezTo>
                  <a:cubicBezTo>
                    <a:pt x="1090" y="21848"/>
                    <a:pt x="511" y="20533"/>
                    <a:pt x="408" y="19232"/>
                  </a:cubicBezTo>
                  <a:cubicBezTo>
                    <a:pt x="398" y="19096"/>
                    <a:pt x="293" y="19028"/>
                    <a:pt x="194" y="19028"/>
                  </a:cubicBezTo>
                  <a:cubicBezTo>
                    <a:pt x="94" y="19028"/>
                    <a:pt x="0" y="19096"/>
                    <a:pt x="11" y="19232"/>
                  </a:cubicBezTo>
                  <a:cubicBezTo>
                    <a:pt x="163" y="20788"/>
                    <a:pt x="916" y="22262"/>
                    <a:pt x="2327" y="22262"/>
                  </a:cubicBezTo>
                  <a:cubicBezTo>
                    <a:pt x="2661" y="22262"/>
                    <a:pt x="3033" y="22179"/>
                    <a:pt x="3442" y="21994"/>
                  </a:cubicBezTo>
                  <a:cubicBezTo>
                    <a:pt x="5869" y="20927"/>
                    <a:pt x="6706" y="17893"/>
                    <a:pt x="7418" y="15591"/>
                  </a:cubicBezTo>
                  <a:cubicBezTo>
                    <a:pt x="8443" y="12286"/>
                    <a:pt x="9008" y="8980"/>
                    <a:pt x="8024" y="5569"/>
                  </a:cubicBezTo>
                  <a:cubicBezTo>
                    <a:pt x="7627" y="4209"/>
                    <a:pt x="7062" y="2933"/>
                    <a:pt x="6330" y="1698"/>
                  </a:cubicBezTo>
                  <a:cubicBezTo>
                    <a:pt x="5869" y="945"/>
                    <a:pt x="5388" y="66"/>
                    <a:pt x="4405" y="3"/>
                  </a:cubicBezTo>
                  <a:cubicBezTo>
                    <a:pt x="4391" y="1"/>
                    <a:pt x="4378" y="0"/>
                    <a:pt x="4366"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25" name="Google Shape;2125;p51"/>
            <p:cNvSpPr/>
            <p:nvPr/>
          </p:nvSpPr>
          <p:spPr>
            <a:xfrm>
              <a:off x="4650475" y="3303225"/>
              <a:ext cx="127525" cy="345375"/>
            </a:xfrm>
            <a:custGeom>
              <a:avLst/>
              <a:gdLst/>
              <a:ahLst/>
              <a:cxnLst/>
              <a:rect l="l" t="t" r="r" b="b"/>
              <a:pathLst>
                <a:path w="5101" h="13815" extrusionOk="0">
                  <a:moveTo>
                    <a:pt x="4022" y="0"/>
                  </a:moveTo>
                  <a:cubicBezTo>
                    <a:pt x="3909" y="0"/>
                    <a:pt x="3785" y="95"/>
                    <a:pt x="3824" y="239"/>
                  </a:cubicBezTo>
                  <a:cubicBezTo>
                    <a:pt x="4619" y="2540"/>
                    <a:pt x="4493" y="4884"/>
                    <a:pt x="3761" y="7185"/>
                  </a:cubicBezTo>
                  <a:cubicBezTo>
                    <a:pt x="3384" y="8294"/>
                    <a:pt x="2924" y="9382"/>
                    <a:pt x="2401" y="10449"/>
                  </a:cubicBezTo>
                  <a:cubicBezTo>
                    <a:pt x="1899" y="11433"/>
                    <a:pt x="1355" y="13044"/>
                    <a:pt x="204" y="13420"/>
                  </a:cubicBezTo>
                  <a:cubicBezTo>
                    <a:pt x="0" y="13495"/>
                    <a:pt x="59" y="13814"/>
                    <a:pt x="235" y="13814"/>
                  </a:cubicBezTo>
                  <a:cubicBezTo>
                    <a:pt x="257" y="13814"/>
                    <a:pt x="282" y="13809"/>
                    <a:pt x="309" y="13797"/>
                  </a:cubicBezTo>
                  <a:cubicBezTo>
                    <a:pt x="1208" y="13483"/>
                    <a:pt x="1606" y="12730"/>
                    <a:pt x="2066" y="11914"/>
                  </a:cubicBezTo>
                  <a:cubicBezTo>
                    <a:pt x="2715" y="10679"/>
                    <a:pt x="3343" y="9445"/>
                    <a:pt x="3803" y="8148"/>
                  </a:cubicBezTo>
                  <a:cubicBezTo>
                    <a:pt x="4786" y="5532"/>
                    <a:pt x="5100" y="2812"/>
                    <a:pt x="4180" y="113"/>
                  </a:cubicBezTo>
                  <a:cubicBezTo>
                    <a:pt x="4156" y="34"/>
                    <a:pt x="4091" y="0"/>
                    <a:pt x="4022"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126" name="Google Shape;2126;p51"/>
          <p:cNvGrpSpPr/>
          <p:nvPr/>
        </p:nvGrpSpPr>
        <p:grpSpPr>
          <a:xfrm>
            <a:off x="1090321" y="1569967"/>
            <a:ext cx="612167" cy="608033"/>
            <a:chOff x="3493775" y="2962575"/>
            <a:chExt cx="570200" cy="566350"/>
          </a:xfrm>
        </p:grpSpPr>
        <p:sp>
          <p:nvSpPr>
            <p:cNvPr id="2127" name="Google Shape;2127;p51"/>
            <p:cNvSpPr/>
            <p:nvPr/>
          </p:nvSpPr>
          <p:spPr>
            <a:xfrm>
              <a:off x="3493775" y="2962575"/>
              <a:ext cx="570200" cy="566350"/>
            </a:xfrm>
            <a:custGeom>
              <a:avLst/>
              <a:gdLst/>
              <a:ahLst/>
              <a:cxnLst/>
              <a:rect l="l" t="t" r="r" b="b"/>
              <a:pathLst>
                <a:path w="22808" h="22654" extrusionOk="0">
                  <a:moveTo>
                    <a:pt x="10719" y="370"/>
                  </a:moveTo>
                  <a:cubicBezTo>
                    <a:pt x="11068" y="370"/>
                    <a:pt x="11422" y="384"/>
                    <a:pt x="11781" y="411"/>
                  </a:cubicBezTo>
                  <a:cubicBezTo>
                    <a:pt x="14124" y="578"/>
                    <a:pt x="16593" y="976"/>
                    <a:pt x="18539" y="2315"/>
                  </a:cubicBezTo>
                  <a:cubicBezTo>
                    <a:pt x="20527" y="3675"/>
                    <a:pt x="21698" y="6395"/>
                    <a:pt x="22180" y="8696"/>
                  </a:cubicBezTo>
                  <a:cubicBezTo>
                    <a:pt x="22619" y="10810"/>
                    <a:pt x="22180" y="13383"/>
                    <a:pt x="21615" y="15434"/>
                  </a:cubicBezTo>
                  <a:cubicBezTo>
                    <a:pt x="21029" y="17673"/>
                    <a:pt x="19941" y="19472"/>
                    <a:pt x="17953" y="20665"/>
                  </a:cubicBezTo>
                  <a:cubicBezTo>
                    <a:pt x="16154" y="21774"/>
                    <a:pt x="14040" y="22234"/>
                    <a:pt x="11948" y="22234"/>
                  </a:cubicBezTo>
                  <a:cubicBezTo>
                    <a:pt x="7952" y="22213"/>
                    <a:pt x="4018" y="20644"/>
                    <a:pt x="2260" y="16857"/>
                  </a:cubicBezTo>
                  <a:cubicBezTo>
                    <a:pt x="331" y="12645"/>
                    <a:pt x="274" y="5821"/>
                    <a:pt x="4128" y="2646"/>
                  </a:cubicBezTo>
                  <a:lnTo>
                    <a:pt x="4128" y="2646"/>
                  </a:lnTo>
                  <a:cubicBezTo>
                    <a:pt x="4161" y="2643"/>
                    <a:pt x="4194" y="2631"/>
                    <a:pt x="4227" y="2608"/>
                  </a:cubicBezTo>
                  <a:cubicBezTo>
                    <a:pt x="6163" y="1019"/>
                    <a:pt x="8322" y="370"/>
                    <a:pt x="10719" y="370"/>
                  </a:cubicBezTo>
                  <a:close/>
                  <a:moveTo>
                    <a:pt x="10663" y="1"/>
                  </a:moveTo>
                  <a:cubicBezTo>
                    <a:pt x="8204" y="1"/>
                    <a:pt x="5989" y="644"/>
                    <a:pt x="3934" y="2315"/>
                  </a:cubicBezTo>
                  <a:cubicBezTo>
                    <a:pt x="252" y="5244"/>
                    <a:pt x="1" y="11437"/>
                    <a:pt x="1361" y="15601"/>
                  </a:cubicBezTo>
                  <a:cubicBezTo>
                    <a:pt x="2030" y="17673"/>
                    <a:pt x="3181" y="19598"/>
                    <a:pt x="5064" y="20811"/>
                  </a:cubicBezTo>
                  <a:cubicBezTo>
                    <a:pt x="6717" y="21857"/>
                    <a:pt x="8684" y="22380"/>
                    <a:pt x="10609" y="22590"/>
                  </a:cubicBezTo>
                  <a:cubicBezTo>
                    <a:pt x="11043" y="22632"/>
                    <a:pt x="11481" y="22653"/>
                    <a:pt x="11921" y="22653"/>
                  </a:cubicBezTo>
                  <a:cubicBezTo>
                    <a:pt x="15856" y="22653"/>
                    <a:pt x="19906" y="20947"/>
                    <a:pt x="21468" y="17108"/>
                  </a:cubicBezTo>
                  <a:cubicBezTo>
                    <a:pt x="22410" y="14806"/>
                    <a:pt x="22807" y="12086"/>
                    <a:pt x="22661" y="9617"/>
                  </a:cubicBezTo>
                  <a:cubicBezTo>
                    <a:pt x="22556" y="7441"/>
                    <a:pt x="21364" y="4512"/>
                    <a:pt x="19878" y="2942"/>
                  </a:cubicBezTo>
                  <a:cubicBezTo>
                    <a:pt x="17995" y="976"/>
                    <a:pt x="15170" y="369"/>
                    <a:pt x="12576" y="118"/>
                  </a:cubicBezTo>
                  <a:cubicBezTo>
                    <a:pt x="11922" y="42"/>
                    <a:pt x="11285" y="1"/>
                    <a:pt x="10663"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28" name="Google Shape;2128;p51"/>
            <p:cNvSpPr/>
            <p:nvPr/>
          </p:nvSpPr>
          <p:spPr>
            <a:xfrm>
              <a:off x="3577475" y="3023950"/>
              <a:ext cx="416525" cy="216500"/>
            </a:xfrm>
            <a:custGeom>
              <a:avLst/>
              <a:gdLst/>
              <a:ahLst/>
              <a:cxnLst/>
              <a:rect l="l" t="t" r="r" b="b"/>
              <a:pathLst>
                <a:path w="16661" h="8660" extrusionOk="0">
                  <a:moveTo>
                    <a:pt x="699" y="1"/>
                  </a:moveTo>
                  <a:cubicBezTo>
                    <a:pt x="602" y="1"/>
                    <a:pt x="492" y="58"/>
                    <a:pt x="461" y="174"/>
                  </a:cubicBezTo>
                  <a:cubicBezTo>
                    <a:pt x="0" y="3877"/>
                    <a:pt x="1821" y="7267"/>
                    <a:pt x="5482" y="8417"/>
                  </a:cubicBezTo>
                  <a:cubicBezTo>
                    <a:pt x="6029" y="8585"/>
                    <a:pt x="6576" y="8660"/>
                    <a:pt x="7120" y="8660"/>
                  </a:cubicBezTo>
                  <a:cubicBezTo>
                    <a:pt x="9156" y="8660"/>
                    <a:pt x="11133" y="7611"/>
                    <a:pt x="12785" y="6472"/>
                  </a:cubicBezTo>
                  <a:cubicBezTo>
                    <a:pt x="14710" y="5132"/>
                    <a:pt x="16133" y="3145"/>
                    <a:pt x="16635" y="843"/>
                  </a:cubicBezTo>
                  <a:cubicBezTo>
                    <a:pt x="16660" y="703"/>
                    <a:pt x="16539" y="610"/>
                    <a:pt x="16425" y="610"/>
                  </a:cubicBezTo>
                  <a:cubicBezTo>
                    <a:pt x="16352" y="610"/>
                    <a:pt x="16283" y="648"/>
                    <a:pt x="16258" y="739"/>
                  </a:cubicBezTo>
                  <a:cubicBezTo>
                    <a:pt x="15756" y="3040"/>
                    <a:pt x="14375" y="4986"/>
                    <a:pt x="12408" y="6262"/>
                  </a:cubicBezTo>
                  <a:cubicBezTo>
                    <a:pt x="10808" y="7329"/>
                    <a:pt x="9009" y="8254"/>
                    <a:pt x="7133" y="8254"/>
                  </a:cubicBezTo>
                  <a:cubicBezTo>
                    <a:pt x="6506" y="8254"/>
                    <a:pt x="5871" y="8151"/>
                    <a:pt x="5231" y="7915"/>
                  </a:cubicBezTo>
                  <a:cubicBezTo>
                    <a:pt x="1905" y="6681"/>
                    <a:pt x="440" y="3542"/>
                    <a:pt x="858" y="174"/>
                  </a:cubicBezTo>
                  <a:cubicBezTo>
                    <a:pt x="879" y="58"/>
                    <a:pt x="796" y="1"/>
                    <a:pt x="699"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29" name="Google Shape;2129;p51"/>
            <p:cNvSpPr/>
            <p:nvPr/>
          </p:nvSpPr>
          <p:spPr>
            <a:xfrm>
              <a:off x="3723950" y="2973450"/>
              <a:ext cx="129925" cy="543250"/>
            </a:xfrm>
            <a:custGeom>
              <a:avLst/>
              <a:gdLst/>
              <a:ahLst/>
              <a:cxnLst/>
              <a:rect l="l" t="t" r="r" b="b"/>
              <a:pathLst>
                <a:path w="5197" h="21730" extrusionOk="0">
                  <a:moveTo>
                    <a:pt x="3199" y="1"/>
                  </a:moveTo>
                  <a:cubicBezTo>
                    <a:pt x="3142" y="1"/>
                    <a:pt x="3087" y="30"/>
                    <a:pt x="3055" y="101"/>
                  </a:cubicBezTo>
                  <a:cubicBezTo>
                    <a:pt x="1151" y="4307"/>
                    <a:pt x="0" y="8512"/>
                    <a:pt x="460" y="13178"/>
                  </a:cubicBezTo>
                  <a:cubicBezTo>
                    <a:pt x="795" y="16443"/>
                    <a:pt x="1695" y="20062"/>
                    <a:pt x="4813" y="21694"/>
                  </a:cubicBezTo>
                  <a:cubicBezTo>
                    <a:pt x="4851" y="21719"/>
                    <a:pt x="4888" y="21729"/>
                    <a:pt x="4922" y="21729"/>
                  </a:cubicBezTo>
                  <a:cubicBezTo>
                    <a:pt x="5094" y="21729"/>
                    <a:pt x="5196" y="21464"/>
                    <a:pt x="5022" y="21360"/>
                  </a:cubicBezTo>
                  <a:cubicBezTo>
                    <a:pt x="1800" y="19665"/>
                    <a:pt x="1067" y="15773"/>
                    <a:pt x="795" y="12446"/>
                  </a:cubicBezTo>
                  <a:cubicBezTo>
                    <a:pt x="460" y="8136"/>
                    <a:pt x="1632" y="4181"/>
                    <a:pt x="3411" y="290"/>
                  </a:cubicBezTo>
                  <a:cubicBezTo>
                    <a:pt x="3468" y="145"/>
                    <a:pt x="3327" y="1"/>
                    <a:pt x="3199"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30" name="Google Shape;2130;p51"/>
            <p:cNvSpPr/>
            <p:nvPr/>
          </p:nvSpPr>
          <p:spPr>
            <a:xfrm>
              <a:off x="3600775" y="3359950"/>
              <a:ext cx="364425" cy="112325"/>
            </a:xfrm>
            <a:custGeom>
              <a:avLst/>
              <a:gdLst/>
              <a:ahLst/>
              <a:cxnLst/>
              <a:rect l="l" t="t" r="r" b="b"/>
              <a:pathLst>
                <a:path w="14577" h="4493" extrusionOk="0">
                  <a:moveTo>
                    <a:pt x="6562" y="0"/>
                  </a:moveTo>
                  <a:cubicBezTo>
                    <a:pt x="3797" y="0"/>
                    <a:pt x="1162" y="1185"/>
                    <a:pt x="52" y="3891"/>
                  </a:cubicBezTo>
                  <a:cubicBezTo>
                    <a:pt x="1" y="4031"/>
                    <a:pt x="120" y="4124"/>
                    <a:pt x="245" y="4124"/>
                  </a:cubicBezTo>
                  <a:cubicBezTo>
                    <a:pt x="326" y="4124"/>
                    <a:pt x="408" y="4086"/>
                    <a:pt x="449" y="3996"/>
                  </a:cubicBezTo>
                  <a:cubicBezTo>
                    <a:pt x="1474" y="1478"/>
                    <a:pt x="3921" y="392"/>
                    <a:pt x="6508" y="392"/>
                  </a:cubicBezTo>
                  <a:cubicBezTo>
                    <a:pt x="9575" y="392"/>
                    <a:pt x="12838" y="1919"/>
                    <a:pt x="14154" y="4393"/>
                  </a:cubicBezTo>
                  <a:cubicBezTo>
                    <a:pt x="14193" y="4464"/>
                    <a:pt x="14251" y="4493"/>
                    <a:pt x="14310" y="4493"/>
                  </a:cubicBezTo>
                  <a:cubicBezTo>
                    <a:pt x="14442" y="4493"/>
                    <a:pt x="14576" y="4343"/>
                    <a:pt x="14489" y="4184"/>
                  </a:cubicBezTo>
                  <a:cubicBezTo>
                    <a:pt x="13090" y="1566"/>
                    <a:pt x="9741" y="0"/>
                    <a:pt x="6562"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31" name="Google Shape;2131;p51"/>
            <p:cNvSpPr/>
            <p:nvPr/>
          </p:nvSpPr>
          <p:spPr>
            <a:xfrm>
              <a:off x="3508975" y="3193625"/>
              <a:ext cx="546725" cy="127350"/>
            </a:xfrm>
            <a:custGeom>
              <a:avLst/>
              <a:gdLst/>
              <a:ahLst/>
              <a:cxnLst/>
              <a:rect l="l" t="t" r="r" b="b"/>
              <a:pathLst>
                <a:path w="21869" h="5094" extrusionOk="0">
                  <a:moveTo>
                    <a:pt x="21592" y="0"/>
                  </a:moveTo>
                  <a:cubicBezTo>
                    <a:pt x="21549" y="0"/>
                    <a:pt x="21505" y="18"/>
                    <a:pt x="21467" y="61"/>
                  </a:cubicBezTo>
                  <a:cubicBezTo>
                    <a:pt x="18742" y="3154"/>
                    <a:pt x="14725" y="4688"/>
                    <a:pt x="10695" y="4688"/>
                  </a:cubicBezTo>
                  <a:cubicBezTo>
                    <a:pt x="6927" y="4688"/>
                    <a:pt x="3147" y="3348"/>
                    <a:pt x="397" y="689"/>
                  </a:cubicBezTo>
                  <a:cubicBezTo>
                    <a:pt x="364" y="646"/>
                    <a:pt x="322" y="628"/>
                    <a:pt x="281" y="628"/>
                  </a:cubicBezTo>
                  <a:cubicBezTo>
                    <a:pt x="142" y="628"/>
                    <a:pt x="1" y="832"/>
                    <a:pt x="146" y="961"/>
                  </a:cubicBezTo>
                  <a:cubicBezTo>
                    <a:pt x="2967" y="3711"/>
                    <a:pt x="6848" y="5093"/>
                    <a:pt x="10712" y="5093"/>
                  </a:cubicBezTo>
                  <a:cubicBezTo>
                    <a:pt x="14846" y="5093"/>
                    <a:pt x="18960" y="3512"/>
                    <a:pt x="21739" y="333"/>
                  </a:cubicBezTo>
                  <a:cubicBezTo>
                    <a:pt x="21868" y="204"/>
                    <a:pt x="21736" y="0"/>
                    <a:pt x="21592" y="0"/>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2132" name="Google Shape;2132;p51"/>
          <p:cNvSpPr/>
          <p:nvPr/>
        </p:nvSpPr>
        <p:spPr>
          <a:xfrm>
            <a:off x="1023500" y="1471033"/>
            <a:ext cx="81203" cy="152872"/>
          </a:xfrm>
          <a:custGeom>
            <a:avLst/>
            <a:gdLst/>
            <a:ahLst/>
            <a:cxnLst/>
            <a:rect l="l" t="t" r="r" b="b"/>
            <a:pathLst>
              <a:path w="4447" h="5970" extrusionOk="0">
                <a:moveTo>
                  <a:pt x="3281" y="1"/>
                </a:moveTo>
                <a:cubicBezTo>
                  <a:pt x="3129" y="1"/>
                  <a:pt x="2966" y="54"/>
                  <a:pt x="2800" y="178"/>
                </a:cubicBezTo>
                <a:cubicBezTo>
                  <a:pt x="1187" y="1403"/>
                  <a:pt x="246" y="3090"/>
                  <a:pt x="52" y="5107"/>
                </a:cubicBezTo>
                <a:cubicBezTo>
                  <a:pt x="0" y="5685"/>
                  <a:pt x="420" y="5969"/>
                  <a:pt x="867" y="5969"/>
                </a:cubicBezTo>
                <a:cubicBezTo>
                  <a:pt x="1319" y="5969"/>
                  <a:pt x="1799" y="5678"/>
                  <a:pt x="1844" y="5107"/>
                </a:cubicBezTo>
                <a:cubicBezTo>
                  <a:pt x="1964" y="3777"/>
                  <a:pt x="2636" y="2523"/>
                  <a:pt x="3696" y="1731"/>
                </a:cubicBezTo>
                <a:cubicBezTo>
                  <a:pt x="4447" y="1165"/>
                  <a:pt x="3991" y="1"/>
                  <a:pt x="3281"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33" name="Google Shape;2133;p51"/>
          <p:cNvSpPr/>
          <p:nvPr/>
        </p:nvSpPr>
        <p:spPr>
          <a:xfrm rot="791341">
            <a:off x="970072" y="1457757"/>
            <a:ext cx="46760" cy="113202"/>
          </a:xfrm>
          <a:custGeom>
            <a:avLst/>
            <a:gdLst/>
            <a:ahLst/>
            <a:cxnLst/>
            <a:rect l="l" t="t" r="r" b="b"/>
            <a:pathLst>
              <a:path w="4447" h="5970" extrusionOk="0">
                <a:moveTo>
                  <a:pt x="3281" y="1"/>
                </a:moveTo>
                <a:cubicBezTo>
                  <a:pt x="3129" y="1"/>
                  <a:pt x="2966" y="54"/>
                  <a:pt x="2800" y="178"/>
                </a:cubicBezTo>
                <a:cubicBezTo>
                  <a:pt x="1187" y="1403"/>
                  <a:pt x="246" y="3090"/>
                  <a:pt x="52" y="5107"/>
                </a:cubicBezTo>
                <a:cubicBezTo>
                  <a:pt x="0" y="5685"/>
                  <a:pt x="420" y="5969"/>
                  <a:pt x="867" y="5969"/>
                </a:cubicBezTo>
                <a:cubicBezTo>
                  <a:pt x="1319" y="5969"/>
                  <a:pt x="1799" y="5678"/>
                  <a:pt x="1844" y="5107"/>
                </a:cubicBezTo>
                <a:cubicBezTo>
                  <a:pt x="1964" y="3777"/>
                  <a:pt x="2636" y="2523"/>
                  <a:pt x="3696" y="1731"/>
                </a:cubicBezTo>
                <a:cubicBezTo>
                  <a:pt x="4447" y="1165"/>
                  <a:pt x="3991" y="1"/>
                  <a:pt x="3281"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34" name="Google Shape;2134;p51"/>
          <p:cNvSpPr/>
          <p:nvPr/>
        </p:nvSpPr>
        <p:spPr>
          <a:xfrm rot="-8188685">
            <a:off x="10769647" y="1495359"/>
            <a:ext cx="67219" cy="139431"/>
          </a:xfrm>
          <a:custGeom>
            <a:avLst/>
            <a:gdLst/>
            <a:ahLst/>
            <a:cxnLst/>
            <a:rect l="l" t="t" r="r" b="b"/>
            <a:pathLst>
              <a:path w="3606" h="5502" extrusionOk="0">
                <a:moveTo>
                  <a:pt x="2253" y="0"/>
                </a:moveTo>
                <a:cubicBezTo>
                  <a:pt x="2053" y="0"/>
                  <a:pt x="1846" y="70"/>
                  <a:pt x="1658" y="235"/>
                </a:cubicBezTo>
                <a:cubicBezTo>
                  <a:pt x="299" y="1475"/>
                  <a:pt x="0" y="3387"/>
                  <a:pt x="732" y="5030"/>
                </a:cubicBezTo>
                <a:cubicBezTo>
                  <a:pt x="878" y="5363"/>
                  <a:pt x="1131" y="5502"/>
                  <a:pt x="1396" y="5502"/>
                </a:cubicBezTo>
                <a:cubicBezTo>
                  <a:pt x="1973" y="5502"/>
                  <a:pt x="2603" y="4845"/>
                  <a:pt x="2285" y="4118"/>
                </a:cubicBezTo>
                <a:cubicBezTo>
                  <a:pt x="1867" y="3192"/>
                  <a:pt x="2211" y="2132"/>
                  <a:pt x="2927" y="1505"/>
                </a:cubicBezTo>
                <a:cubicBezTo>
                  <a:pt x="3606" y="908"/>
                  <a:pt x="2974" y="0"/>
                  <a:pt x="2253"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35" name="Google Shape;2135;p51"/>
          <p:cNvSpPr/>
          <p:nvPr/>
        </p:nvSpPr>
        <p:spPr>
          <a:xfrm rot="-7587917">
            <a:off x="10720147" y="1439550"/>
            <a:ext cx="54808" cy="166409"/>
          </a:xfrm>
          <a:custGeom>
            <a:avLst/>
            <a:gdLst/>
            <a:ahLst/>
            <a:cxnLst/>
            <a:rect l="l" t="t" r="r" b="b"/>
            <a:pathLst>
              <a:path w="3606" h="5502" extrusionOk="0">
                <a:moveTo>
                  <a:pt x="2253" y="0"/>
                </a:moveTo>
                <a:cubicBezTo>
                  <a:pt x="2053" y="0"/>
                  <a:pt x="1846" y="70"/>
                  <a:pt x="1658" y="235"/>
                </a:cubicBezTo>
                <a:cubicBezTo>
                  <a:pt x="299" y="1475"/>
                  <a:pt x="0" y="3387"/>
                  <a:pt x="732" y="5030"/>
                </a:cubicBezTo>
                <a:cubicBezTo>
                  <a:pt x="878" y="5363"/>
                  <a:pt x="1131" y="5502"/>
                  <a:pt x="1396" y="5502"/>
                </a:cubicBezTo>
                <a:cubicBezTo>
                  <a:pt x="1973" y="5502"/>
                  <a:pt x="2603" y="4845"/>
                  <a:pt x="2285" y="4118"/>
                </a:cubicBezTo>
                <a:cubicBezTo>
                  <a:pt x="1867" y="3192"/>
                  <a:pt x="2211" y="2132"/>
                  <a:pt x="2927" y="1505"/>
                </a:cubicBezTo>
                <a:cubicBezTo>
                  <a:pt x="3606" y="908"/>
                  <a:pt x="2974" y="0"/>
                  <a:pt x="2253"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2136" name="Google Shape;2136;p51"/>
          <p:cNvGrpSpPr/>
          <p:nvPr/>
        </p:nvGrpSpPr>
        <p:grpSpPr>
          <a:xfrm rot="-3279527">
            <a:off x="7366795" y="2879286"/>
            <a:ext cx="236891" cy="196468"/>
            <a:chOff x="3190642" y="4443648"/>
            <a:chExt cx="177651" cy="147337"/>
          </a:xfrm>
        </p:grpSpPr>
        <p:sp>
          <p:nvSpPr>
            <p:cNvPr id="2137" name="Google Shape;2137;p51"/>
            <p:cNvSpPr/>
            <p:nvPr/>
          </p:nvSpPr>
          <p:spPr>
            <a:xfrm rot="-1347408">
              <a:off x="3203566" y="4451096"/>
              <a:ext cx="54577" cy="78503"/>
            </a:xfrm>
            <a:custGeom>
              <a:avLst/>
              <a:gdLst/>
              <a:ahLst/>
              <a:cxnLst/>
              <a:rect l="l" t="t" r="r" b="b"/>
              <a:pathLst>
                <a:path w="2183" h="3140" extrusionOk="0">
                  <a:moveTo>
                    <a:pt x="1681" y="1"/>
                  </a:moveTo>
                  <a:cubicBezTo>
                    <a:pt x="1521" y="1"/>
                    <a:pt x="1370" y="91"/>
                    <a:pt x="1328" y="299"/>
                  </a:cubicBezTo>
                  <a:cubicBezTo>
                    <a:pt x="1119" y="1136"/>
                    <a:pt x="745" y="1883"/>
                    <a:pt x="223" y="2555"/>
                  </a:cubicBezTo>
                  <a:cubicBezTo>
                    <a:pt x="1" y="2851"/>
                    <a:pt x="288" y="3140"/>
                    <a:pt x="586" y="3140"/>
                  </a:cubicBezTo>
                  <a:cubicBezTo>
                    <a:pt x="709" y="3140"/>
                    <a:pt x="833" y="3091"/>
                    <a:pt x="925" y="2973"/>
                  </a:cubicBezTo>
                  <a:cubicBezTo>
                    <a:pt x="1492" y="2241"/>
                    <a:pt x="1881" y="1405"/>
                    <a:pt x="2120" y="509"/>
                  </a:cubicBezTo>
                  <a:cubicBezTo>
                    <a:pt x="2182" y="204"/>
                    <a:pt x="1922" y="1"/>
                    <a:pt x="1681"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38" name="Google Shape;2138;p51"/>
            <p:cNvSpPr/>
            <p:nvPr/>
          </p:nvSpPr>
          <p:spPr>
            <a:xfrm>
              <a:off x="3240825" y="4464925"/>
              <a:ext cx="85625" cy="123825"/>
            </a:xfrm>
            <a:custGeom>
              <a:avLst/>
              <a:gdLst/>
              <a:ahLst/>
              <a:cxnLst/>
              <a:rect l="l" t="t" r="r" b="b"/>
              <a:pathLst>
                <a:path w="3425" h="4953" extrusionOk="0">
                  <a:moveTo>
                    <a:pt x="2862" y="1"/>
                  </a:moveTo>
                  <a:cubicBezTo>
                    <a:pt x="2736" y="1"/>
                    <a:pt x="2609" y="58"/>
                    <a:pt x="2522" y="196"/>
                  </a:cubicBezTo>
                  <a:cubicBezTo>
                    <a:pt x="1670" y="1540"/>
                    <a:pt x="879" y="2914"/>
                    <a:pt x="177" y="4333"/>
                  </a:cubicBezTo>
                  <a:cubicBezTo>
                    <a:pt x="1" y="4654"/>
                    <a:pt x="290" y="4953"/>
                    <a:pt x="565" y="4953"/>
                  </a:cubicBezTo>
                  <a:cubicBezTo>
                    <a:pt x="686" y="4953"/>
                    <a:pt x="805" y="4894"/>
                    <a:pt x="879" y="4751"/>
                  </a:cubicBezTo>
                  <a:cubicBezTo>
                    <a:pt x="1596" y="3333"/>
                    <a:pt x="2372" y="1944"/>
                    <a:pt x="3238" y="599"/>
                  </a:cubicBezTo>
                  <a:cubicBezTo>
                    <a:pt x="3424" y="289"/>
                    <a:pt x="3146" y="1"/>
                    <a:pt x="2862"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39" name="Google Shape;2139;p51"/>
            <p:cNvSpPr/>
            <p:nvPr/>
          </p:nvSpPr>
          <p:spPr>
            <a:xfrm rot="1120882">
              <a:off x="3300470" y="4507503"/>
              <a:ext cx="57099" cy="76349"/>
            </a:xfrm>
            <a:custGeom>
              <a:avLst/>
              <a:gdLst/>
              <a:ahLst/>
              <a:cxnLst/>
              <a:rect l="l" t="t" r="r" b="b"/>
              <a:pathLst>
                <a:path w="2284" h="3054" extrusionOk="0">
                  <a:moveTo>
                    <a:pt x="1790" y="1"/>
                  </a:moveTo>
                  <a:cubicBezTo>
                    <a:pt x="1627" y="1"/>
                    <a:pt x="1460" y="82"/>
                    <a:pt x="1389" y="271"/>
                  </a:cubicBezTo>
                  <a:cubicBezTo>
                    <a:pt x="1076" y="1048"/>
                    <a:pt x="673" y="1765"/>
                    <a:pt x="210" y="2467"/>
                  </a:cubicBezTo>
                  <a:cubicBezTo>
                    <a:pt x="0" y="2760"/>
                    <a:pt x="282" y="3053"/>
                    <a:pt x="578" y="3053"/>
                  </a:cubicBezTo>
                  <a:cubicBezTo>
                    <a:pt x="704" y="3053"/>
                    <a:pt x="833" y="3000"/>
                    <a:pt x="926" y="2870"/>
                  </a:cubicBezTo>
                  <a:cubicBezTo>
                    <a:pt x="1419" y="2123"/>
                    <a:pt x="1838" y="1317"/>
                    <a:pt x="2166" y="480"/>
                  </a:cubicBezTo>
                  <a:cubicBezTo>
                    <a:pt x="2283" y="192"/>
                    <a:pt x="2041" y="1"/>
                    <a:pt x="1790"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140" name="Google Shape;2140;p51"/>
          <p:cNvGrpSpPr/>
          <p:nvPr/>
        </p:nvGrpSpPr>
        <p:grpSpPr>
          <a:xfrm rot="2994984">
            <a:off x="5340191" y="3098402"/>
            <a:ext cx="266823" cy="166996"/>
            <a:chOff x="3609906" y="4464050"/>
            <a:chExt cx="200119" cy="125248"/>
          </a:xfrm>
        </p:grpSpPr>
        <p:sp>
          <p:nvSpPr>
            <p:cNvPr id="2141" name="Google Shape;2141;p51"/>
            <p:cNvSpPr/>
            <p:nvPr/>
          </p:nvSpPr>
          <p:spPr>
            <a:xfrm rot="-2978874">
              <a:off x="3635001" y="4485798"/>
              <a:ext cx="64627" cy="95753"/>
            </a:xfrm>
            <a:custGeom>
              <a:avLst/>
              <a:gdLst/>
              <a:ahLst/>
              <a:cxnLst/>
              <a:rect l="l" t="t" r="r" b="b"/>
              <a:pathLst>
                <a:path w="2585" h="3830" extrusionOk="0">
                  <a:moveTo>
                    <a:pt x="2023" y="1"/>
                  </a:moveTo>
                  <a:cubicBezTo>
                    <a:pt x="1901" y="1"/>
                    <a:pt x="1784" y="61"/>
                    <a:pt x="1714" y="205"/>
                  </a:cubicBezTo>
                  <a:cubicBezTo>
                    <a:pt x="1191" y="1221"/>
                    <a:pt x="698" y="2207"/>
                    <a:pt x="175" y="3207"/>
                  </a:cubicBezTo>
                  <a:cubicBezTo>
                    <a:pt x="1" y="3536"/>
                    <a:pt x="286" y="3830"/>
                    <a:pt x="559" y="3830"/>
                  </a:cubicBezTo>
                  <a:cubicBezTo>
                    <a:pt x="682" y="3830"/>
                    <a:pt x="803" y="3770"/>
                    <a:pt x="877" y="3625"/>
                  </a:cubicBezTo>
                  <a:cubicBezTo>
                    <a:pt x="1400" y="2610"/>
                    <a:pt x="1908" y="1624"/>
                    <a:pt x="2431" y="623"/>
                  </a:cubicBezTo>
                  <a:cubicBezTo>
                    <a:pt x="2585" y="294"/>
                    <a:pt x="2293" y="1"/>
                    <a:pt x="2023"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42" name="Google Shape;2142;p51"/>
            <p:cNvSpPr/>
            <p:nvPr/>
          </p:nvSpPr>
          <p:spPr>
            <a:xfrm rot="-970607">
              <a:off x="3698424" y="4490039"/>
              <a:ext cx="41050" cy="73274"/>
            </a:xfrm>
            <a:custGeom>
              <a:avLst/>
              <a:gdLst/>
              <a:ahLst/>
              <a:cxnLst/>
              <a:rect l="l" t="t" r="r" b="b"/>
              <a:pathLst>
                <a:path w="1642" h="2931" extrusionOk="0">
                  <a:moveTo>
                    <a:pt x="1105" y="0"/>
                  </a:moveTo>
                  <a:cubicBezTo>
                    <a:pt x="988" y="0"/>
                    <a:pt x="876" y="60"/>
                    <a:pt x="811" y="205"/>
                  </a:cubicBezTo>
                  <a:cubicBezTo>
                    <a:pt x="512" y="937"/>
                    <a:pt x="258" y="1654"/>
                    <a:pt x="64" y="2431"/>
                  </a:cubicBezTo>
                  <a:cubicBezTo>
                    <a:pt x="0" y="2730"/>
                    <a:pt x="263" y="2931"/>
                    <a:pt x="505" y="2931"/>
                  </a:cubicBezTo>
                  <a:cubicBezTo>
                    <a:pt x="661" y="2931"/>
                    <a:pt x="809" y="2848"/>
                    <a:pt x="856" y="2655"/>
                  </a:cubicBezTo>
                  <a:cubicBezTo>
                    <a:pt x="1020" y="1953"/>
                    <a:pt x="1229" y="1266"/>
                    <a:pt x="1498" y="608"/>
                  </a:cubicBezTo>
                  <a:cubicBezTo>
                    <a:pt x="1642" y="290"/>
                    <a:pt x="1362" y="0"/>
                    <a:pt x="1105"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43" name="Google Shape;2143;p51"/>
            <p:cNvSpPr/>
            <p:nvPr/>
          </p:nvSpPr>
          <p:spPr>
            <a:xfrm>
              <a:off x="3748850" y="4464050"/>
              <a:ext cx="61175" cy="88675"/>
            </a:xfrm>
            <a:custGeom>
              <a:avLst/>
              <a:gdLst/>
              <a:ahLst/>
              <a:cxnLst/>
              <a:rect l="l" t="t" r="r" b="b"/>
              <a:pathLst>
                <a:path w="2447" h="3547" extrusionOk="0">
                  <a:moveTo>
                    <a:pt x="1953" y="0"/>
                  </a:moveTo>
                  <a:cubicBezTo>
                    <a:pt x="1787" y="0"/>
                    <a:pt x="1618" y="84"/>
                    <a:pt x="1541" y="274"/>
                  </a:cubicBezTo>
                  <a:cubicBezTo>
                    <a:pt x="1182" y="1215"/>
                    <a:pt x="734" y="2111"/>
                    <a:pt x="196" y="2947"/>
                  </a:cubicBezTo>
                  <a:cubicBezTo>
                    <a:pt x="0" y="3257"/>
                    <a:pt x="276" y="3546"/>
                    <a:pt x="558" y="3546"/>
                  </a:cubicBezTo>
                  <a:cubicBezTo>
                    <a:pt x="684" y="3546"/>
                    <a:pt x="811" y="3489"/>
                    <a:pt x="898" y="3351"/>
                  </a:cubicBezTo>
                  <a:cubicBezTo>
                    <a:pt x="1481" y="2455"/>
                    <a:pt x="1944" y="1514"/>
                    <a:pt x="2347" y="498"/>
                  </a:cubicBezTo>
                  <a:cubicBezTo>
                    <a:pt x="2446" y="192"/>
                    <a:pt x="2204" y="0"/>
                    <a:pt x="1953"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144" name="Google Shape;2144;p51"/>
          <p:cNvGrpSpPr/>
          <p:nvPr/>
        </p:nvGrpSpPr>
        <p:grpSpPr>
          <a:xfrm rot="1530712">
            <a:off x="2552132" y="2793669"/>
            <a:ext cx="231080" cy="224357"/>
            <a:chOff x="3745566" y="4026608"/>
            <a:chExt cx="173309" cy="168267"/>
          </a:xfrm>
        </p:grpSpPr>
        <p:sp>
          <p:nvSpPr>
            <p:cNvPr id="2145" name="Google Shape;2145;p51"/>
            <p:cNvSpPr/>
            <p:nvPr/>
          </p:nvSpPr>
          <p:spPr>
            <a:xfrm rot="-2700000">
              <a:off x="3757600" y="4118750"/>
              <a:ext cx="39625" cy="50450"/>
            </a:xfrm>
            <a:custGeom>
              <a:avLst/>
              <a:gdLst/>
              <a:ahLst/>
              <a:cxnLst/>
              <a:rect l="l" t="t" r="r" b="b"/>
              <a:pathLst>
                <a:path w="1585" h="2018" extrusionOk="0">
                  <a:moveTo>
                    <a:pt x="1025" y="0"/>
                  </a:moveTo>
                  <a:cubicBezTo>
                    <a:pt x="904" y="0"/>
                    <a:pt x="784" y="58"/>
                    <a:pt x="706" y="195"/>
                  </a:cubicBezTo>
                  <a:cubicBezTo>
                    <a:pt x="453" y="598"/>
                    <a:pt x="258" y="1046"/>
                    <a:pt x="109" y="1524"/>
                  </a:cubicBezTo>
                  <a:cubicBezTo>
                    <a:pt x="0" y="1823"/>
                    <a:pt x="249" y="2018"/>
                    <a:pt x="498" y="2018"/>
                  </a:cubicBezTo>
                  <a:cubicBezTo>
                    <a:pt x="659" y="2018"/>
                    <a:pt x="821" y="1936"/>
                    <a:pt x="886" y="1748"/>
                  </a:cubicBezTo>
                  <a:cubicBezTo>
                    <a:pt x="1020" y="1345"/>
                    <a:pt x="1184" y="971"/>
                    <a:pt x="1408" y="628"/>
                  </a:cubicBezTo>
                  <a:cubicBezTo>
                    <a:pt x="1585" y="296"/>
                    <a:pt x="1300" y="0"/>
                    <a:pt x="1025"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46" name="Google Shape;2146;p51"/>
            <p:cNvSpPr/>
            <p:nvPr/>
          </p:nvSpPr>
          <p:spPr>
            <a:xfrm rot="-833920">
              <a:off x="3806913" y="4030549"/>
              <a:ext cx="45174" cy="101373"/>
            </a:xfrm>
            <a:custGeom>
              <a:avLst/>
              <a:gdLst/>
              <a:ahLst/>
              <a:cxnLst/>
              <a:rect l="l" t="t" r="r" b="b"/>
              <a:pathLst>
                <a:path w="1807" h="4055" extrusionOk="0">
                  <a:moveTo>
                    <a:pt x="1309" y="1"/>
                  </a:moveTo>
                  <a:cubicBezTo>
                    <a:pt x="1150" y="1"/>
                    <a:pt x="996" y="91"/>
                    <a:pt x="949" y="299"/>
                  </a:cubicBezTo>
                  <a:cubicBezTo>
                    <a:pt x="665" y="1389"/>
                    <a:pt x="381" y="2464"/>
                    <a:pt x="83" y="3555"/>
                  </a:cubicBezTo>
                  <a:cubicBezTo>
                    <a:pt x="1" y="3854"/>
                    <a:pt x="262" y="4055"/>
                    <a:pt x="509" y="4055"/>
                  </a:cubicBezTo>
                  <a:cubicBezTo>
                    <a:pt x="668" y="4055"/>
                    <a:pt x="822" y="3972"/>
                    <a:pt x="874" y="3779"/>
                  </a:cubicBezTo>
                  <a:cubicBezTo>
                    <a:pt x="1143" y="2688"/>
                    <a:pt x="1427" y="1613"/>
                    <a:pt x="1726" y="523"/>
                  </a:cubicBezTo>
                  <a:cubicBezTo>
                    <a:pt x="1807" y="208"/>
                    <a:pt x="1551" y="1"/>
                    <a:pt x="1309"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47" name="Google Shape;2147;p51"/>
            <p:cNvSpPr/>
            <p:nvPr/>
          </p:nvSpPr>
          <p:spPr>
            <a:xfrm>
              <a:off x="3863600" y="4093075"/>
              <a:ext cx="55275" cy="101800"/>
            </a:xfrm>
            <a:custGeom>
              <a:avLst/>
              <a:gdLst/>
              <a:ahLst/>
              <a:cxnLst/>
              <a:rect l="l" t="t" r="r" b="b"/>
              <a:pathLst>
                <a:path w="2211" h="4072" extrusionOk="0">
                  <a:moveTo>
                    <a:pt x="1721" y="1"/>
                  </a:moveTo>
                  <a:cubicBezTo>
                    <a:pt x="1561" y="1"/>
                    <a:pt x="1400" y="86"/>
                    <a:pt x="1335" y="281"/>
                  </a:cubicBezTo>
                  <a:cubicBezTo>
                    <a:pt x="916" y="1372"/>
                    <a:pt x="528" y="2477"/>
                    <a:pt x="110" y="3582"/>
                  </a:cubicBezTo>
                  <a:cubicBezTo>
                    <a:pt x="0" y="3874"/>
                    <a:pt x="259" y="4072"/>
                    <a:pt x="514" y="4072"/>
                  </a:cubicBezTo>
                  <a:cubicBezTo>
                    <a:pt x="677" y="4072"/>
                    <a:pt x="838" y="3992"/>
                    <a:pt x="901" y="3806"/>
                  </a:cubicBezTo>
                  <a:cubicBezTo>
                    <a:pt x="1305" y="2701"/>
                    <a:pt x="1708" y="1596"/>
                    <a:pt x="2111" y="505"/>
                  </a:cubicBezTo>
                  <a:cubicBezTo>
                    <a:pt x="2210" y="199"/>
                    <a:pt x="1966" y="1"/>
                    <a:pt x="1721"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2148" name="Google Shape;2148;p51"/>
          <p:cNvGrpSpPr/>
          <p:nvPr/>
        </p:nvGrpSpPr>
        <p:grpSpPr>
          <a:xfrm rot="-2826186">
            <a:off x="4095292" y="3218928"/>
            <a:ext cx="266832" cy="167003"/>
            <a:chOff x="3609906" y="4464050"/>
            <a:chExt cx="200119" cy="125248"/>
          </a:xfrm>
        </p:grpSpPr>
        <p:sp>
          <p:nvSpPr>
            <p:cNvPr id="2149" name="Google Shape;2149;p51"/>
            <p:cNvSpPr/>
            <p:nvPr/>
          </p:nvSpPr>
          <p:spPr>
            <a:xfrm rot="-2978874">
              <a:off x="3635001" y="4485798"/>
              <a:ext cx="64627" cy="95753"/>
            </a:xfrm>
            <a:custGeom>
              <a:avLst/>
              <a:gdLst/>
              <a:ahLst/>
              <a:cxnLst/>
              <a:rect l="l" t="t" r="r" b="b"/>
              <a:pathLst>
                <a:path w="2585" h="3830" extrusionOk="0">
                  <a:moveTo>
                    <a:pt x="2023" y="1"/>
                  </a:moveTo>
                  <a:cubicBezTo>
                    <a:pt x="1901" y="1"/>
                    <a:pt x="1784" y="61"/>
                    <a:pt x="1714" y="205"/>
                  </a:cubicBezTo>
                  <a:cubicBezTo>
                    <a:pt x="1191" y="1221"/>
                    <a:pt x="698" y="2207"/>
                    <a:pt x="175" y="3207"/>
                  </a:cubicBezTo>
                  <a:cubicBezTo>
                    <a:pt x="1" y="3536"/>
                    <a:pt x="286" y="3830"/>
                    <a:pt x="559" y="3830"/>
                  </a:cubicBezTo>
                  <a:cubicBezTo>
                    <a:pt x="682" y="3830"/>
                    <a:pt x="803" y="3770"/>
                    <a:pt x="877" y="3625"/>
                  </a:cubicBezTo>
                  <a:cubicBezTo>
                    <a:pt x="1400" y="2610"/>
                    <a:pt x="1908" y="1624"/>
                    <a:pt x="2431" y="623"/>
                  </a:cubicBezTo>
                  <a:cubicBezTo>
                    <a:pt x="2585" y="294"/>
                    <a:pt x="2293" y="1"/>
                    <a:pt x="2023"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50" name="Google Shape;2150;p51"/>
            <p:cNvSpPr/>
            <p:nvPr/>
          </p:nvSpPr>
          <p:spPr>
            <a:xfrm rot="-970607">
              <a:off x="3698424" y="4490039"/>
              <a:ext cx="41050" cy="73274"/>
            </a:xfrm>
            <a:custGeom>
              <a:avLst/>
              <a:gdLst/>
              <a:ahLst/>
              <a:cxnLst/>
              <a:rect l="l" t="t" r="r" b="b"/>
              <a:pathLst>
                <a:path w="1642" h="2931" extrusionOk="0">
                  <a:moveTo>
                    <a:pt x="1105" y="0"/>
                  </a:moveTo>
                  <a:cubicBezTo>
                    <a:pt x="988" y="0"/>
                    <a:pt x="876" y="60"/>
                    <a:pt x="811" y="205"/>
                  </a:cubicBezTo>
                  <a:cubicBezTo>
                    <a:pt x="512" y="937"/>
                    <a:pt x="258" y="1654"/>
                    <a:pt x="64" y="2431"/>
                  </a:cubicBezTo>
                  <a:cubicBezTo>
                    <a:pt x="0" y="2730"/>
                    <a:pt x="263" y="2931"/>
                    <a:pt x="505" y="2931"/>
                  </a:cubicBezTo>
                  <a:cubicBezTo>
                    <a:pt x="661" y="2931"/>
                    <a:pt x="809" y="2848"/>
                    <a:pt x="856" y="2655"/>
                  </a:cubicBezTo>
                  <a:cubicBezTo>
                    <a:pt x="1020" y="1953"/>
                    <a:pt x="1229" y="1266"/>
                    <a:pt x="1498" y="608"/>
                  </a:cubicBezTo>
                  <a:cubicBezTo>
                    <a:pt x="1642" y="290"/>
                    <a:pt x="1362" y="0"/>
                    <a:pt x="1105"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51" name="Google Shape;2151;p51"/>
            <p:cNvSpPr/>
            <p:nvPr/>
          </p:nvSpPr>
          <p:spPr>
            <a:xfrm>
              <a:off x="3748850" y="4464050"/>
              <a:ext cx="61175" cy="88675"/>
            </a:xfrm>
            <a:custGeom>
              <a:avLst/>
              <a:gdLst/>
              <a:ahLst/>
              <a:cxnLst/>
              <a:rect l="l" t="t" r="r" b="b"/>
              <a:pathLst>
                <a:path w="2447" h="3547" extrusionOk="0">
                  <a:moveTo>
                    <a:pt x="1953" y="0"/>
                  </a:moveTo>
                  <a:cubicBezTo>
                    <a:pt x="1787" y="0"/>
                    <a:pt x="1618" y="84"/>
                    <a:pt x="1541" y="274"/>
                  </a:cubicBezTo>
                  <a:cubicBezTo>
                    <a:pt x="1182" y="1215"/>
                    <a:pt x="734" y="2111"/>
                    <a:pt x="196" y="2947"/>
                  </a:cubicBezTo>
                  <a:cubicBezTo>
                    <a:pt x="0" y="3257"/>
                    <a:pt x="276" y="3546"/>
                    <a:pt x="558" y="3546"/>
                  </a:cubicBezTo>
                  <a:cubicBezTo>
                    <a:pt x="684" y="3546"/>
                    <a:pt x="811" y="3489"/>
                    <a:pt x="898" y="3351"/>
                  </a:cubicBezTo>
                  <a:cubicBezTo>
                    <a:pt x="1481" y="2455"/>
                    <a:pt x="1944" y="1514"/>
                    <a:pt x="2347" y="498"/>
                  </a:cubicBezTo>
                  <a:cubicBezTo>
                    <a:pt x="2446" y="192"/>
                    <a:pt x="2204" y="0"/>
                    <a:pt x="1953"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52" name="Google Shape;2103;p51">
            <a:extLst>
              <a:ext uri="{FF2B5EF4-FFF2-40B4-BE49-F238E27FC236}">
                <a16:creationId xmlns:a16="http://schemas.microsoft.com/office/drawing/2014/main" id="{161A56F9-DAB3-465C-90BA-5B88517ACA37}"/>
              </a:ext>
            </a:extLst>
          </p:cNvPr>
          <p:cNvSpPr txBox="1">
            <a:spLocks/>
          </p:cNvSpPr>
          <p:nvPr/>
        </p:nvSpPr>
        <p:spPr>
          <a:xfrm flipH="1">
            <a:off x="813676" y="4711422"/>
            <a:ext cx="2574400" cy="1296800"/>
          </a:xfrm>
          <a:prstGeom prst="rect">
            <a:avLst/>
          </a:prstGeom>
          <a:noFill/>
          <a:ln>
            <a:noFill/>
          </a:ln>
        </p:spPr>
        <p:txBody>
          <a:bodyPr spcFirstLastPara="1" wrap="square" lIns="121900" tIns="121900" rIns="121900" bIns="121900" anchor="t" anchorCtr="0">
            <a:normAutofit/>
          </a:bodyPr>
          <a:lstStyle>
            <a:defPPr marR="0" lvl="0" algn="l" rtl="0">
              <a:lnSpc>
                <a:spcPct val="100000"/>
              </a:lnSpc>
              <a:spcBef>
                <a:spcPts val="0"/>
              </a:spcBef>
              <a:spcAft>
                <a:spcPts val="0"/>
              </a:spcAft>
            </a:defPPr>
            <a:lvl1pPr marL="457200" marR="0" lvl="0" indent="-330200" algn="ctr" rtl="0">
              <a:lnSpc>
                <a:spcPct val="100000"/>
              </a:lnSpc>
              <a:spcBef>
                <a:spcPts val="0"/>
              </a:spcBef>
              <a:spcAft>
                <a:spcPts val="0"/>
              </a:spcAft>
              <a:buClr>
                <a:schemeClr val="dk2"/>
              </a:buClr>
              <a:buSzPts val="1200"/>
              <a:buFont typeface="Questrial"/>
              <a:buNone/>
              <a:defRPr sz="1400" b="0" i="0" u="none" strike="noStrike" cap="none">
                <a:solidFill>
                  <a:schemeClr val="dk2"/>
                </a:solidFill>
                <a:latin typeface="Questrial"/>
                <a:ea typeface="Questrial"/>
                <a:cs typeface="Questrial"/>
                <a:sym typeface="Questrial"/>
              </a:defRPr>
            </a:lvl1pPr>
            <a:lvl2pPr marL="914400" marR="0" lvl="1"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2pPr>
            <a:lvl3pPr marL="1371600" marR="0" lvl="2"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3pPr>
            <a:lvl4pPr marL="1828800" marR="0" lvl="3"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4pPr>
            <a:lvl5pPr marL="2286000" marR="0" lvl="4"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5pPr>
            <a:lvl6pPr marL="2743200" marR="0" lvl="5"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6pPr>
            <a:lvl7pPr marL="3200400" marR="0" lvl="6"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7pPr>
            <a:lvl8pPr marL="3657600" marR="0" lvl="7"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8pPr>
            <a:lvl9pPr marL="4114800" marR="0" lvl="8"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9pPr>
          </a:lstStyle>
          <a:p>
            <a:pPr marL="0" marR="0" lvl="0" indent="0" algn="ctr" defTabSz="1219170" rtl="0" eaLnBrk="1" fontAlgn="auto" latinLnBrk="0" hangingPunct="1">
              <a:lnSpc>
                <a:spcPct val="100000"/>
              </a:lnSpc>
              <a:spcBef>
                <a:spcPts val="0"/>
              </a:spcBef>
              <a:spcAft>
                <a:spcPts val="0"/>
              </a:spcAft>
              <a:buClr>
                <a:srgbClr val="FFFFFF"/>
              </a:buClr>
              <a:buSzPts val="1200"/>
              <a:buFont typeface="Questrial"/>
              <a:buNone/>
              <a:tabLst/>
              <a:defRPr/>
            </a:pPr>
            <a:r>
              <a:rPr kumimoji="0" lang="pt-BR" sz="1867" b="0" i="0" u="none" strike="noStrike" kern="0" cap="none" spc="0" normalizeH="0" baseline="0" noProof="0" dirty="0">
                <a:ln>
                  <a:noFill/>
                </a:ln>
                <a:solidFill>
                  <a:srgbClr val="FFFFFF"/>
                </a:solidFill>
                <a:effectLst/>
                <a:uLnTx/>
                <a:uFillTx/>
                <a:latin typeface="Questrial"/>
                <a:ea typeface="Questrial"/>
                <a:cs typeface="Questrial"/>
                <a:sym typeface="Questrial"/>
              </a:rPr>
              <a:t>BCA </a:t>
            </a:r>
          </a:p>
          <a:p>
            <a:pPr marL="0" marR="0" lvl="0" indent="0" algn="ctr" defTabSz="1219170" rtl="0" eaLnBrk="1" fontAlgn="auto" latinLnBrk="0" hangingPunct="1">
              <a:lnSpc>
                <a:spcPct val="100000"/>
              </a:lnSpc>
              <a:spcBef>
                <a:spcPts val="0"/>
              </a:spcBef>
              <a:spcAft>
                <a:spcPts val="0"/>
              </a:spcAft>
              <a:buClr>
                <a:srgbClr val="FFFFFF"/>
              </a:buClr>
              <a:buSzPts val="1200"/>
              <a:buFont typeface="Questrial"/>
              <a:buNone/>
              <a:tabLst/>
              <a:defRPr/>
            </a:pPr>
            <a:r>
              <a:rPr lang="pt-BR" sz="1867" kern="0" dirty="0">
                <a:solidFill>
                  <a:srgbClr val="FFFFFF"/>
                </a:solidFill>
              </a:rPr>
              <a:t>3</a:t>
            </a:r>
            <a:r>
              <a:rPr kumimoji="0" lang="pt-BR" sz="1867" b="0" i="0" u="none" strike="noStrike" kern="0" cap="none" spc="0" normalizeH="0" baseline="0" noProof="0" dirty="0">
                <a:ln>
                  <a:noFill/>
                </a:ln>
                <a:solidFill>
                  <a:srgbClr val="FFFFFF"/>
                </a:solidFill>
                <a:effectLst/>
                <a:uLnTx/>
                <a:uFillTx/>
                <a:latin typeface="Questrial"/>
                <a:ea typeface="Questrial"/>
                <a:cs typeface="Questrial"/>
                <a:sym typeface="Questrial"/>
              </a:rPr>
              <a:t> SEM</a:t>
            </a:r>
          </a:p>
          <a:p>
            <a:pPr marL="0" marR="0" lvl="0" indent="0" algn="ctr" defTabSz="1219170" rtl="0" eaLnBrk="1" fontAlgn="auto" latinLnBrk="0" hangingPunct="1">
              <a:lnSpc>
                <a:spcPct val="100000"/>
              </a:lnSpc>
              <a:spcBef>
                <a:spcPts val="0"/>
              </a:spcBef>
              <a:spcAft>
                <a:spcPts val="0"/>
              </a:spcAft>
              <a:buClr>
                <a:srgbClr val="FFFFFF"/>
              </a:buClr>
              <a:buSzPts val="1200"/>
              <a:buFont typeface="Questrial"/>
              <a:buNone/>
              <a:tabLst/>
              <a:defRPr/>
            </a:pPr>
            <a:r>
              <a:rPr kumimoji="0" lang="pt-BR" sz="1867" b="0" i="0" u="none" strike="noStrike" kern="0" cap="none" spc="0" normalizeH="0" baseline="0" noProof="0" dirty="0">
                <a:ln>
                  <a:noFill/>
                </a:ln>
                <a:solidFill>
                  <a:srgbClr val="FFFFFF"/>
                </a:solidFill>
                <a:effectLst/>
                <a:uLnTx/>
                <a:uFillTx/>
                <a:latin typeface="Questrial"/>
                <a:ea typeface="Questrial"/>
                <a:cs typeface="Questrial"/>
                <a:sym typeface="Questrial"/>
              </a:rPr>
              <a:t>SEC B</a:t>
            </a:r>
          </a:p>
          <a:p>
            <a:pPr marL="0" marR="0" lvl="0" indent="0" algn="ctr" defTabSz="1219170" rtl="0" eaLnBrk="1" fontAlgn="auto" latinLnBrk="0" hangingPunct="1">
              <a:lnSpc>
                <a:spcPct val="100000"/>
              </a:lnSpc>
              <a:spcBef>
                <a:spcPts val="0"/>
              </a:spcBef>
              <a:spcAft>
                <a:spcPts val="0"/>
              </a:spcAft>
              <a:buClr>
                <a:srgbClr val="FFFFFF"/>
              </a:buClr>
              <a:buSzPts val="1200"/>
              <a:buFont typeface="Questrial"/>
              <a:buNone/>
              <a:tabLst/>
              <a:defRPr/>
            </a:pPr>
            <a:endParaRPr kumimoji="0" lang="pt-BR" sz="1867" b="0" i="0" u="none" strike="noStrike" kern="0" cap="none" spc="0" normalizeH="0" baseline="0" noProof="0" dirty="0">
              <a:ln>
                <a:noFill/>
              </a:ln>
              <a:solidFill>
                <a:srgbClr val="FFFFFF"/>
              </a:solidFill>
              <a:effectLst/>
              <a:uLnTx/>
              <a:uFillTx/>
              <a:latin typeface="Questrial"/>
              <a:ea typeface="Questrial"/>
              <a:cs typeface="Questrial"/>
              <a:sym typeface="Questrial"/>
            </a:endParaRPr>
          </a:p>
        </p:txBody>
      </p:sp>
      <p:sp>
        <p:nvSpPr>
          <p:cNvPr id="57" name="Google Shape;2103;p51">
            <a:extLst>
              <a:ext uri="{FF2B5EF4-FFF2-40B4-BE49-F238E27FC236}">
                <a16:creationId xmlns:a16="http://schemas.microsoft.com/office/drawing/2014/main" id="{F8247B25-3C2A-424F-9653-C850E9735F20}"/>
              </a:ext>
            </a:extLst>
          </p:cNvPr>
          <p:cNvSpPr txBox="1">
            <a:spLocks/>
          </p:cNvSpPr>
          <p:nvPr/>
        </p:nvSpPr>
        <p:spPr>
          <a:xfrm flipH="1">
            <a:off x="3581878" y="4801064"/>
            <a:ext cx="2574400" cy="1296800"/>
          </a:xfrm>
          <a:prstGeom prst="rect">
            <a:avLst/>
          </a:prstGeom>
          <a:noFill/>
          <a:ln>
            <a:noFill/>
          </a:ln>
        </p:spPr>
        <p:txBody>
          <a:bodyPr spcFirstLastPara="1" wrap="square" lIns="121900" tIns="121900" rIns="121900" bIns="121900" anchor="t" anchorCtr="0">
            <a:normAutofit/>
          </a:bodyPr>
          <a:lstStyle>
            <a:defPPr marR="0" lvl="0" algn="l" rtl="0">
              <a:lnSpc>
                <a:spcPct val="100000"/>
              </a:lnSpc>
              <a:spcBef>
                <a:spcPts val="0"/>
              </a:spcBef>
              <a:spcAft>
                <a:spcPts val="0"/>
              </a:spcAft>
            </a:defPPr>
            <a:lvl1pPr marL="457200" marR="0" lvl="0" indent="-330200" algn="ctr" rtl="0">
              <a:lnSpc>
                <a:spcPct val="100000"/>
              </a:lnSpc>
              <a:spcBef>
                <a:spcPts val="0"/>
              </a:spcBef>
              <a:spcAft>
                <a:spcPts val="0"/>
              </a:spcAft>
              <a:buClr>
                <a:schemeClr val="dk2"/>
              </a:buClr>
              <a:buSzPts val="1200"/>
              <a:buFont typeface="Questrial"/>
              <a:buNone/>
              <a:defRPr sz="1400" b="0" i="0" u="none" strike="noStrike" cap="none">
                <a:solidFill>
                  <a:schemeClr val="dk2"/>
                </a:solidFill>
                <a:latin typeface="Questrial"/>
                <a:ea typeface="Questrial"/>
                <a:cs typeface="Questrial"/>
                <a:sym typeface="Questrial"/>
              </a:defRPr>
            </a:lvl1pPr>
            <a:lvl2pPr marL="914400" marR="0" lvl="1"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2pPr>
            <a:lvl3pPr marL="1371600" marR="0" lvl="2"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3pPr>
            <a:lvl4pPr marL="1828800" marR="0" lvl="3"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4pPr>
            <a:lvl5pPr marL="2286000" marR="0" lvl="4"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5pPr>
            <a:lvl6pPr marL="2743200" marR="0" lvl="5"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6pPr>
            <a:lvl7pPr marL="3200400" marR="0" lvl="6"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7pPr>
            <a:lvl8pPr marL="3657600" marR="0" lvl="7"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8pPr>
            <a:lvl9pPr marL="4114800" marR="0" lvl="8"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9pPr>
          </a:lstStyle>
          <a:p>
            <a:pPr marL="0" marR="0" lvl="0" indent="0" algn="ctr" defTabSz="1219170" rtl="0" eaLnBrk="1" fontAlgn="auto" latinLnBrk="0" hangingPunct="1">
              <a:lnSpc>
                <a:spcPct val="100000"/>
              </a:lnSpc>
              <a:spcBef>
                <a:spcPts val="0"/>
              </a:spcBef>
              <a:spcAft>
                <a:spcPts val="0"/>
              </a:spcAft>
              <a:buClr>
                <a:srgbClr val="FFFFFF"/>
              </a:buClr>
              <a:buSzPts val="1200"/>
              <a:buFont typeface="Questrial"/>
              <a:buNone/>
              <a:tabLst/>
              <a:defRPr/>
            </a:pPr>
            <a:r>
              <a:rPr kumimoji="0" lang="pt-BR" sz="1867" b="0" i="0" u="none" strike="noStrike" kern="0" cap="none" spc="0" normalizeH="0" baseline="0" noProof="0" dirty="0">
                <a:ln>
                  <a:noFill/>
                </a:ln>
                <a:solidFill>
                  <a:srgbClr val="FFFFFF"/>
                </a:solidFill>
                <a:effectLst/>
                <a:uLnTx/>
                <a:uFillTx/>
                <a:latin typeface="Questrial"/>
                <a:ea typeface="Questrial"/>
                <a:cs typeface="Questrial"/>
                <a:sym typeface="Questrial"/>
              </a:rPr>
              <a:t>BCA </a:t>
            </a:r>
          </a:p>
          <a:p>
            <a:pPr marL="0" marR="0" lvl="0" indent="0" algn="ctr" defTabSz="1219170" rtl="0" eaLnBrk="1" fontAlgn="auto" latinLnBrk="0" hangingPunct="1">
              <a:lnSpc>
                <a:spcPct val="100000"/>
              </a:lnSpc>
              <a:spcBef>
                <a:spcPts val="0"/>
              </a:spcBef>
              <a:spcAft>
                <a:spcPts val="0"/>
              </a:spcAft>
              <a:buClr>
                <a:srgbClr val="FFFFFF"/>
              </a:buClr>
              <a:buSzPts val="1200"/>
              <a:buFont typeface="Questrial"/>
              <a:buNone/>
              <a:tabLst/>
              <a:defRPr/>
            </a:pPr>
            <a:r>
              <a:rPr lang="pt-BR" sz="1867" kern="0" dirty="0">
                <a:solidFill>
                  <a:srgbClr val="FFFFFF"/>
                </a:solidFill>
              </a:rPr>
              <a:t>3</a:t>
            </a:r>
            <a:r>
              <a:rPr kumimoji="0" lang="pt-BR" sz="1867" b="0" i="0" u="none" strike="noStrike" kern="0" cap="none" spc="0" normalizeH="0" baseline="0" noProof="0" dirty="0">
                <a:ln>
                  <a:noFill/>
                </a:ln>
                <a:solidFill>
                  <a:srgbClr val="FFFFFF"/>
                </a:solidFill>
                <a:effectLst/>
                <a:uLnTx/>
                <a:uFillTx/>
                <a:latin typeface="Questrial"/>
                <a:ea typeface="Questrial"/>
                <a:cs typeface="Questrial"/>
                <a:sym typeface="Questrial"/>
              </a:rPr>
              <a:t> SEM</a:t>
            </a:r>
          </a:p>
          <a:p>
            <a:pPr marL="0" marR="0" lvl="0" indent="0" algn="ctr" defTabSz="1219170" rtl="0" eaLnBrk="1" fontAlgn="auto" latinLnBrk="0" hangingPunct="1">
              <a:lnSpc>
                <a:spcPct val="100000"/>
              </a:lnSpc>
              <a:spcBef>
                <a:spcPts val="0"/>
              </a:spcBef>
              <a:spcAft>
                <a:spcPts val="0"/>
              </a:spcAft>
              <a:buClr>
                <a:srgbClr val="FFFFFF"/>
              </a:buClr>
              <a:buSzPts val="1200"/>
              <a:buFont typeface="Questrial"/>
              <a:buNone/>
              <a:tabLst/>
              <a:defRPr/>
            </a:pPr>
            <a:r>
              <a:rPr kumimoji="0" lang="pt-BR" sz="1867" b="0" i="0" u="none" strike="noStrike" kern="0" cap="none" spc="0" normalizeH="0" baseline="0" noProof="0" dirty="0">
                <a:ln>
                  <a:noFill/>
                </a:ln>
                <a:solidFill>
                  <a:srgbClr val="FFFFFF"/>
                </a:solidFill>
                <a:effectLst/>
                <a:uLnTx/>
                <a:uFillTx/>
                <a:latin typeface="Questrial"/>
                <a:ea typeface="Questrial"/>
                <a:cs typeface="Questrial"/>
                <a:sym typeface="Questrial"/>
              </a:rPr>
              <a:t>SEC B</a:t>
            </a:r>
          </a:p>
        </p:txBody>
      </p:sp>
      <p:pic>
        <p:nvPicPr>
          <p:cNvPr id="9" name="Picture 8">
            <a:extLst>
              <a:ext uri="{FF2B5EF4-FFF2-40B4-BE49-F238E27FC236}">
                <a16:creationId xmlns:a16="http://schemas.microsoft.com/office/drawing/2014/main" id="{083EA40F-7868-4B57-9154-FC20F41C718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73846" y="2159025"/>
            <a:ext cx="1947673" cy="1947673"/>
          </a:xfrm>
          <a:prstGeom prst="ellipse">
            <a:avLst/>
          </a:prstGeom>
        </p:spPr>
      </p:pic>
      <p:pic>
        <p:nvPicPr>
          <p:cNvPr id="11" name="Picture 10">
            <a:extLst>
              <a:ext uri="{FF2B5EF4-FFF2-40B4-BE49-F238E27FC236}">
                <a16:creationId xmlns:a16="http://schemas.microsoft.com/office/drawing/2014/main" id="{AB0C0572-66A4-4F65-9D89-3997CA5EFDE0}"/>
              </a:ext>
            </a:extLst>
          </p:cNvPr>
          <p:cNvPicPr>
            <a:picLocks noChangeAspect="1"/>
          </p:cNvPicPr>
          <p:nvPr/>
        </p:nvPicPr>
        <p:blipFill>
          <a:blip r:embed="rId4"/>
          <a:stretch>
            <a:fillRect/>
          </a:stretch>
        </p:blipFill>
        <p:spPr>
          <a:xfrm>
            <a:off x="6865632" y="2001156"/>
            <a:ext cx="2416531" cy="2416531"/>
          </a:xfrm>
          <a:prstGeom prst="rect">
            <a:avLst/>
          </a:prstGeom>
        </p:spPr>
      </p:pic>
      <p:pic>
        <p:nvPicPr>
          <p:cNvPr id="13" name="Picture 12">
            <a:extLst>
              <a:ext uri="{FF2B5EF4-FFF2-40B4-BE49-F238E27FC236}">
                <a16:creationId xmlns:a16="http://schemas.microsoft.com/office/drawing/2014/main" id="{7B4ADE57-240A-433D-8BAE-82B9A50739B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826190" y="2185235"/>
            <a:ext cx="2090312" cy="2098948"/>
          </a:xfrm>
          <a:prstGeom prst="rect">
            <a:avLst/>
          </a:prstGeom>
        </p:spPr>
      </p:pic>
      <p:pic>
        <p:nvPicPr>
          <p:cNvPr id="76" name="Picture 17">
            <a:extLst>
              <a:ext uri="{FF2B5EF4-FFF2-40B4-BE49-F238E27FC236}">
                <a16:creationId xmlns:a16="http://schemas.microsoft.com/office/drawing/2014/main" id="{6AC9CD83-6E93-9B2D-BD11-687402FD67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p:blipFill>
        <p:spPr>
          <a:xfrm>
            <a:off x="11082782" y="161595"/>
            <a:ext cx="844914" cy="1301625"/>
          </a:xfrm>
          <a:prstGeom prst="rect">
            <a:avLst/>
          </a:prstGeom>
        </p:spPr>
      </p:pic>
      <p:sp>
        <p:nvSpPr>
          <p:cNvPr id="6" name="Google Shape;2113;p51">
            <a:extLst>
              <a:ext uri="{FF2B5EF4-FFF2-40B4-BE49-F238E27FC236}">
                <a16:creationId xmlns:a16="http://schemas.microsoft.com/office/drawing/2014/main" id="{9E2131B2-0E31-CC8C-0BB3-47DCF25A0310}"/>
              </a:ext>
            </a:extLst>
          </p:cNvPr>
          <p:cNvSpPr/>
          <p:nvPr/>
        </p:nvSpPr>
        <p:spPr>
          <a:xfrm>
            <a:off x="9674001" y="2072890"/>
            <a:ext cx="2192160" cy="2184744"/>
          </a:xfrm>
          <a:custGeom>
            <a:avLst/>
            <a:gdLst/>
            <a:ahLst/>
            <a:cxnLst/>
            <a:rect l="l" t="t" r="r" b="b"/>
            <a:pathLst>
              <a:path w="31093" h="30317" extrusionOk="0">
                <a:moveTo>
                  <a:pt x="30945" y="18005"/>
                </a:moveTo>
                <a:cubicBezTo>
                  <a:pt x="30982" y="17450"/>
                  <a:pt x="31093" y="16896"/>
                  <a:pt x="31056" y="16452"/>
                </a:cubicBezTo>
                <a:lnTo>
                  <a:pt x="31056" y="16267"/>
                </a:lnTo>
                <a:lnTo>
                  <a:pt x="31056" y="16046"/>
                </a:lnTo>
                <a:lnTo>
                  <a:pt x="31056" y="15343"/>
                </a:lnTo>
                <a:lnTo>
                  <a:pt x="31056" y="14789"/>
                </a:lnTo>
                <a:cubicBezTo>
                  <a:pt x="30908" y="14678"/>
                  <a:pt x="30982" y="14419"/>
                  <a:pt x="30945" y="14234"/>
                </a:cubicBezTo>
                <a:cubicBezTo>
                  <a:pt x="30908" y="14086"/>
                  <a:pt x="30982" y="13753"/>
                  <a:pt x="30797" y="13716"/>
                </a:cubicBezTo>
                <a:cubicBezTo>
                  <a:pt x="30760" y="13458"/>
                  <a:pt x="30723" y="13125"/>
                  <a:pt x="30686" y="12829"/>
                </a:cubicBezTo>
                <a:lnTo>
                  <a:pt x="30575" y="12459"/>
                </a:lnTo>
                <a:cubicBezTo>
                  <a:pt x="30538" y="12201"/>
                  <a:pt x="30427" y="11868"/>
                  <a:pt x="30390" y="11609"/>
                </a:cubicBezTo>
                <a:cubicBezTo>
                  <a:pt x="30316" y="11646"/>
                  <a:pt x="30242" y="11646"/>
                  <a:pt x="30205" y="11683"/>
                </a:cubicBezTo>
                <a:cubicBezTo>
                  <a:pt x="30205" y="11646"/>
                  <a:pt x="30205" y="11535"/>
                  <a:pt x="30316" y="11535"/>
                </a:cubicBezTo>
                <a:lnTo>
                  <a:pt x="30168" y="11128"/>
                </a:lnTo>
                <a:cubicBezTo>
                  <a:pt x="30058" y="10796"/>
                  <a:pt x="30021" y="10796"/>
                  <a:pt x="29984" y="10537"/>
                </a:cubicBezTo>
                <a:cubicBezTo>
                  <a:pt x="29947" y="10389"/>
                  <a:pt x="29873" y="10167"/>
                  <a:pt x="29762" y="10093"/>
                </a:cubicBezTo>
                <a:cubicBezTo>
                  <a:pt x="29651" y="9871"/>
                  <a:pt x="29577" y="9613"/>
                  <a:pt x="29466" y="9354"/>
                </a:cubicBezTo>
                <a:cubicBezTo>
                  <a:pt x="29392" y="9095"/>
                  <a:pt x="29244" y="8873"/>
                  <a:pt x="29133" y="8578"/>
                </a:cubicBezTo>
                <a:cubicBezTo>
                  <a:pt x="29022" y="8578"/>
                  <a:pt x="28764" y="8799"/>
                  <a:pt x="28764" y="8725"/>
                </a:cubicBezTo>
                <a:cubicBezTo>
                  <a:pt x="28764" y="8688"/>
                  <a:pt x="28690" y="8578"/>
                  <a:pt x="28764" y="8541"/>
                </a:cubicBezTo>
                <a:cubicBezTo>
                  <a:pt x="28837" y="8614"/>
                  <a:pt x="28874" y="8725"/>
                  <a:pt x="29022" y="8614"/>
                </a:cubicBezTo>
                <a:cubicBezTo>
                  <a:pt x="29133" y="8393"/>
                  <a:pt x="29022" y="8319"/>
                  <a:pt x="28874" y="8171"/>
                </a:cubicBezTo>
                <a:cubicBezTo>
                  <a:pt x="28764" y="7949"/>
                  <a:pt x="28653" y="7764"/>
                  <a:pt x="28542" y="7505"/>
                </a:cubicBezTo>
                <a:lnTo>
                  <a:pt x="28394" y="7284"/>
                </a:lnTo>
                <a:lnTo>
                  <a:pt x="28320" y="7099"/>
                </a:lnTo>
                <a:cubicBezTo>
                  <a:pt x="28172" y="6877"/>
                  <a:pt x="28024" y="6655"/>
                  <a:pt x="27913" y="6470"/>
                </a:cubicBezTo>
                <a:lnTo>
                  <a:pt x="27617" y="6027"/>
                </a:lnTo>
                <a:cubicBezTo>
                  <a:pt x="27470" y="5916"/>
                  <a:pt x="27396" y="5546"/>
                  <a:pt x="27211" y="5583"/>
                </a:cubicBezTo>
                <a:cubicBezTo>
                  <a:pt x="27174" y="5361"/>
                  <a:pt x="26989" y="5435"/>
                  <a:pt x="27026" y="5176"/>
                </a:cubicBezTo>
                <a:lnTo>
                  <a:pt x="26915" y="5213"/>
                </a:lnTo>
                <a:cubicBezTo>
                  <a:pt x="26804" y="5028"/>
                  <a:pt x="26619" y="4843"/>
                  <a:pt x="26471" y="4659"/>
                </a:cubicBezTo>
                <a:lnTo>
                  <a:pt x="26360" y="4548"/>
                </a:lnTo>
                <a:cubicBezTo>
                  <a:pt x="26286" y="4474"/>
                  <a:pt x="26139" y="4252"/>
                  <a:pt x="25991" y="4289"/>
                </a:cubicBezTo>
                <a:cubicBezTo>
                  <a:pt x="25991" y="3993"/>
                  <a:pt x="25695" y="3919"/>
                  <a:pt x="25584" y="3882"/>
                </a:cubicBezTo>
                <a:cubicBezTo>
                  <a:pt x="25436" y="3734"/>
                  <a:pt x="25325" y="3623"/>
                  <a:pt x="25177" y="3513"/>
                </a:cubicBezTo>
                <a:cubicBezTo>
                  <a:pt x="24771" y="3217"/>
                  <a:pt x="24327" y="2662"/>
                  <a:pt x="23883" y="2625"/>
                </a:cubicBezTo>
                <a:cubicBezTo>
                  <a:pt x="23699" y="2514"/>
                  <a:pt x="23477" y="2403"/>
                  <a:pt x="23292" y="2256"/>
                </a:cubicBezTo>
                <a:lnTo>
                  <a:pt x="22737" y="1960"/>
                </a:lnTo>
                <a:cubicBezTo>
                  <a:pt x="22479" y="1886"/>
                  <a:pt x="22220" y="1590"/>
                  <a:pt x="21998" y="1738"/>
                </a:cubicBezTo>
                <a:cubicBezTo>
                  <a:pt x="22072" y="1553"/>
                  <a:pt x="21850" y="1590"/>
                  <a:pt x="21739" y="1553"/>
                </a:cubicBezTo>
                <a:lnTo>
                  <a:pt x="21554" y="1479"/>
                </a:lnTo>
                <a:lnTo>
                  <a:pt x="21369" y="1368"/>
                </a:lnTo>
                <a:cubicBezTo>
                  <a:pt x="21074" y="1183"/>
                  <a:pt x="20593" y="1146"/>
                  <a:pt x="20408" y="999"/>
                </a:cubicBezTo>
                <a:cubicBezTo>
                  <a:pt x="20186" y="925"/>
                  <a:pt x="19965" y="851"/>
                  <a:pt x="19706" y="777"/>
                </a:cubicBezTo>
                <a:cubicBezTo>
                  <a:pt x="19225" y="629"/>
                  <a:pt x="18707" y="481"/>
                  <a:pt x="18153" y="407"/>
                </a:cubicBezTo>
                <a:lnTo>
                  <a:pt x="18153" y="296"/>
                </a:lnTo>
                <a:cubicBezTo>
                  <a:pt x="18042" y="296"/>
                  <a:pt x="17968" y="222"/>
                  <a:pt x="17931" y="370"/>
                </a:cubicBezTo>
                <a:cubicBezTo>
                  <a:pt x="17635" y="296"/>
                  <a:pt x="17414" y="259"/>
                  <a:pt x="17118" y="259"/>
                </a:cubicBezTo>
                <a:cubicBezTo>
                  <a:pt x="17081" y="37"/>
                  <a:pt x="16748" y="185"/>
                  <a:pt x="16563" y="111"/>
                </a:cubicBezTo>
                <a:lnTo>
                  <a:pt x="16526" y="111"/>
                </a:lnTo>
                <a:cubicBezTo>
                  <a:pt x="15158" y="74"/>
                  <a:pt x="14049" y="0"/>
                  <a:pt x="12755" y="111"/>
                </a:cubicBezTo>
                <a:lnTo>
                  <a:pt x="12681" y="111"/>
                </a:lnTo>
                <a:cubicBezTo>
                  <a:pt x="11535" y="370"/>
                  <a:pt x="10204" y="481"/>
                  <a:pt x="9280" y="1146"/>
                </a:cubicBezTo>
                <a:cubicBezTo>
                  <a:pt x="9280" y="1220"/>
                  <a:pt x="9280" y="1294"/>
                  <a:pt x="9243" y="1294"/>
                </a:cubicBezTo>
                <a:cubicBezTo>
                  <a:pt x="9243" y="1035"/>
                  <a:pt x="9169" y="1035"/>
                  <a:pt x="9058" y="1146"/>
                </a:cubicBezTo>
                <a:cubicBezTo>
                  <a:pt x="8799" y="1220"/>
                  <a:pt x="8541" y="1368"/>
                  <a:pt x="8319" y="1479"/>
                </a:cubicBezTo>
                <a:lnTo>
                  <a:pt x="8245" y="1516"/>
                </a:lnTo>
                <a:lnTo>
                  <a:pt x="8208" y="1553"/>
                </a:lnTo>
                <a:lnTo>
                  <a:pt x="8171" y="1590"/>
                </a:lnTo>
                <a:cubicBezTo>
                  <a:pt x="7986" y="1701"/>
                  <a:pt x="7838" y="1775"/>
                  <a:pt x="7653" y="1886"/>
                </a:cubicBezTo>
                <a:lnTo>
                  <a:pt x="7505" y="1960"/>
                </a:lnTo>
                <a:lnTo>
                  <a:pt x="7321" y="2071"/>
                </a:lnTo>
                <a:cubicBezTo>
                  <a:pt x="7136" y="2071"/>
                  <a:pt x="7284" y="2256"/>
                  <a:pt x="7136" y="2292"/>
                </a:cubicBezTo>
                <a:cubicBezTo>
                  <a:pt x="6729" y="2292"/>
                  <a:pt x="6692" y="2625"/>
                  <a:pt x="6285" y="2699"/>
                </a:cubicBezTo>
                <a:lnTo>
                  <a:pt x="6211" y="2773"/>
                </a:lnTo>
                <a:lnTo>
                  <a:pt x="6137" y="2810"/>
                </a:lnTo>
                <a:cubicBezTo>
                  <a:pt x="5953" y="3069"/>
                  <a:pt x="5620" y="3032"/>
                  <a:pt x="5583" y="3365"/>
                </a:cubicBezTo>
                <a:cubicBezTo>
                  <a:pt x="5546" y="3402"/>
                  <a:pt x="5435" y="3328"/>
                  <a:pt x="5398" y="3402"/>
                </a:cubicBezTo>
                <a:cubicBezTo>
                  <a:pt x="5213" y="3513"/>
                  <a:pt x="5361" y="3697"/>
                  <a:pt x="5176" y="3734"/>
                </a:cubicBezTo>
                <a:cubicBezTo>
                  <a:pt x="4917" y="3586"/>
                  <a:pt x="4843" y="3956"/>
                  <a:pt x="4659" y="4067"/>
                </a:cubicBezTo>
                <a:lnTo>
                  <a:pt x="4622" y="4104"/>
                </a:lnTo>
                <a:lnTo>
                  <a:pt x="4178" y="4511"/>
                </a:lnTo>
                <a:cubicBezTo>
                  <a:pt x="4141" y="4622"/>
                  <a:pt x="4067" y="4659"/>
                  <a:pt x="3993" y="4733"/>
                </a:cubicBezTo>
                <a:cubicBezTo>
                  <a:pt x="3771" y="4991"/>
                  <a:pt x="3697" y="5213"/>
                  <a:pt x="3623" y="5361"/>
                </a:cubicBezTo>
                <a:cubicBezTo>
                  <a:pt x="3365" y="5657"/>
                  <a:pt x="3143" y="6027"/>
                  <a:pt x="2884" y="6359"/>
                </a:cubicBezTo>
                <a:lnTo>
                  <a:pt x="2847" y="6396"/>
                </a:lnTo>
                <a:lnTo>
                  <a:pt x="2810" y="6470"/>
                </a:lnTo>
                <a:cubicBezTo>
                  <a:pt x="2662" y="6692"/>
                  <a:pt x="2514" y="6877"/>
                  <a:pt x="2440" y="7099"/>
                </a:cubicBezTo>
                <a:cubicBezTo>
                  <a:pt x="2514" y="7284"/>
                  <a:pt x="2699" y="7136"/>
                  <a:pt x="2699" y="7321"/>
                </a:cubicBezTo>
                <a:cubicBezTo>
                  <a:pt x="2662" y="7468"/>
                  <a:pt x="2588" y="7505"/>
                  <a:pt x="2403" y="7431"/>
                </a:cubicBezTo>
                <a:cubicBezTo>
                  <a:pt x="2477" y="7431"/>
                  <a:pt x="2699" y="7394"/>
                  <a:pt x="2403" y="7247"/>
                </a:cubicBezTo>
                <a:cubicBezTo>
                  <a:pt x="2145" y="7653"/>
                  <a:pt x="2219" y="7801"/>
                  <a:pt x="1960" y="8245"/>
                </a:cubicBezTo>
                <a:cubicBezTo>
                  <a:pt x="1738" y="8614"/>
                  <a:pt x="1479" y="8947"/>
                  <a:pt x="1331" y="9428"/>
                </a:cubicBezTo>
                <a:cubicBezTo>
                  <a:pt x="1405" y="9465"/>
                  <a:pt x="1516" y="9502"/>
                  <a:pt x="1516" y="9539"/>
                </a:cubicBezTo>
                <a:cubicBezTo>
                  <a:pt x="1368" y="9502"/>
                  <a:pt x="1368" y="9613"/>
                  <a:pt x="1331" y="9687"/>
                </a:cubicBezTo>
                <a:cubicBezTo>
                  <a:pt x="1294" y="9687"/>
                  <a:pt x="1183" y="9687"/>
                  <a:pt x="1331" y="9724"/>
                </a:cubicBezTo>
                <a:cubicBezTo>
                  <a:pt x="1183" y="9835"/>
                  <a:pt x="1146" y="9908"/>
                  <a:pt x="1331" y="10093"/>
                </a:cubicBezTo>
                <a:cubicBezTo>
                  <a:pt x="1368" y="10019"/>
                  <a:pt x="1479" y="9982"/>
                  <a:pt x="1590" y="9982"/>
                </a:cubicBezTo>
                <a:cubicBezTo>
                  <a:pt x="1590" y="10019"/>
                  <a:pt x="1664" y="10056"/>
                  <a:pt x="1664" y="10093"/>
                </a:cubicBezTo>
                <a:lnTo>
                  <a:pt x="1590" y="10204"/>
                </a:lnTo>
                <a:cubicBezTo>
                  <a:pt x="1220" y="10204"/>
                  <a:pt x="1220" y="10093"/>
                  <a:pt x="999" y="10241"/>
                </a:cubicBezTo>
                <a:lnTo>
                  <a:pt x="1109" y="10278"/>
                </a:lnTo>
                <a:cubicBezTo>
                  <a:pt x="1109" y="10574"/>
                  <a:pt x="814" y="10648"/>
                  <a:pt x="925" y="10833"/>
                </a:cubicBezTo>
                <a:cubicBezTo>
                  <a:pt x="777" y="10796"/>
                  <a:pt x="777" y="10944"/>
                  <a:pt x="740" y="11018"/>
                </a:cubicBezTo>
                <a:lnTo>
                  <a:pt x="629" y="11498"/>
                </a:lnTo>
                <a:cubicBezTo>
                  <a:pt x="592" y="11757"/>
                  <a:pt x="481" y="12016"/>
                  <a:pt x="444" y="12275"/>
                </a:cubicBezTo>
                <a:lnTo>
                  <a:pt x="444" y="12385"/>
                </a:lnTo>
                <a:lnTo>
                  <a:pt x="407" y="12644"/>
                </a:lnTo>
                <a:cubicBezTo>
                  <a:pt x="370" y="12829"/>
                  <a:pt x="370" y="12977"/>
                  <a:pt x="296" y="13162"/>
                </a:cubicBezTo>
                <a:cubicBezTo>
                  <a:pt x="370" y="13384"/>
                  <a:pt x="37" y="13864"/>
                  <a:pt x="444" y="13938"/>
                </a:cubicBezTo>
                <a:cubicBezTo>
                  <a:pt x="666" y="13975"/>
                  <a:pt x="555" y="14271"/>
                  <a:pt x="296" y="14234"/>
                </a:cubicBezTo>
                <a:cubicBezTo>
                  <a:pt x="370" y="13679"/>
                  <a:pt x="111" y="14160"/>
                  <a:pt x="185" y="14456"/>
                </a:cubicBezTo>
                <a:cubicBezTo>
                  <a:pt x="370" y="14863"/>
                  <a:pt x="0" y="15158"/>
                  <a:pt x="259" y="15602"/>
                </a:cubicBezTo>
                <a:cubicBezTo>
                  <a:pt x="111" y="15602"/>
                  <a:pt x="111" y="15787"/>
                  <a:pt x="259" y="15787"/>
                </a:cubicBezTo>
                <a:cubicBezTo>
                  <a:pt x="111" y="15898"/>
                  <a:pt x="185" y="16083"/>
                  <a:pt x="185" y="16193"/>
                </a:cubicBezTo>
                <a:cubicBezTo>
                  <a:pt x="111" y="16452"/>
                  <a:pt x="296" y="16526"/>
                  <a:pt x="296" y="16711"/>
                </a:cubicBezTo>
                <a:cubicBezTo>
                  <a:pt x="259" y="16859"/>
                  <a:pt x="111" y="17081"/>
                  <a:pt x="370" y="17192"/>
                </a:cubicBezTo>
                <a:cubicBezTo>
                  <a:pt x="74" y="17229"/>
                  <a:pt x="481" y="17266"/>
                  <a:pt x="407" y="17414"/>
                </a:cubicBezTo>
                <a:cubicBezTo>
                  <a:pt x="222" y="17450"/>
                  <a:pt x="296" y="17857"/>
                  <a:pt x="481" y="17857"/>
                </a:cubicBezTo>
                <a:cubicBezTo>
                  <a:pt x="407" y="18005"/>
                  <a:pt x="629" y="18338"/>
                  <a:pt x="629" y="18597"/>
                </a:cubicBezTo>
                <a:cubicBezTo>
                  <a:pt x="481" y="18671"/>
                  <a:pt x="555" y="18781"/>
                  <a:pt x="666" y="18781"/>
                </a:cubicBezTo>
                <a:lnTo>
                  <a:pt x="740" y="18892"/>
                </a:lnTo>
                <a:cubicBezTo>
                  <a:pt x="777" y="19151"/>
                  <a:pt x="851" y="19410"/>
                  <a:pt x="962" y="19669"/>
                </a:cubicBezTo>
                <a:cubicBezTo>
                  <a:pt x="1183" y="20408"/>
                  <a:pt x="1479" y="21111"/>
                  <a:pt x="1775" y="21813"/>
                </a:cubicBezTo>
                <a:lnTo>
                  <a:pt x="1849" y="21887"/>
                </a:lnTo>
                <a:lnTo>
                  <a:pt x="2071" y="22294"/>
                </a:lnTo>
                <a:cubicBezTo>
                  <a:pt x="1960" y="22663"/>
                  <a:pt x="2440" y="23033"/>
                  <a:pt x="2588" y="23366"/>
                </a:cubicBezTo>
                <a:lnTo>
                  <a:pt x="2625" y="23403"/>
                </a:lnTo>
                <a:cubicBezTo>
                  <a:pt x="2773" y="23477"/>
                  <a:pt x="2810" y="23846"/>
                  <a:pt x="3032" y="24031"/>
                </a:cubicBezTo>
                <a:lnTo>
                  <a:pt x="3069" y="24105"/>
                </a:lnTo>
                <a:lnTo>
                  <a:pt x="3328" y="24401"/>
                </a:lnTo>
                <a:lnTo>
                  <a:pt x="3513" y="24660"/>
                </a:lnTo>
                <a:lnTo>
                  <a:pt x="3734" y="24956"/>
                </a:lnTo>
                <a:cubicBezTo>
                  <a:pt x="3882" y="25066"/>
                  <a:pt x="3993" y="25251"/>
                  <a:pt x="4141" y="25436"/>
                </a:cubicBezTo>
                <a:cubicBezTo>
                  <a:pt x="4289" y="25584"/>
                  <a:pt x="4437" y="25806"/>
                  <a:pt x="4548" y="25769"/>
                </a:cubicBezTo>
                <a:cubicBezTo>
                  <a:pt x="4474" y="25954"/>
                  <a:pt x="4843" y="26102"/>
                  <a:pt x="4917" y="26250"/>
                </a:cubicBezTo>
                <a:cubicBezTo>
                  <a:pt x="5028" y="26323"/>
                  <a:pt x="5102" y="26434"/>
                  <a:pt x="5213" y="26471"/>
                </a:cubicBezTo>
                <a:cubicBezTo>
                  <a:pt x="5398" y="26619"/>
                  <a:pt x="5583" y="26804"/>
                  <a:pt x="5768" y="26915"/>
                </a:cubicBezTo>
                <a:cubicBezTo>
                  <a:pt x="5657" y="27063"/>
                  <a:pt x="5953" y="26915"/>
                  <a:pt x="5990" y="27100"/>
                </a:cubicBezTo>
                <a:lnTo>
                  <a:pt x="6027" y="27063"/>
                </a:lnTo>
                <a:cubicBezTo>
                  <a:pt x="6211" y="27063"/>
                  <a:pt x="5990" y="27433"/>
                  <a:pt x="6174" y="27285"/>
                </a:cubicBezTo>
                <a:lnTo>
                  <a:pt x="6211" y="27359"/>
                </a:lnTo>
                <a:cubicBezTo>
                  <a:pt x="6322" y="27654"/>
                  <a:pt x="6840" y="27802"/>
                  <a:pt x="7062" y="28024"/>
                </a:cubicBezTo>
                <a:lnTo>
                  <a:pt x="7136" y="28098"/>
                </a:lnTo>
                <a:cubicBezTo>
                  <a:pt x="7431" y="28172"/>
                  <a:pt x="7468" y="28394"/>
                  <a:pt x="7764" y="28505"/>
                </a:cubicBezTo>
                <a:lnTo>
                  <a:pt x="7801" y="28394"/>
                </a:lnTo>
                <a:cubicBezTo>
                  <a:pt x="7838" y="28579"/>
                  <a:pt x="8134" y="28653"/>
                  <a:pt x="8245" y="28653"/>
                </a:cubicBezTo>
                <a:cubicBezTo>
                  <a:pt x="8208" y="28727"/>
                  <a:pt x="8319" y="28764"/>
                  <a:pt x="8393" y="28764"/>
                </a:cubicBezTo>
                <a:cubicBezTo>
                  <a:pt x="8725" y="28911"/>
                  <a:pt x="9058" y="29059"/>
                  <a:pt x="9317" y="29207"/>
                </a:cubicBezTo>
                <a:lnTo>
                  <a:pt x="9354" y="29207"/>
                </a:lnTo>
                <a:cubicBezTo>
                  <a:pt x="9465" y="29429"/>
                  <a:pt x="9982" y="29429"/>
                  <a:pt x="10204" y="29577"/>
                </a:cubicBezTo>
                <a:lnTo>
                  <a:pt x="10241" y="29577"/>
                </a:lnTo>
                <a:cubicBezTo>
                  <a:pt x="10389" y="29614"/>
                  <a:pt x="10537" y="29651"/>
                  <a:pt x="10648" y="29651"/>
                </a:cubicBezTo>
                <a:lnTo>
                  <a:pt x="10722" y="29651"/>
                </a:lnTo>
                <a:cubicBezTo>
                  <a:pt x="10833" y="29688"/>
                  <a:pt x="10981" y="29762"/>
                  <a:pt x="11129" y="29762"/>
                </a:cubicBezTo>
                <a:lnTo>
                  <a:pt x="11165" y="29762"/>
                </a:lnTo>
                <a:cubicBezTo>
                  <a:pt x="11535" y="29984"/>
                  <a:pt x="12238" y="30057"/>
                  <a:pt x="12644" y="30021"/>
                </a:cubicBezTo>
                <a:cubicBezTo>
                  <a:pt x="12681" y="30205"/>
                  <a:pt x="13051" y="30131"/>
                  <a:pt x="13236" y="30168"/>
                </a:cubicBezTo>
                <a:lnTo>
                  <a:pt x="13236" y="30131"/>
                </a:lnTo>
                <a:lnTo>
                  <a:pt x="13310" y="30131"/>
                </a:lnTo>
                <a:lnTo>
                  <a:pt x="13901" y="30168"/>
                </a:lnTo>
                <a:cubicBezTo>
                  <a:pt x="13975" y="30242"/>
                  <a:pt x="14123" y="30168"/>
                  <a:pt x="14308" y="30242"/>
                </a:cubicBezTo>
                <a:lnTo>
                  <a:pt x="14308" y="30205"/>
                </a:lnTo>
                <a:cubicBezTo>
                  <a:pt x="14715" y="30205"/>
                  <a:pt x="15084" y="30205"/>
                  <a:pt x="15528" y="30168"/>
                </a:cubicBezTo>
                <a:cubicBezTo>
                  <a:pt x="15602" y="30316"/>
                  <a:pt x="15972" y="30168"/>
                  <a:pt x="16157" y="30168"/>
                </a:cubicBezTo>
                <a:cubicBezTo>
                  <a:pt x="16452" y="30057"/>
                  <a:pt x="16452" y="30131"/>
                  <a:pt x="16748" y="30057"/>
                </a:cubicBezTo>
                <a:lnTo>
                  <a:pt x="16748" y="30021"/>
                </a:lnTo>
                <a:lnTo>
                  <a:pt x="17598" y="29873"/>
                </a:lnTo>
                <a:cubicBezTo>
                  <a:pt x="17820" y="29873"/>
                  <a:pt x="17931" y="29762"/>
                  <a:pt x="18116" y="29688"/>
                </a:cubicBezTo>
                <a:cubicBezTo>
                  <a:pt x="18190" y="29651"/>
                  <a:pt x="18486" y="29651"/>
                  <a:pt x="18486" y="29577"/>
                </a:cubicBezTo>
                <a:cubicBezTo>
                  <a:pt x="18707" y="29577"/>
                  <a:pt x="18781" y="29503"/>
                  <a:pt x="18929" y="29429"/>
                </a:cubicBezTo>
                <a:cubicBezTo>
                  <a:pt x="19336" y="29281"/>
                  <a:pt x="19817" y="29133"/>
                  <a:pt x="20223" y="29022"/>
                </a:cubicBezTo>
                <a:lnTo>
                  <a:pt x="20334" y="28948"/>
                </a:lnTo>
                <a:cubicBezTo>
                  <a:pt x="20519" y="28874"/>
                  <a:pt x="20815" y="28837"/>
                  <a:pt x="20926" y="28690"/>
                </a:cubicBezTo>
                <a:cubicBezTo>
                  <a:pt x="21074" y="28653"/>
                  <a:pt x="21148" y="28579"/>
                  <a:pt x="21295" y="28505"/>
                </a:cubicBezTo>
                <a:cubicBezTo>
                  <a:pt x="21554" y="28357"/>
                  <a:pt x="21887" y="28209"/>
                  <a:pt x="22183" y="28024"/>
                </a:cubicBezTo>
                <a:cubicBezTo>
                  <a:pt x="22183" y="28098"/>
                  <a:pt x="22257" y="28024"/>
                  <a:pt x="22257" y="27987"/>
                </a:cubicBezTo>
                <a:cubicBezTo>
                  <a:pt x="22442" y="27950"/>
                  <a:pt x="22774" y="27728"/>
                  <a:pt x="22996" y="27580"/>
                </a:cubicBezTo>
                <a:cubicBezTo>
                  <a:pt x="23144" y="27433"/>
                  <a:pt x="23218" y="27359"/>
                  <a:pt x="23403" y="27248"/>
                </a:cubicBezTo>
                <a:cubicBezTo>
                  <a:pt x="23477" y="27211"/>
                  <a:pt x="23551" y="27174"/>
                  <a:pt x="23551" y="27100"/>
                </a:cubicBezTo>
                <a:cubicBezTo>
                  <a:pt x="23920" y="26841"/>
                  <a:pt x="24586" y="26286"/>
                  <a:pt x="24993" y="25806"/>
                </a:cubicBezTo>
                <a:cubicBezTo>
                  <a:pt x="25140" y="25621"/>
                  <a:pt x="25325" y="25510"/>
                  <a:pt x="25436" y="25325"/>
                </a:cubicBezTo>
                <a:lnTo>
                  <a:pt x="25547" y="25177"/>
                </a:lnTo>
                <a:cubicBezTo>
                  <a:pt x="25732" y="24956"/>
                  <a:pt x="25769" y="24808"/>
                  <a:pt x="25954" y="24586"/>
                </a:cubicBezTo>
                <a:cubicBezTo>
                  <a:pt x="26176" y="24253"/>
                  <a:pt x="26286" y="24068"/>
                  <a:pt x="26471" y="23735"/>
                </a:cubicBezTo>
                <a:lnTo>
                  <a:pt x="26508" y="23662"/>
                </a:lnTo>
                <a:lnTo>
                  <a:pt x="26693" y="23218"/>
                </a:lnTo>
                <a:lnTo>
                  <a:pt x="26693" y="23181"/>
                </a:lnTo>
                <a:cubicBezTo>
                  <a:pt x="26804" y="22959"/>
                  <a:pt x="26915" y="22663"/>
                  <a:pt x="27026" y="22368"/>
                </a:cubicBezTo>
                <a:cubicBezTo>
                  <a:pt x="27100" y="22072"/>
                  <a:pt x="27211" y="21739"/>
                  <a:pt x="27248" y="21554"/>
                </a:cubicBezTo>
                <a:cubicBezTo>
                  <a:pt x="27248" y="21628"/>
                  <a:pt x="27285" y="21332"/>
                  <a:pt x="27285" y="21369"/>
                </a:cubicBezTo>
                <a:cubicBezTo>
                  <a:pt x="27211" y="21702"/>
                  <a:pt x="27063" y="22035"/>
                  <a:pt x="26915" y="22442"/>
                </a:cubicBezTo>
                <a:cubicBezTo>
                  <a:pt x="26878" y="22552"/>
                  <a:pt x="26804" y="22737"/>
                  <a:pt x="26841" y="22737"/>
                </a:cubicBezTo>
                <a:cubicBezTo>
                  <a:pt x="26804" y="22811"/>
                  <a:pt x="26730" y="22922"/>
                  <a:pt x="26693" y="23033"/>
                </a:cubicBezTo>
                <a:lnTo>
                  <a:pt x="26656" y="23144"/>
                </a:lnTo>
                <a:cubicBezTo>
                  <a:pt x="26434" y="23588"/>
                  <a:pt x="26323" y="23699"/>
                  <a:pt x="26065" y="24142"/>
                </a:cubicBezTo>
                <a:lnTo>
                  <a:pt x="25991" y="24216"/>
                </a:lnTo>
                <a:cubicBezTo>
                  <a:pt x="25806" y="24475"/>
                  <a:pt x="25695" y="24623"/>
                  <a:pt x="25399" y="24993"/>
                </a:cubicBezTo>
                <a:lnTo>
                  <a:pt x="25362" y="25029"/>
                </a:lnTo>
                <a:cubicBezTo>
                  <a:pt x="25177" y="25251"/>
                  <a:pt x="24993" y="25436"/>
                  <a:pt x="24660" y="25732"/>
                </a:cubicBezTo>
                <a:lnTo>
                  <a:pt x="24438" y="25917"/>
                </a:lnTo>
                <a:lnTo>
                  <a:pt x="24253" y="26102"/>
                </a:lnTo>
                <a:cubicBezTo>
                  <a:pt x="23920" y="26360"/>
                  <a:pt x="23588" y="26619"/>
                  <a:pt x="23292" y="26841"/>
                </a:cubicBezTo>
                <a:lnTo>
                  <a:pt x="23218" y="26878"/>
                </a:lnTo>
                <a:cubicBezTo>
                  <a:pt x="22922" y="27100"/>
                  <a:pt x="22589" y="27285"/>
                  <a:pt x="22257" y="27470"/>
                </a:cubicBezTo>
                <a:lnTo>
                  <a:pt x="22183" y="27543"/>
                </a:lnTo>
                <a:cubicBezTo>
                  <a:pt x="22072" y="27580"/>
                  <a:pt x="21924" y="27654"/>
                  <a:pt x="21813" y="27728"/>
                </a:cubicBezTo>
                <a:lnTo>
                  <a:pt x="21739" y="27765"/>
                </a:lnTo>
                <a:cubicBezTo>
                  <a:pt x="21517" y="27839"/>
                  <a:pt x="21295" y="27987"/>
                  <a:pt x="21111" y="28098"/>
                </a:cubicBezTo>
                <a:lnTo>
                  <a:pt x="21074" y="28098"/>
                </a:lnTo>
                <a:cubicBezTo>
                  <a:pt x="20926" y="28135"/>
                  <a:pt x="20815" y="28172"/>
                  <a:pt x="20704" y="28209"/>
                </a:cubicBezTo>
                <a:cubicBezTo>
                  <a:pt x="20556" y="28283"/>
                  <a:pt x="20371" y="28357"/>
                  <a:pt x="20223" y="28394"/>
                </a:cubicBezTo>
                <a:cubicBezTo>
                  <a:pt x="20038" y="28468"/>
                  <a:pt x="19854" y="28542"/>
                  <a:pt x="19669" y="28579"/>
                </a:cubicBezTo>
                <a:cubicBezTo>
                  <a:pt x="19521" y="28690"/>
                  <a:pt x="19410" y="28727"/>
                  <a:pt x="19077" y="28837"/>
                </a:cubicBezTo>
                <a:cubicBezTo>
                  <a:pt x="18929" y="28874"/>
                  <a:pt x="18781" y="28911"/>
                  <a:pt x="18671" y="28911"/>
                </a:cubicBezTo>
                <a:cubicBezTo>
                  <a:pt x="18597" y="28911"/>
                  <a:pt x="18523" y="28948"/>
                  <a:pt x="18523" y="29022"/>
                </a:cubicBezTo>
                <a:cubicBezTo>
                  <a:pt x="18301" y="29022"/>
                  <a:pt x="18338" y="29022"/>
                  <a:pt x="18153" y="29096"/>
                </a:cubicBezTo>
                <a:cubicBezTo>
                  <a:pt x="17968" y="29096"/>
                  <a:pt x="18005" y="29207"/>
                  <a:pt x="17857" y="29207"/>
                </a:cubicBezTo>
                <a:cubicBezTo>
                  <a:pt x="17672" y="29207"/>
                  <a:pt x="17118" y="29318"/>
                  <a:pt x="16748" y="29392"/>
                </a:cubicBezTo>
                <a:cubicBezTo>
                  <a:pt x="16711" y="29392"/>
                  <a:pt x="16674" y="29392"/>
                  <a:pt x="16674" y="29466"/>
                </a:cubicBezTo>
                <a:cubicBezTo>
                  <a:pt x="16489" y="29429"/>
                  <a:pt x="16489" y="29466"/>
                  <a:pt x="16193" y="29466"/>
                </a:cubicBezTo>
                <a:lnTo>
                  <a:pt x="16120" y="29466"/>
                </a:lnTo>
                <a:cubicBezTo>
                  <a:pt x="15602" y="29503"/>
                  <a:pt x="15380" y="29503"/>
                  <a:pt x="14826" y="29503"/>
                </a:cubicBezTo>
                <a:lnTo>
                  <a:pt x="14419" y="29503"/>
                </a:lnTo>
                <a:cubicBezTo>
                  <a:pt x="14123" y="29614"/>
                  <a:pt x="13864" y="29392"/>
                  <a:pt x="13569" y="29503"/>
                </a:cubicBezTo>
                <a:cubicBezTo>
                  <a:pt x="13532" y="29318"/>
                  <a:pt x="13236" y="29466"/>
                  <a:pt x="13125" y="29466"/>
                </a:cubicBezTo>
                <a:cubicBezTo>
                  <a:pt x="13014" y="29244"/>
                  <a:pt x="12644" y="29503"/>
                  <a:pt x="12570" y="29318"/>
                </a:cubicBezTo>
                <a:cubicBezTo>
                  <a:pt x="12459" y="29281"/>
                  <a:pt x="12386" y="29318"/>
                  <a:pt x="12312" y="29392"/>
                </a:cubicBezTo>
                <a:cubicBezTo>
                  <a:pt x="12127" y="29392"/>
                  <a:pt x="12127" y="29207"/>
                  <a:pt x="11942" y="29244"/>
                </a:cubicBezTo>
                <a:lnTo>
                  <a:pt x="11942" y="29318"/>
                </a:lnTo>
                <a:cubicBezTo>
                  <a:pt x="11868" y="29244"/>
                  <a:pt x="11572" y="29318"/>
                  <a:pt x="11498" y="29133"/>
                </a:cubicBezTo>
                <a:lnTo>
                  <a:pt x="11202" y="29059"/>
                </a:lnTo>
                <a:lnTo>
                  <a:pt x="11018" y="29022"/>
                </a:lnTo>
                <a:lnTo>
                  <a:pt x="10611" y="28874"/>
                </a:lnTo>
                <a:cubicBezTo>
                  <a:pt x="10574" y="28690"/>
                  <a:pt x="10204" y="28690"/>
                  <a:pt x="10056" y="28579"/>
                </a:cubicBezTo>
                <a:lnTo>
                  <a:pt x="10019" y="28579"/>
                </a:lnTo>
                <a:cubicBezTo>
                  <a:pt x="9871" y="28542"/>
                  <a:pt x="9687" y="28394"/>
                  <a:pt x="9539" y="28505"/>
                </a:cubicBezTo>
                <a:cubicBezTo>
                  <a:pt x="9539" y="28320"/>
                  <a:pt x="9243" y="28320"/>
                  <a:pt x="9095" y="28172"/>
                </a:cubicBezTo>
                <a:lnTo>
                  <a:pt x="9058" y="28135"/>
                </a:lnTo>
                <a:cubicBezTo>
                  <a:pt x="8356" y="27765"/>
                  <a:pt x="8060" y="27543"/>
                  <a:pt x="7431" y="27063"/>
                </a:cubicBezTo>
                <a:cubicBezTo>
                  <a:pt x="7394" y="26915"/>
                  <a:pt x="7062" y="26619"/>
                  <a:pt x="6877" y="26693"/>
                </a:cubicBezTo>
                <a:cubicBezTo>
                  <a:pt x="6655" y="26508"/>
                  <a:pt x="6544" y="26250"/>
                  <a:pt x="6285" y="26065"/>
                </a:cubicBezTo>
                <a:cubicBezTo>
                  <a:pt x="6027" y="25880"/>
                  <a:pt x="5842" y="25621"/>
                  <a:pt x="5620" y="25436"/>
                </a:cubicBezTo>
                <a:cubicBezTo>
                  <a:pt x="5546" y="25399"/>
                  <a:pt x="5620" y="25251"/>
                  <a:pt x="5546" y="25325"/>
                </a:cubicBezTo>
                <a:cubicBezTo>
                  <a:pt x="5213" y="25029"/>
                  <a:pt x="5213" y="24697"/>
                  <a:pt x="4843" y="24512"/>
                </a:cubicBezTo>
                <a:cubicBezTo>
                  <a:pt x="4696" y="24290"/>
                  <a:pt x="4326" y="23735"/>
                  <a:pt x="3993" y="23551"/>
                </a:cubicBezTo>
                <a:cubicBezTo>
                  <a:pt x="3956" y="23514"/>
                  <a:pt x="4067" y="23477"/>
                  <a:pt x="3993" y="23403"/>
                </a:cubicBezTo>
                <a:lnTo>
                  <a:pt x="3956" y="23366"/>
                </a:lnTo>
                <a:cubicBezTo>
                  <a:pt x="3882" y="23181"/>
                  <a:pt x="3734" y="23033"/>
                  <a:pt x="3623" y="22848"/>
                </a:cubicBezTo>
                <a:cubicBezTo>
                  <a:pt x="3771" y="22478"/>
                  <a:pt x="3254" y="22405"/>
                  <a:pt x="3328" y="22109"/>
                </a:cubicBezTo>
                <a:lnTo>
                  <a:pt x="3217" y="22183"/>
                </a:lnTo>
                <a:cubicBezTo>
                  <a:pt x="3069" y="22072"/>
                  <a:pt x="3328" y="21924"/>
                  <a:pt x="3180" y="21850"/>
                </a:cubicBezTo>
                <a:lnTo>
                  <a:pt x="3069" y="21628"/>
                </a:lnTo>
                <a:cubicBezTo>
                  <a:pt x="2995" y="21443"/>
                  <a:pt x="2958" y="21295"/>
                  <a:pt x="2847" y="21111"/>
                </a:cubicBezTo>
                <a:lnTo>
                  <a:pt x="2699" y="20704"/>
                </a:lnTo>
                <a:lnTo>
                  <a:pt x="2514" y="20186"/>
                </a:lnTo>
                <a:cubicBezTo>
                  <a:pt x="2440" y="20075"/>
                  <a:pt x="2514" y="19780"/>
                  <a:pt x="2293" y="19817"/>
                </a:cubicBezTo>
                <a:cubicBezTo>
                  <a:pt x="2440" y="19595"/>
                  <a:pt x="2219" y="19447"/>
                  <a:pt x="2145" y="19262"/>
                </a:cubicBezTo>
                <a:cubicBezTo>
                  <a:pt x="2293" y="19225"/>
                  <a:pt x="2256" y="19077"/>
                  <a:pt x="2108" y="19114"/>
                </a:cubicBezTo>
                <a:cubicBezTo>
                  <a:pt x="2256" y="18929"/>
                  <a:pt x="1960" y="18892"/>
                  <a:pt x="2108" y="18597"/>
                </a:cubicBezTo>
                <a:cubicBezTo>
                  <a:pt x="1960" y="18486"/>
                  <a:pt x="2108" y="18301"/>
                  <a:pt x="2034" y="18042"/>
                </a:cubicBezTo>
                <a:cubicBezTo>
                  <a:pt x="2034" y="18005"/>
                  <a:pt x="1886" y="18005"/>
                  <a:pt x="1886" y="17931"/>
                </a:cubicBezTo>
                <a:lnTo>
                  <a:pt x="1886" y="17857"/>
                </a:lnTo>
                <a:cubicBezTo>
                  <a:pt x="1849" y="17635"/>
                  <a:pt x="1701" y="17635"/>
                  <a:pt x="1923" y="17414"/>
                </a:cubicBezTo>
                <a:lnTo>
                  <a:pt x="1849" y="17414"/>
                </a:lnTo>
                <a:lnTo>
                  <a:pt x="1775" y="16859"/>
                </a:lnTo>
                <a:lnTo>
                  <a:pt x="1775" y="16637"/>
                </a:lnTo>
                <a:lnTo>
                  <a:pt x="1775" y="16304"/>
                </a:lnTo>
                <a:lnTo>
                  <a:pt x="1775" y="15454"/>
                </a:lnTo>
                <a:cubicBezTo>
                  <a:pt x="1590" y="15269"/>
                  <a:pt x="1886" y="15195"/>
                  <a:pt x="1775" y="14899"/>
                </a:cubicBezTo>
                <a:cubicBezTo>
                  <a:pt x="1738" y="14789"/>
                  <a:pt x="1923" y="14530"/>
                  <a:pt x="1701" y="14493"/>
                </a:cubicBezTo>
                <a:cubicBezTo>
                  <a:pt x="1923" y="14419"/>
                  <a:pt x="1664" y="14345"/>
                  <a:pt x="1738" y="14160"/>
                </a:cubicBezTo>
                <a:cubicBezTo>
                  <a:pt x="2071" y="14123"/>
                  <a:pt x="1701" y="13975"/>
                  <a:pt x="1664" y="13938"/>
                </a:cubicBezTo>
                <a:cubicBezTo>
                  <a:pt x="2034" y="13938"/>
                  <a:pt x="1886" y="13606"/>
                  <a:pt x="1849" y="13495"/>
                </a:cubicBezTo>
                <a:cubicBezTo>
                  <a:pt x="1960" y="13495"/>
                  <a:pt x="1960" y="13347"/>
                  <a:pt x="1960" y="13310"/>
                </a:cubicBezTo>
                <a:lnTo>
                  <a:pt x="1960" y="13199"/>
                </a:lnTo>
                <a:cubicBezTo>
                  <a:pt x="2071" y="12829"/>
                  <a:pt x="2034" y="12459"/>
                  <a:pt x="2145" y="12238"/>
                </a:cubicBezTo>
                <a:lnTo>
                  <a:pt x="2145" y="12201"/>
                </a:lnTo>
                <a:lnTo>
                  <a:pt x="2293" y="11646"/>
                </a:lnTo>
                <a:lnTo>
                  <a:pt x="2293" y="11572"/>
                </a:lnTo>
                <a:cubicBezTo>
                  <a:pt x="2329" y="11276"/>
                  <a:pt x="2403" y="11165"/>
                  <a:pt x="2514" y="10833"/>
                </a:cubicBezTo>
                <a:lnTo>
                  <a:pt x="2514" y="10796"/>
                </a:lnTo>
                <a:cubicBezTo>
                  <a:pt x="2625" y="10537"/>
                  <a:pt x="2699" y="10278"/>
                  <a:pt x="2810" y="10019"/>
                </a:cubicBezTo>
                <a:lnTo>
                  <a:pt x="2847" y="9908"/>
                </a:lnTo>
                <a:lnTo>
                  <a:pt x="2958" y="9687"/>
                </a:lnTo>
                <a:lnTo>
                  <a:pt x="3032" y="9465"/>
                </a:lnTo>
                <a:lnTo>
                  <a:pt x="3180" y="9169"/>
                </a:lnTo>
                <a:cubicBezTo>
                  <a:pt x="3328" y="9132"/>
                  <a:pt x="3365" y="8688"/>
                  <a:pt x="3550" y="8430"/>
                </a:cubicBezTo>
                <a:lnTo>
                  <a:pt x="3586" y="8356"/>
                </a:lnTo>
                <a:lnTo>
                  <a:pt x="3697" y="8171"/>
                </a:lnTo>
                <a:lnTo>
                  <a:pt x="3734" y="8134"/>
                </a:lnTo>
                <a:cubicBezTo>
                  <a:pt x="3734" y="8023"/>
                  <a:pt x="3771" y="7875"/>
                  <a:pt x="3882" y="7801"/>
                </a:cubicBezTo>
                <a:cubicBezTo>
                  <a:pt x="3919" y="7764"/>
                  <a:pt x="3956" y="7653"/>
                  <a:pt x="3882" y="7653"/>
                </a:cubicBezTo>
                <a:cubicBezTo>
                  <a:pt x="3808" y="7505"/>
                  <a:pt x="4178" y="7505"/>
                  <a:pt x="4104" y="7321"/>
                </a:cubicBezTo>
                <a:lnTo>
                  <a:pt x="4141" y="7284"/>
                </a:lnTo>
                <a:cubicBezTo>
                  <a:pt x="4363" y="7284"/>
                  <a:pt x="4622" y="6914"/>
                  <a:pt x="4548" y="6729"/>
                </a:cubicBezTo>
                <a:cubicBezTo>
                  <a:pt x="4843" y="6581"/>
                  <a:pt x="4843" y="6322"/>
                  <a:pt x="5102" y="6027"/>
                </a:cubicBezTo>
                <a:cubicBezTo>
                  <a:pt x="5102" y="5990"/>
                  <a:pt x="5176" y="5953"/>
                  <a:pt x="5102" y="5916"/>
                </a:cubicBezTo>
                <a:cubicBezTo>
                  <a:pt x="5435" y="5916"/>
                  <a:pt x="5065" y="5620"/>
                  <a:pt x="5287" y="5546"/>
                </a:cubicBezTo>
                <a:cubicBezTo>
                  <a:pt x="5398" y="5620"/>
                  <a:pt x="5361" y="5657"/>
                  <a:pt x="5435" y="5731"/>
                </a:cubicBezTo>
                <a:lnTo>
                  <a:pt x="5620" y="5546"/>
                </a:lnTo>
                <a:lnTo>
                  <a:pt x="5953" y="5213"/>
                </a:lnTo>
                <a:lnTo>
                  <a:pt x="5990" y="5176"/>
                </a:lnTo>
                <a:cubicBezTo>
                  <a:pt x="6137" y="5065"/>
                  <a:pt x="6285" y="4917"/>
                  <a:pt x="6359" y="4843"/>
                </a:cubicBezTo>
                <a:lnTo>
                  <a:pt x="6544" y="4659"/>
                </a:lnTo>
                <a:lnTo>
                  <a:pt x="6729" y="4511"/>
                </a:lnTo>
                <a:cubicBezTo>
                  <a:pt x="6840" y="4511"/>
                  <a:pt x="7210" y="4141"/>
                  <a:pt x="7505" y="3919"/>
                </a:cubicBezTo>
                <a:cubicBezTo>
                  <a:pt x="7801" y="3697"/>
                  <a:pt x="7986" y="3513"/>
                  <a:pt x="7468" y="3734"/>
                </a:cubicBezTo>
                <a:lnTo>
                  <a:pt x="7321" y="3549"/>
                </a:lnTo>
                <a:cubicBezTo>
                  <a:pt x="7468" y="3402"/>
                  <a:pt x="7764" y="3402"/>
                  <a:pt x="7764" y="3180"/>
                </a:cubicBezTo>
                <a:cubicBezTo>
                  <a:pt x="7838" y="3069"/>
                  <a:pt x="7949" y="3254"/>
                  <a:pt x="8023" y="3143"/>
                </a:cubicBezTo>
                <a:lnTo>
                  <a:pt x="7986" y="3032"/>
                </a:lnTo>
                <a:cubicBezTo>
                  <a:pt x="8023" y="3032"/>
                  <a:pt x="8134" y="3069"/>
                  <a:pt x="8171" y="3180"/>
                </a:cubicBezTo>
                <a:cubicBezTo>
                  <a:pt x="8060" y="3217"/>
                  <a:pt x="8023" y="3254"/>
                  <a:pt x="8023" y="3365"/>
                </a:cubicBezTo>
                <a:cubicBezTo>
                  <a:pt x="7653" y="3771"/>
                  <a:pt x="8541" y="3402"/>
                  <a:pt x="8725" y="3217"/>
                </a:cubicBezTo>
                <a:cubicBezTo>
                  <a:pt x="8984" y="3180"/>
                  <a:pt x="9058" y="2884"/>
                  <a:pt x="9280" y="2847"/>
                </a:cubicBezTo>
                <a:cubicBezTo>
                  <a:pt x="9354" y="3069"/>
                  <a:pt x="9502" y="2810"/>
                  <a:pt x="9613" y="2810"/>
                </a:cubicBezTo>
                <a:cubicBezTo>
                  <a:pt x="9613" y="2625"/>
                  <a:pt x="9835" y="2625"/>
                  <a:pt x="9982" y="2514"/>
                </a:cubicBezTo>
                <a:cubicBezTo>
                  <a:pt x="10019" y="2625"/>
                  <a:pt x="10093" y="2625"/>
                  <a:pt x="10167" y="2588"/>
                </a:cubicBezTo>
                <a:lnTo>
                  <a:pt x="10278" y="2514"/>
                </a:lnTo>
                <a:cubicBezTo>
                  <a:pt x="10352" y="2477"/>
                  <a:pt x="10426" y="2477"/>
                  <a:pt x="10389" y="2403"/>
                </a:cubicBezTo>
                <a:cubicBezTo>
                  <a:pt x="10574" y="2440"/>
                  <a:pt x="10796" y="2256"/>
                  <a:pt x="10907" y="2256"/>
                </a:cubicBezTo>
                <a:cubicBezTo>
                  <a:pt x="11387" y="2071"/>
                  <a:pt x="11942" y="1960"/>
                  <a:pt x="12496" y="1849"/>
                </a:cubicBezTo>
                <a:lnTo>
                  <a:pt x="12792" y="1775"/>
                </a:lnTo>
                <a:cubicBezTo>
                  <a:pt x="12829" y="2034"/>
                  <a:pt x="13014" y="1849"/>
                  <a:pt x="13051" y="1738"/>
                </a:cubicBezTo>
                <a:cubicBezTo>
                  <a:pt x="13162" y="2071"/>
                  <a:pt x="13162" y="1590"/>
                  <a:pt x="13236" y="1701"/>
                </a:cubicBezTo>
                <a:lnTo>
                  <a:pt x="13310" y="1701"/>
                </a:lnTo>
                <a:cubicBezTo>
                  <a:pt x="13421" y="1923"/>
                  <a:pt x="13753" y="1701"/>
                  <a:pt x="13975" y="1738"/>
                </a:cubicBezTo>
                <a:lnTo>
                  <a:pt x="14049" y="1738"/>
                </a:lnTo>
                <a:lnTo>
                  <a:pt x="14086" y="1738"/>
                </a:lnTo>
                <a:cubicBezTo>
                  <a:pt x="14345" y="1738"/>
                  <a:pt x="14604" y="1701"/>
                  <a:pt x="14863" y="1701"/>
                </a:cubicBezTo>
                <a:lnTo>
                  <a:pt x="14900" y="1701"/>
                </a:lnTo>
                <a:cubicBezTo>
                  <a:pt x="15380" y="1664"/>
                  <a:pt x="15565" y="1701"/>
                  <a:pt x="16009" y="1701"/>
                </a:cubicBezTo>
                <a:lnTo>
                  <a:pt x="16452" y="1701"/>
                </a:lnTo>
                <a:cubicBezTo>
                  <a:pt x="16711" y="1701"/>
                  <a:pt x="16896" y="1738"/>
                  <a:pt x="17081" y="1886"/>
                </a:cubicBezTo>
                <a:cubicBezTo>
                  <a:pt x="17229" y="1886"/>
                  <a:pt x="17303" y="1738"/>
                  <a:pt x="17450" y="1849"/>
                </a:cubicBezTo>
                <a:cubicBezTo>
                  <a:pt x="17968" y="2108"/>
                  <a:pt x="18523" y="2071"/>
                  <a:pt x="19225" y="2256"/>
                </a:cubicBezTo>
                <a:lnTo>
                  <a:pt x="19299" y="2292"/>
                </a:lnTo>
                <a:cubicBezTo>
                  <a:pt x="19484" y="2329"/>
                  <a:pt x="19669" y="2403"/>
                  <a:pt x="19891" y="2477"/>
                </a:cubicBezTo>
                <a:cubicBezTo>
                  <a:pt x="20186" y="2662"/>
                  <a:pt x="20519" y="2625"/>
                  <a:pt x="20926" y="2810"/>
                </a:cubicBezTo>
                <a:lnTo>
                  <a:pt x="21628" y="3069"/>
                </a:lnTo>
                <a:lnTo>
                  <a:pt x="21702" y="3143"/>
                </a:lnTo>
                <a:lnTo>
                  <a:pt x="22035" y="3254"/>
                </a:lnTo>
                <a:cubicBezTo>
                  <a:pt x="22220" y="3365"/>
                  <a:pt x="22368" y="3402"/>
                  <a:pt x="22552" y="3513"/>
                </a:cubicBezTo>
                <a:cubicBezTo>
                  <a:pt x="22737" y="3586"/>
                  <a:pt x="22811" y="3623"/>
                  <a:pt x="23033" y="3771"/>
                </a:cubicBezTo>
                <a:cubicBezTo>
                  <a:pt x="23329" y="3919"/>
                  <a:pt x="23588" y="3919"/>
                  <a:pt x="23846" y="4178"/>
                </a:cubicBezTo>
                <a:cubicBezTo>
                  <a:pt x="24031" y="4252"/>
                  <a:pt x="24142" y="4548"/>
                  <a:pt x="24327" y="4474"/>
                </a:cubicBezTo>
                <a:lnTo>
                  <a:pt x="24401" y="4511"/>
                </a:lnTo>
                <a:cubicBezTo>
                  <a:pt x="24327" y="4622"/>
                  <a:pt x="24401" y="4659"/>
                  <a:pt x="24438" y="4696"/>
                </a:cubicBezTo>
                <a:cubicBezTo>
                  <a:pt x="24660" y="4659"/>
                  <a:pt x="24808" y="5065"/>
                  <a:pt x="25029" y="4991"/>
                </a:cubicBezTo>
                <a:cubicBezTo>
                  <a:pt x="24993" y="5102"/>
                  <a:pt x="25066" y="5176"/>
                  <a:pt x="25177" y="5250"/>
                </a:cubicBezTo>
                <a:cubicBezTo>
                  <a:pt x="25251" y="5361"/>
                  <a:pt x="25140" y="5435"/>
                  <a:pt x="25325" y="5398"/>
                </a:cubicBezTo>
                <a:lnTo>
                  <a:pt x="25547" y="5620"/>
                </a:lnTo>
                <a:cubicBezTo>
                  <a:pt x="25584" y="5731"/>
                  <a:pt x="25695" y="5620"/>
                  <a:pt x="25732" y="5731"/>
                </a:cubicBezTo>
                <a:lnTo>
                  <a:pt x="26065" y="6100"/>
                </a:lnTo>
                <a:lnTo>
                  <a:pt x="26102" y="6137"/>
                </a:lnTo>
                <a:cubicBezTo>
                  <a:pt x="26250" y="6285"/>
                  <a:pt x="26176" y="6655"/>
                  <a:pt x="26508" y="6507"/>
                </a:cubicBezTo>
                <a:cubicBezTo>
                  <a:pt x="26508" y="6581"/>
                  <a:pt x="26508" y="6692"/>
                  <a:pt x="26619" y="6766"/>
                </a:cubicBezTo>
                <a:cubicBezTo>
                  <a:pt x="26730" y="6914"/>
                  <a:pt x="26841" y="7247"/>
                  <a:pt x="27026" y="7247"/>
                </a:cubicBezTo>
                <a:cubicBezTo>
                  <a:pt x="27100" y="7653"/>
                  <a:pt x="27396" y="7949"/>
                  <a:pt x="27580" y="8060"/>
                </a:cubicBezTo>
                <a:cubicBezTo>
                  <a:pt x="27654" y="8208"/>
                  <a:pt x="27765" y="8319"/>
                  <a:pt x="27654" y="8430"/>
                </a:cubicBezTo>
                <a:cubicBezTo>
                  <a:pt x="27765" y="8578"/>
                  <a:pt x="27802" y="8725"/>
                  <a:pt x="27913" y="8725"/>
                </a:cubicBezTo>
                <a:cubicBezTo>
                  <a:pt x="27765" y="8910"/>
                  <a:pt x="28098" y="9132"/>
                  <a:pt x="28135" y="9132"/>
                </a:cubicBezTo>
                <a:cubicBezTo>
                  <a:pt x="28357" y="9613"/>
                  <a:pt x="28542" y="10056"/>
                  <a:pt x="28764" y="10352"/>
                </a:cubicBezTo>
                <a:cubicBezTo>
                  <a:pt x="28837" y="10426"/>
                  <a:pt x="28727" y="10463"/>
                  <a:pt x="28764" y="10574"/>
                </a:cubicBezTo>
                <a:lnTo>
                  <a:pt x="28874" y="10537"/>
                </a:lnTo>
                <a:lnTo>
                  <a:pt x="29133" y="11202"/>
                </a:lnTo>
                <a:cubicBezTo>
                  <a:pt x="29244" y="11498"/>
                  <a:pt x="29281" y="11831"/>
                  <a:pt x="29466" y="12016"/>
                </a:cubicBezTo>
                <a:cubicBezTo>
                  <a:pt x="29577" y="12238"/>
                  <a:pt x="29614" y="12496"/>
                  <a:pt x="29651" y="12792"/>
                </a:cubicBezTo>
                <a:lnTo>
                  <a:pt x="29688" y="12940"/>
                </a:lnTo>
                <a:cubicBezTo>
                  <a:pt x="29799" y="13199"/>
                  <a:pt x="29762" y="13606"/>
                  <a:pt x="29947" y="13790"/>
                </a:cubicBezTo>
                <a:lnTo>
                  <a:pt x="29984" y="14160"/>
                </a:lnTo>
                <a:cubicBezTo>
                  <a:pt x="30058" y="14345"/>
                  <a:pt x="29984" y="14715"/>
                  <a:pt x="30131" y="14863"/>
                </a:cubicBezTo>
                <a:lnTo>
                  <a:pt x="30168" y="15343"/>
                </a:lnTo>
                <a:cubicBezTo>
                  <a:pt x="30205" y="15454"/>
                  <a:pt x="30131" y="15787"/>
                  <a:pt x="30242" y="15824"/>
                </a:cubicBezTo>
                <a:cubicBezTo>
                  <a:pt x="30168" y="16083"/>
                  <a:pt x="30316" y="16489"/>
                  <a:pt x="30242" y="16859"/>
                </a:cubicBezTo>
                <a:cubicBezTo>
                  <a:pt x="30316" y="16933"/>
                  <a:pt x="30168" y="17118"/>
                  <a:pt x="30316" y="17118"/>
                </a:cubicBezTo>
                <a:lnTo>
                  <a:pt x="30242" y="17487"/>
                </a:lnTo>
                <a:cubicBezTo>
                  <a:pt x="30242" y="17561"/>
                  <a:pt x="30242" y="17598"/>
                  <a:pt x="30316" y="17598"/>
                </a:cubicBezTo>
                <a:cubicBezTo>
                  <a:pt x="30168" y="17672"/>
                  <a:pt x="30353" y="17931"/>
                  <a:pt x="30242" y="18153"/>
                </a:cubicBezTo>
                <a:cubicBezTo>
                  <a:pt x="30168" y="18523"/>
                  <a:pt x="30353" y="18523"/>
                  <a:pt x="30205" y="18781"/>
                </a:cubicBezTo>
                <a:cubicBezTo>
                  <a:pt x="30168" y="19151"/>
                  <a:pt x="30058" y="19595"/>
                  <a:pt x="30021" y="20038"/>
                </a:cubicBezTo>
                <a:lnTo>
                  <a:pt x="29947" y="20334"/>
                </a:lnTo>
                <a:cubicBezTo>
                  <a:pt x="29836" y="20556"/>
                  <a:pt x="29799" y="20778"/>
                  <a:pt x="29762" y="21000"/>
                </a:cubicBezTo>
                <a:cubicBezTo>
                  <a:pt x="29688" y="21258"/>
                  <a:pt x="29503" y="21517"/>
                  <a:pt x="29503" y="21702"/>
                </a:cubicBezTo>
                <a:cubicBezTo>
                  <a:pt x="29466" y="21887"/>
                  <a:pt x="29281" y="22109"/>
                  <a:pt x="29318" y="22220"/>
                </a:cubicBezTo>
                <a:cubicBezTo>
                  <a:pt x="28874" y="23107"/>
                  <a:pt x="28394" y="23883"/>
                  <a:pt x="27802" y="24660"/>
                </a:cubicBezTo>
                <a:lnTo>
                  <a:pt x="27765" y="24697"/>
                </a:lnTo>
                <a:cubicBezTo>
                  <a:pt x="27396" y="25214"/>
                  <a:pt x="26989" y="25695"/>
                  <a:pt x="26508" y="26139"/>
                </a:cubicBezTo>
                <a:lnTo>
                  <a:pt x="26471" y="26176"/>
                </a:lnTo>
                <a:cubicBezTo>
                  <a:pt x="26139" y="26508"/>
                  <a:pt x="25806" y="26841"/>
                  <a:pt x="25510" y="27100"/>
                </a:cubicBezTo>
                <a:cubicBezTo>
                  <a:pt x="25436" y="27211"/>
                  <a:pt x="25325" y="27285"/>
                  <a:pt x="25214" y="27396"/>
                </a:cubicBezTo>
                <a:lnTo>
                  <a:pt x="24105" y="28320"/>
                </a:lnTo>
                <a:lnTo>
                  <a:pt x="23883" y="28505"/>
                </a:lnTo>
                <a:lnTo>
                  <a:pt x="23883" y="28505"/>
                </a:lnTo>
                <a:cubicBezTo>
                  <a:pt x="23846" y="28542"/>
                  <a:pt x="23772" y="28542"/>
                  <a:pt x="23772" y="28542"/>
                </a:cubicBezTo>
                <a:lnTo>
                  <a:pt x="23846" y="28505"/>
                </a:lnTo>
                <a:lnTo>
                  <a:pt x="23846" y="28505"/>
                </a:lnTo>
                <a:lnTo>
                  <a:pt x="23883" y="28468"/>
                </a:lnTo>
                <a:lnTo>
                  <a:pt x="23920" y="28394"/>
                </a:lnTo>
                <a:cubicBezTo>
                  <a:pt x="23957" y="28357"/>
                  <a:pt x="24031" y="28357"/>
                  <a:pt x="24068" y="28320"/>
                </a:cubicBezTo>
                <a:lnTo>
                  <a:pt x="24105" y="28283"/>
                </a:lnTo>
                <a:cubicBezTo>
                  <a:pt x="24771" y="27802"/>
                  <a:pt x="25325" y="27433"/>
                  <a:pt x="25991" y="26841"/>
                </a:cubicBezTo>
                <a:lnTo>
                  <a:pt x="26065" y="26804"/>
                </a:lnTo>
                <a:cubicBezTo>
                  <a:pt x="26360" y="26508"/>
                  <a:pt x="26730" y="26139"/>
                  <a:pt x="26915" y="25991"/>
                </a:cubicBezTo>
                <a:lnTo>
                  <a:pt x="27026" y="25917"/>
                </a:lnTo>
                <a:lnTo>
                  <a:pt x="27396" y="25547"/>
                </a:lnTo>
                <a:cubicBezTo>
                  <a:pt x="28098" y="24808"/>
                  <a:pt x="28542" y="24105"/>
                  <a:pt x="29133" y="23292"/>
                </a:cubicBezTo>
                <a:lnTo>
                  <a:pt x="29207" y="23218"/>
                </a:lnTo>
                <a:lnTo>
                  <a:pt x="29466" y="22811"/>
                </a:lnTo>
                <a:lnTo>
                  <a:pt x="29577" y="22663"/>
                </a:lnTo>
                <a:cubicBezTo>
                  <a:pt x="29614" y="22478"/>
                  <a:pt x="29614" y="22478"/>
                  <a:pt x="29762" y="22405"/>
                </a:cubicBezTo>
                <a:lnTo>
                  <a:pt x="29799" y="22294"/>
                </a:lnTo>
                <a:cubicBezTo>
                  <a:pt x="29873" y="21998"/>
                  <a:pt x="30131" y="21443"/>
                  <a:pt x="30242" y="21185"/>
                </a:cubicBezTo>
                <a:lnTo>
                  <a:pt x="30242" y="21148"/>
                </a:lnTo>
                <a:cubicBezTo>
                  <a:pt x="30242" y="20926"/>
                  <a:pt x="30427" y="20556"/>
                  <a:pt x="30538" y="20260"/>
                </a:cubicBezTo>
                <a:cubicBezTo>
                  <a:pt x="30538" y="20038"/>
                  <a:pt x="30760" y="19632"/>
                  <a:pt x="30723" y="19410"/>
                </a:cubicBezTo>
                <a:lnTo>
                  <a:pt x="30871" y="18892"/>
                </a:lnTo>
                <a:cubicBezTo>
                  <a:pt x="30797" y="18338"/>
                  <a:pt x="31056" y="18153"/>
                  <a:pt x="30945" y="18005"/>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7" name="Google Shape;2144;p51">
            <a:extLst>
              <a:ext uri="{FF2B5EF4-FFF2-40B4-BE49-F238E27FC236}">
                <a16:creationId xmlns:a16="http://schemas.microsoft.com/office/drawing/2014/main" id="{C777C574-BD59-329F-71A0-5A1A6E326641}"/>
              </a:ext>
            </a:extLst>
          </p:cNvPr>
          <p:cNvGrpSpPr/>
          <p:nvPr/>
        </p:nvGrpSpPr>
        <p:grpSpPr>
          <a:xfrm rot="1530712">
            <a:off x="11198165" y="2852703"/>
            <a:ext cx="231080" cy="224357"/>
            <a:chOff x="3745566" y="4026608"/>
            <a:chExt cx="173309" cy="168267"/>
          </a:xfrm>
        </p:grpSpPr>
        <p:sp>
          <p:nvSpPr>
            <p:cNvPr id="8" name="Google Shape;2145;p51">
              <a:extLst>
                <a:ext uri="{FF2B5EF4-FFF2-40B4-BE49-F238E27FC236}">
                  <a16:creationId xmlns:a16="http://schemas.microsoft.com/office/drawing/2014/main" id="{20008B20-8B97-16DF-A7F4-4760E7609D63}"/>
                </a:ext>
              </a:extLst>
            </p:cNvPr>
            <p:cNvSpPr/>
            <p:nvPr/>
          </p:nvSpPr>
          <p:spPr>
            <a:xfrm rot="-2700000">
              <a:off x="3757600" y="4118750"/>
              <a:ext cx="39625" cy="50450"/>
            </a:xfrm>
            <a:custGeom>
              <a:avLst/>
              <a:gdLst/>
              <a:ahLst/>
              <a:cxnLst/>
              <a:rect l="l" t="t" r="r" b="b"/>
              <a:pathLst>
                <a:path w="1585" h="2018" extrusionOk="0">
                  <a:moveTo>
                    <a:pt x="1025" y="0"/>
                  </a:moveTo>
                  <a:cubicBezTo>
                    <a:pt x="904" y="0"/>
                    <a:pt x="784" y="58"/>
                    <a:pt x="706" y="195"/>
                  </a:cubicBezTo>
                  <a:cubicBezTo>
                    <a:pt x="453" y="598"/>
                    <a:pt x="258" y="1046"/>
                    <a:pt x="109" y="1524"/>
                  </a:cubicBezTo>
                  <a:cubicBezTo>
                    <a:pt x="0" y="1823"/>
                    <a:pt x="249" y="2018"/>
                    <a:pt x="498" y="2018"/>
                  </a:cubicBezTo>
                  <a:cubicBezTo>
                    <a:pt x="659" y="2018"/>
                    <a:pt x="821" y="1936"/>
                    <a:pt x="886" y="1748"/>
                  </a:cubicBezTo>
                  <a:cubicBezTo>
                    <a:pt x="1020" y="1345"/>
                    <a:pt x="1184" y="971"/>
                    <a:pt x="1408" y="628"/>
                  </a:cubicBezTo>
                  <a:cubicBezTo>
                    <a:pt x="1585" y="296"/>
                    <a:pt x="1300" y="0"/>
                    <a:pt x="1025"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 name="Google Shape;2146;p51">
              <a:extLst>
                <a:ext uri="{FF2B5EF4-FFF2-40B4-BE49-F238E27FC236}">
                  <a16:creationId xmlns:a16="http://schemas.microsoft.com/office/drawing/2014/main" id="{AAB78066-1DD3-8AF2-AB64-0AD5696390FB}"/>
                </a:ext>
              </a:extLst>
            </p:cNvPr>
            <p:cNvSpPr/>
            <p:nvPr/>
          </p:nvSpPr>
          <p:spPr>
            <a:xfrm rot="-833920">
              <a:off x="3806913" y="4030549"/>
              <a:ext cx="45174" cy="101373"/>
            </a:xfrm>
            <a:custGeom>
              <a:avLst/>
              <a:gdLst/>
              <a:ahLst/>
              <a:cxnLst/>
              <a:rect l="l" t="t" r="r" b="b"/>
              <a:pathLst>
                <a:path w="1807" h="4055" extrusionOk="0">
                  <a:moveTo>
                    <a:pt x="1309" y="1"/>
                  </a:moveTo>
                  <a:cubicBezTo>
                    <a:pt x="1150" y="1"/>
                    <a:pt x="996" y="91"/>
                    <a:pt x="949" y="299"/>
                  </a:cubicBezTo>
                  <a:cubicBezTo>
                    <a:pt x="665" y="1389"/>
                    <a:pt x="381" y="2464"/>
                    <a:pt x="83" y="3555"/>
                  </a:cubicBezTo>
                  <a:cubicBezTo>
                    <a:pt x="1" y="3854"/>
                    <a:pt x="262" y="4055"/>
                    <a:pt x="509" y="4055"/>
                  </a:cubicBezTo>
                  <a:cubicBezTo>
                    <a:pt x="668" y="4055"/>
                    <a:pt x="822" y="3972"/>
                    <a:pt x="874" y="3779"/>
                  </a:cubicBezTo>
                  <a:cubicBezTo>
                    <a:pt x="1143" y="2688"/>
                    <a:pt x="1427" y="1613"/>
                    <a:pt x="1726" y="523"/>
                  </a:cubicBezTo>
                  <a:cubicBezTo>
                    <a:pt x="1807" y="208"/>
                    <a:pt x="1551" y="1"/>
                    <a:pt x="1309"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 name="Google Shape;2147;p51">
              <a:extLst>
                <a:ext uri="{FF2B5EF4-FFF2-40B4-BE49-F238E27FC236}">
                  <a16:creationId xmlns:a16="http://schemas.microsoft.com/office/drawing/2014/main" id="{72C326DF-1905-4712-E174-0A1DE056619C}"/>
                </a:ext>
              </a:extLst>
            </p:cNvPr>
            <p:cNvSpPr/>
            <p:nvPr/>
          </p:nvSpPr>
          <p:spPr>
            <a:xfrm>
              <a:off x="3863600" y="4093075"/>
              <a:ext cx="55275" cy="101800"/>
            </a:xfrm>
            <a:custGeom>
              <a:avLst/>
              <a:gdLst/>
              <a:ahLst/>
              <a:cxnLst/>
              <a:rect l="l" t="t" r="r" b="b"/>
              <a:pathLst>
                <a:path w="2211" h="4072" extrusionOk="0">
                  <a:moveTo>
                    <a:pt x="1721" y="1"/>
                  </a:moveTo>
                  <a:cubicBezTo>
                    <a:pt x="1561" y="1"/>
                    <a:pt x="1400" y="86"/>
                    <a:pt x="1335" y="281"/>
                  </a:cubicBezTo>
                  <a:cubicBezTo>
                    <a:pt x="916" y="1372"/>
                    <a:pt x="528" y="2477"/>
                    <a:pt x="110" y="3582"/>
                  </a:cubicBezTo>
                  <a:cubicBezTo>
                    <a:pt x="0" y="3874"/>
                    <a:pt x="259" y="4072"/>
                    <a:pt x="514" y="4072"/>
                  </a:cubicBezTo>
                  <a:cubicBezTo>
                    <a:pt x="677" y="4072"/>
                    <a:pt x="838" y="3992"/>
                    <a:pt x="901" y="3806"/>
                  </a:cubicBezTo>
                  <a:cubicBezTo>
                    <a:pt x="1305" y="2701"/>
                    <a:pt x="1708" y="1596"/>
                    <a:pt x="2111" y="505"/>
                  </a:cubicBezTo>
                  <a:cubicBezTo>
                    <a:pt x="2210" y="199"/>
                    <a:pt x="1966" y="1"/>
                    <a:pt x="1721"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14" name="Google Shape;2103;p51">
            <a:extLst>
              <a:ext uri="{FF2B5EF4-FFF2-40B4-BE49-F238E27FC236}">
                <a16:creationId xmlns:a16="http://schemas.microsoft.com/office/drawing/2014/main" id="{D1C321E4-6509-F7CC-3FB9-5462B088E954}"/>
              </a:ext>
            </a:extLst>
          </p:cNvPr>
          <p:cNvSpPr txBox="1">
            <a:spLocks/>
          </p:cNvSpPr>
          <p:nvPr/>
        </p:nvSpPr>
        <p:spPr>
          <a:xfrm flipH="1">
            <a:off x="9460351" y="4871862"/>
            <a:ext cx="2574400" cy="1296800"/>
          </a:xfrm>
          <a:prstGeom prst="rect">
            <a:avLst/>
          </a:prstGeom>
          <a:noFill/>
          <a:ln>
            <a:noFill/>
          </a:ln>
        </p:spPr>
        <p:txBody>
          <a:bodyPr spcFirstLastPara="1" wrap="square" lIns="121900" tIns="121900" rIns="121900" bIns="121900" anchor="t" anchorCtr="0">
            <a:normAutofit/>
          </a:bodyPr>
          <a:lstStyle>
            <a:defPPr marR="0" lvl="0" algn="l" rtl="0">
              <a:lnSpc>
                <a:spcPct val="100000"/>
              </a:lnSpc>
              <a:spcBef>
                <a:spcPts val="0"/>
              </a:spcBef>
              <a:spcAft>
                <a:spcPts val="0"/>
              </a:spcAft>
            </a:defPPr>
            <a:lvl1pPr marL="457200" marR="0" lvl="0" indent="-330200" algn="ctr" rtl="0">
              <a:lnSpc>
                <a:spcPct val="100000"/>
              </a:lnSpc>
              <a:spcBef>
                <a:spcPts val="0"/>
              </a:spcBef>
              <a:spcAft>
                <a:spcPts val="0"/>
              </a:spcAft>
              <a:buClr>
                <a:schemeClr val="dk2"/>
              </a:buClr>
              <a:buSzPts val="1200"/>
              <a:buFont typeface="Questrial"/>
              <a:buNone/>
              <a:defRPr sz="1400" b="0" i="0" u="none" strike="noStrike" cap="none">
                <a:solidFill>
                  <a:schemeClr val="dk2"/>
                </a:solidFill>
                <a:latin typeface="Questrial"/>
                <a:ea typeface="Questrial"/>
                <a:cs typeface="Questrial"/>
                <a:sym typeface="Questrial"/>
              </a:defRPr>
            </a:lvl1pPr>
            <a:lvl2pPr marL="914400" marR="0" lvl="1"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2pPr>
            <a:lvl3pPr marL="1371600" marR="0" lvl="2"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3pPr>
            <a:lvl4pPr marL="1828800" marR="0" lvl="3"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4pPr>
            <a:lvl5pPr marL="2286000" marR="0" lvl="4"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5pPr>
            <a:lvl6pPr marL="2743200" marR="0" lvl="5"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6pPr>
            <a:lvl7pPr marL="3200400" marR="0" lvl="6"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7pPr>
            <a:lvl8pPr marL="3657600" marR="0" lvl="7"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8pPr>
            <a:lvl9pPr marL="4114800" marR="0" lvl="8" indent="-330200" algn="ctr" rtl="0">
              <a:lnSpc>
                <a:spcPct val="100000"/>
              </a:lnSpc>
              <a:spcBef>
                <a:spcPts val="0"/>
              </a:spcBef>
              <a:spcAft>
                <a:spcPts val="0"/>
              </a:spcAft>
              <a:buClr>
                <a:schemeClr val="dk2"/>
              </a:buClr>
              <a:buSzPts val="1000"/>
              <a:buFont typeface="Questrial"/>
              <a:buNone/>
              <a:defRPr sz="1000" b="0" i="0" u="none" strike="noStrike" cap="none">
                <a:solidFill>
                  <a:schemeClr val="dk2"/>
                </a:solidFill>
                <a:latin typeface="Questrial"/>
                <a:ea typeface="Questrial"/>
                <a:cs typeface="Questrial"/>
                <a:sym typeface="Questrial"/>
              </a:defRPr>
            </a:lvl9pPr>
          </a:lstStyle>
          <a:p>
            <a:pPr marL="0" marR="0" lvl="0" indent="0" algn="ctr" defTabSz="1219170" rtl="0" eaLnBrk="1" fontAlgn="auto" latinLnBrk="0" hangingPunct="1">
              <a:lnSpc>
                <a:spcPct val="100000"/>
              </a:lnSpc>
              <a:spcBef>
                <a:spcPts val="0"/>
              </a:spcBef>
              <a:spcAft>
                <a:spcPts val="0"/>
              </a:spcAft>
              <a:buClr>
                <a:srgbClr val="FFFFFF"/>
              </a:buClr>
              <a:buSzPts val="1200"/>
              <a:buFont typeface="Questrial"/>
              <a:buNone/>
              <a:tabLst/>
              <a:defRPr/>
            </a:pPr>
            <a:r>
              <a:rPr kumimoji="0" lang="pt-BR" sz="1867" b="0" i="0" u="none" strike="noStrike" kern="0" cap="none" spc="0" normalizeH="0" baseline="0" noProof="0" dirty="0">
                <a:ln>
                  <a:noFill/>
                </a:ln>
                <a:solidFill>
                  <a:srgbClr val="FFFFFF"/>
                </a:solidFill>
                <a:effectLst/>
                <a:uLnTx/>
                <a:uFillTx/>
                <a:latin typeface="Questrial"/>
                <a:ea typeface="Questrial"/>
                <a:cs typeface="Questrial"/>
                <a:sym typeface="Questrial"/>
              </a:rPr>
              <a:t>BCA </a:t>
            </a:r>
          </a:p>
          <a:p>
            <a:pPr marL="0" marR="0" lvl="0" indent="0" algn="ctr" defTabSz="1219170" rtl="0" eaLnBrk="1" fontAlgn="auto" latinLnBrk="0" hangingPunct="1">
              <a:lnSpc>
                <a:spcPct val="100000"/>
              </a:lnSpc>
              <a:spcBef>
                <a:spcPts val="0"/>
              </a:spcBef>
              <a:spcAft>
                <a:spcPts val="0"/>
              </a:spcAft>
              <a:buClr>
                <a:srgbClr val="FFFFFF"/>
              </a:buClr>
              <a:buSzPts val="1200"/>
              <a:buFont typeface="Questrial"/>
              <a:buNone/>
              <a:tabLst/>
              <a:defRPr/>
            </a:pPr>
            <a:r>
              <a:rPr lang="pt-BR" sz="1867" kern="0" dirty="0">
                <a:solidFill>
                  <a:srgbClr val="FFFFFF"/>
                </a:solidFill>
              </a:rPr>
              <a:t>3</a:t>
            </a:r>
            <a:r>
              <a:rPr kumimoji="0" lang="pt-BR" sz="1867" b="0" i="0" u="none" strike="noStrike" kern="0" cap="none" spc="0" normalizeH="0" baseline="0" noProof="0" dirty="0">
                <a:ln>
                  <a:noFill/>
                </a:ln>
                <a:solidFill>
                  <a:srgbClr val="FFFFFF"/>
                </a:solidFill>
                <a:effectLst/>
                <a:uLnTx/>
                <a:uFillTx/>
                <a:latin typeface="Questrial"/>
                <a:ea typeface="Questrial"/>
                <a:cs typeface="Questrial"/>
                <a:sym typeface="Questrial"/>
              </a:rPr>
              <a:t> SEM</a:t>
            </a:r>
          </a:p>
          <a:p>
            <a:pPr marL="0" marR="0" lvl="0" indent="0" algn="ctr" defTabSz="1219170" rtl="0" eaLnBrk="1" fontAlgn="auto" latinLnBrk="0" hangingPunct="1">
              <a:lnSpc>
                <a:spcPct val="100000"/>
              </a:lnSpc>
              <a:spcBef>
                <a:spcPts val="0"/>
              </a:spcBef>
              <a:spcAft>
                <a:spcPts val="0"/>
              </a:spcAft>
              <a:buClr>
                <a:srgbClr val="FFFFFF"/>
              </a:buClr>
              <a:buSzPts val="1200"/>
              <a:buFont typeface="Questrial"/>
              <a:buNone/>
              <a:tabLst/>
              <a:defRPr/>
            </a:pPr>
            <a:r>
              <a:rPr kumimoji="0" lang="pt-BR" sz="1867" b="0" i="0" u="none" strike="noStrike" kern="0" cap="none" spc="0" normalizeH="0" baseline="0" noProof="0" dirty="0">
                <a:ln>
                  <a:noFill/>
                </a:ln>
                <a:solidFill>
                  <a:srgbClr val="FFFFFF"/>
                </a:solidFill>
                <a:effectLst/>
                <a:uLnTx/>
                <a:uFillTx/>
                <a:latin typeface="Questrial"/>
                <a:ea typeface="Questrial"/>
                <a:cs typeface="Questrial"/>
                <a:sym typeface="Questrial"/>
              </a:rPr>
              <a:t>SEC </a:t>
            </a:r>
            <a:r>
              <a:rPr lang="pt-BR" sz="1867" kern="0" dirty="0">
                <a:solidFill>
                  <a:srgbClr val="FFFFFF"/>
                </a:solidFill>
              </a:rPr>
              <a:t>A</a:t>
            </a:r>
            <a:endParaRPr kumimoji="0" lang="pt-BR" sz="1867" b="0" i="0" u="none" strike="noStrike" kern="0" cap="none" spc="0" normalizeH="0" baseline="0" noProof="0" dirty="0">
              <a:ln>
                <a:noFill/>
              </a:ln>
              <a:solidFill>
                <a:srgbClr val="FFFFFF"/>
              </a:solidFill>
              <a:effectLst/>
              <a:uLnTx/>
              <a:uFillTx/>
              <a:latin typeface="Questrial"/>
              <a:ea typeface="Questrial"/>
              <a:cs typeface="Questrial"/>
              <a:sym typeface="Questrial"/>
            </a:endParaRPr>
          </a:p>
        </p:txBody>
      </p:sp>
      <p:pic>
        <p:nvPicPr>
          <p:cNvPr id="15" name="Picture 14">
            <a:extLst>
              <a:ext uri="{FF2B5EF4-FFF2-40B4-BE49-F238E27FC236}">
                <a16:creationId xmlns:a16="http://schemas.microsoft.com/office/drawing/2014/main" id="{029BE87F-7668-CFB5-692B-4434A6B69F5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819879" y="2218059"/>
            <a:ext cx="1947673" cy="1947673"/>
          </a:xfrm>
          <a:prstGeom prst="ellipse">
            <a:avLst/>
          </a:prstGeom>
        </p:spPr>
      </p:pic>
      <p:sp>
        <p:nvSpPr>
          <p:cNvPr id="16" name="Google Shape;2104;p51">
            <a:extLst>
              <a:ext uri="{FF2B5EF4-FFF2-40B4-BE49-F238E27FC236}">
                <a16:creationId xmlns:a16="http://schemas.microsoft.com/office/drawing/2014/main" id="{5CBBA74C-A345-FB40-A4BF-42FDC57816EF}"/>
              </a:ext>
            </a:extLst>
          </p:cNvPr>
          <p:cNvSpPr txBox="1">
            <a:spLocks/>
          </p:cNvSpPr>
          <p:nvPr/>
        </p:nvSpPr>
        <p:spPr>
          <a:xfrm flipH="1">
            <a:off x="9332476" y="4101588"/>
            <a:ext cx="3086319" cy="859357"/>
          </a:xfrm>
          <a:prstGeom prst="rect">
            <a:avLst/>
          </a:prstGeom>
          <a:noFill/>
          <a:ln>
            <a:noFill/>
          </a:ln>
        </p:spPr>
        <p:txBody>
          <a:bodyPr spcFirstLastPara="1" wrap="square" lIns="121900" tIns="121900" rIns="121900" bIns="121900" anchor="b" anchorCtr="0">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2"/>
              </a:buClr>
              <a:buSzPts val="1700"/>
              <a:buFont typeface="Gaegu"/>
              <a:buNone/>
              <a:defRPr sz="2933" b="1" i="0" u="none" strike="noStrike" cap="none">
                <a:solidFill>
                  <a:schemeClr val="dk2"/>
                </a:solidFill>
                <a:latin typeface="Gaegu"/>
                <a:ea typeface="Gaegu"/>
                <a:cs typeface="Gaegu"/>
                <a:sym typeface="Gaegu"/>
              </a:defRPr>
            </a:lvl1pPr>
            <a:lvl2pPr marR="0" lvl="1" algn="ctr" rtl="0">
              <a:lnSpc>
                <a:spcPct val="100000"/>
              </a:lnSpc>
              <a:spcBef>
                <a:spcPts val="0"/>
              </a:spcBef>
              <a:spcAft>
                <a:spcPts val="0"/>
              </a:spcAft>
              <a:buClr>
                <a:schemeClr val="dk2"/>
              </a:buClr>
              <a:buSzPts val="1800"/>
              <a:buFont typeface="Gaegu"/>
              <a:buNone/>
              <a:defRPr sz="2400" b="1" i="0" u="none" strike="noStrike" cap="none">
                <a:solidFill>
                  <a:schemeClr val="dk2"/>
                </a:solidFill>
                <a:latin typeface="Gaegu"/>
                <a:ea typeface="Gaegu"/>
                <a:cs typeface="Gaegu"/>
                <a:sym typeface="Gaegu"/>
              </a:defRPr>
            </a:lvl2pPr>
            <a:lvl3pPr marR="0" lvl="2" algn="ctr" rtl="0">
              <a:lnSpc>
                <a:spcPct val="100000"/>
              </a:lnSpc>
              <a:spcBef>
                <a:spcPts val="0"/>
              </a:spcBef>
              <a:spcAft>
                <a:spcPts val="0"/>
              </a:spcAft>
              <a:buClr>
                <a:schemeClr val="dk2"/>
              </a:buClr>
              <a:buSzPts val="1800"/>
              <a:buFont typeface="Gaegu"/>
              <a:buNone/>
              <a:defRPr sz="2400" b="1" i="0" u="none" strike="noStrike" cap="none">
                <a:solidFill>
                  <a:schemeClr val="dk2"/>
                </a:solidFill>
                <a:latin typeface="Gaegu"/>
                <a:ea typeface="Gaegu"/>
                <a:cs typeface="Gaegu"/>
                <a:sym typeface="Gaegu"/>
              </a:defRPr>
            </a:lvl3pPr>
            <a:lvl4pPr marR="0" lvl="3" algn="ctr" rtl="0">
              <a:lnSpc>
                <a:spcPct val="100000"/>
              </a:lnSpc>
              <a:spcBef>
                <a:spcPts val="0"/>
              </a:spcBef>
              <a:spcAft>
                <a:spcPts val="0"/>
              </a:spcAft>
              <a:buClr>
                <a:schemeClr val="dk2"/>
              </a:buClr>
              <a:buSzPts val="1800"/>
              <a:buFont typeface="Gaegu"/>
              <a:buNone/>
              <a:defRPr sz="2400" b="1" i="0" u="none" strike="noStrike" cap="none">
                <a:solidFill>
                  <a:schemeClr val="dk2"/>
                </a:solidFill>
                <a:latin typeface="Gaegu"/>
                <a:ea typeface="Gaegu"/>
                <a:cs typeface="Gaegu"/>
                <a:sym typeface="Gaegu"/>
              </a:defRPr>
            </a:lvl4pPr>
            <a:lvl5pPr marR="0" lvl="4" algn="ctr" rtl="0">
              <a:lnSpc>
                <a:spcPct val="100000"/>
              </a:lnSpc>
              <a:spcBef>
                <a:spcPts val="0"/>
              </a:spcBef>
              <a:spcAft>
                <a:spcPts val="0"/>
              </a:spcAft>
              <a:buClr>
                <a:schemeClr val="dk2"/>
              </a:buClr>
              <a:buSzPts val="1800"/>
              <a:buFont typeface="Gaegu"/>
              <a:buNone/>
              <a:defRPr sz="2400" b="1" i="0" u="none" strike="noStrike" cap="none">
                <a:solidFill>
                  <a:schemeClr val="dk2"/>
                </a:solidFill>
                <a:latin typeface="Gaegu"/>
                <a:ea typeface="Gaegu"/>
                <a:cs typeface="Gaegu"/>
                <a:sym typeface="Gaegu"/>
              </a:defRPr>
            </a:lvl5pPr>
            <a:lvl6pPr marR="0" lvl="5" algn="ctr" rtl="0">
              <a:lnSpc>
                <a:spcPct val="100000"/>
              </a:lnSpc>
              <a:spcBef>
                <a:spcPts val="0"/>
              </a:spcBef>
              <a:spcAft>
                <a:spcPts val="0"/>
              </a:spcAft>
              <a:buClr>
                <a:schemeClr val="dk2"/>
              </a:buClr>
              <a:buSzPts val="1800"/>
              <a:buFont typeface="Gaegu"/>
              <a:buNone/>
              <a:defRPr sz="2400" b="1" i="0" u="none" strike="noStrike" cap="none">
                <a:solidFill>
                  <a:schemeClr val="dk2"/>
                </a:solidFill>
                <a:latin typeface="Gaegu"/>
                <a:ea typeface="Gaegu"/>
                <a:cs typeface="Gaegu"/>
                <a:sym typeface="Gaegu"/>
              </a:defRPr>
            </a:lvl6pPr>
            <a:lvl7pPr marR="0" lvl="6" algn="ctr" rtl="0">
              <a:lnSpc>
                <a:spcPct val="100000"/>
              </a:lnSpc>
              <a:spcBef>
                <a:spcPts val="0"/>
              </a:spcBef>
              <a:spcAft>
                <a:spcPts val="0"/>
              </a:spcAft>
              <a:buClr>
                <a:schemeClr val="dk2"/>
              </a:buClr>
              <a:buSzPts val="1800"/>
              <a:buFont typeface="Gaegu"/>
              <a:buNone/>
              <a:defRPr sz="2400" b="1" i="0" u="none" strike="noStrike" cap="none">
                <a:solidFill>
                  <a:schemeClr val="dk2"/>
                </a:solidFill>
                <a:latin typeface="Gaegu"/>
                <a:ea typeface="Gaegu"/>
                <a:cs typeface="Gaegu"/>
                <a:sym typeface="Gaegu"/>
              </a:defRPr>
            </a:lvl7pPr>
            <a:lvl8pPr marR="0" lvl="7" algn="ctr" rtl="0">
              <a:lnSpc>
                <a:spcPct val="100000"/>
              </a:lnSpc>
              <a:spcBef>
                <a:spcPts val="0"/>
              </a:spcBef>
              <a:spcAft>
                <a:spcPts val="0"/>
              </a:spcAft>
              <a:buClr>
                <a:schemeClr val="dk2"/>
              </a:buClr>
              <a:buSzPts val="1800"/>
              <a:buFont typeface="Gaegu"/>
              <a:buNone/>
              <a:defRPr sz="2400" b="1" i="0" u="none" strike="noStrike" cap="none">
                <a:solidFill>
                  <a:schemeClr val="dk2"/>
                </a:solidFill>
                <a:latin typeface="Gaegu"/>
                <a:ea typeface="Gaegu"/>
                <a:cs typeface="Gaegu"/>
                <a:sym typeface="Gaegu"/>
              </a:defRPr>
            </a:lvl8pPr>
            <a:lvl9pPr marR="0" lvl="8" algn="ctr" rtl="0">
              <a:lnSpc>
                <a:spcPct val="100000"/>
              </a:lnSpc>
              <a:spcBef>
                <a:spcPts val="0"/>
              </a:spcBef>
              <a:spcAft>
                <a:spcPts val="0"/>
              </a:spcAft>
              <a:buClr>
                <a:schemeClr val="dk2"/>
              </a:buClr>
              <a:buSzPts val="1800"/>
              <a:buFont typeface="Gaegu"/>
              <a:buNone/>
              <a:defRPr sz="2400" b="1" i="0" u="none" strike="noStrike" cap="none">
                <a:solidFill>
                  <a:schemeClr val="dk2"/>
                </a:solidFill>
                <a:latin typeface="Gaegu"/>
                <a:ea typeface="Gaegu"/>
                <a:cs typeface="Gaegu"/>
                <a:sym typeface="Gaegu"/>
              </a:defRPr>
            </a:lvl9pPr>
          </a:lstStyle>
          <a:p>
            <a:r>
              <a:rPr lang="en-US" kern="0" dirty="0"/>
              <a:t>Shivani Yadav</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a:stretch>
            <a:fillRect/>
          </a:stretch>
        </p:blipFill>
        <p:spPr>
          <a:xfrm>
            <a:off x="4824771" y="2167092"/>
            <a:ext cx="7367229" cy="4908417"/>
          </a:xfrm>
          <a:prstGeom prst="rect">
            <a:avLst/>
          </a:prstGeom>
        </p:spPr>
      </p:pic>
      <p:sp>
        <p:nvSpPr>
          <p:cNvPr id="3" name="AutoShape 3"/>
          <p:cNvSpPr/>
          <p:nvPr/>
        </p:nvSpPr>
        <p:spPr>
          <a:xfrm>
            <a:off x="0" y="-17861"/>
            <a:ext cx="4824771" cy="6875861"/>
          </a:xfrm>
          <a:prstGeom prst="rect">
            <a:avLst/>
          </a:prstGeom>
          <a:solidFill>
            <a:srgbClr val="EDECED">
              <a:alpha val="63922"/>
            </a:srgbClr>
          </a:solidFill>
        </p:spPr>
      </p:sp>
      <p:grpSp>
        <p:nvGrpSpPr>
          <p:cNvPr id="4" name="Group 4"/>
          <p:cNvGrpSpPr/>
          <p:nvPr/>
        </p:nvGrpSpPr>
        <p:grpSpPr>
          <a:xfrm>
            <a:off x="298882" y="3242294"/>
            <a:ext cx="1670922" cy="1372586"/>
            <a:chOff x="-9448" y="-115744"/>
            <a:chExt cx="1035847" cy="850900"/>
          </a:xfrm>
        </p:grpSpPr>
        <p:sp>
          <p:nvSpPr>
            <p:cNvPr id="5" name="Freeform 5"/>
            <p:cNvSpPr/>
            <p:nvPr/>
          </p:nvSpPr>
          <p:spPr>
            <a:xfrm>
              <a:off x="-9448" y="37791"/>
              <a:ext cx="1035847" cy="543831"/>
            </a:xfrm>
            <a:custGeom>
              <a:avLst/>
              <a:gdLst/>
              <a:ahLst/>
              <a:cxnLst/>
              <a:rect l="l" t="t" r="r" b="b"/>
              <a:pathLst>
                <a:path w="1035847" h="543831">
                  <a:moveTo>
                    <a:pt x="0" y="0"/>
                  </a:moveTo>
                  <a:lnTo>
                    <a:pt x="1035847" y="0"/>
                  </a:lnTo>
                  <a:lnTo>
                    <a:pt x="1035847" y="543831"/>
                  </a:lnTo>
                  <a:lnTo>
                    <a:pt x="0" y="543831"/>
                  </a:lnTo>
                  <a:close/>
                </a:path>
              </a:pathLst>
            </a:custGeom>
            <a:solidFill>
              <a:srgbClr val="E0D2EF"/>
            </a:solidFill>
          </p:spPr>
        </p:sp>
        <p:sp>
          <p:nvSpPr>
            <p:cNvPr id="6" name="TextBox 6"/>
            <p:cNvSpPr txBox="1"/>
            <p:nvPr/>
          </p:nvSpPr>
          <p:spPr>
            <a:xfrm>
              <a:off x="90123" y="-115744"/>
              <a:ext cx="812800" cy="850900"/>
            </a:xfrm>
            <a:prstGeom prst="rect">
              <a:avLst/>
            </a:prstGeom>
          </p:spPr>
          <p:txBody>
            <a:bodyPr lIns="169333" tIns="169333" rIns="169333" bIns="169333" rtlCol="0" anchor="ctr"/>
            <a:lstStyle/>
            <a:p>
              <a:pPr marL="0" marR="0" lvl="0" indent="0" algn="ctr" defTabSz="609630" rtl="0" eaLnBrk="1" fontAlgn="auto" latinLnBrk="0" hangingPunct="1">
                <a:lnSpc>
                  <a:spcPts val="14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C2C2C"/>
                  </a:solidFill>
                  <a:effectLst/>
                  <a:uLnTx/>
                  <a:uFillTx/>
                  <a:latin typeface="Bahnschrift SemiBold" panose="020B0502040204020203" pitchFamily="34" charset="0"/>
                  <a:ea typeface="+mn-ea"/>
                  <a:cs typeface="+mn-cs"/>
                </a:rPr>
                <a:t>Have Any Query?</a:t>
              </a:r>
            </a:p>
          </p:txBody>
        </p:sp>
      </p:grpSp>
      <p:grpSp>
        <p:nvGrpSpPr>
          <p:cNvPr id="7" name="Group 7"/>
          <p:cNvGrpSpPr>
            <a:grpSpLocks noChangeAspect="1"/>
          </p:cNvGrpSpPr>
          <p:nvPr/>
        </p:nvGrpSpPr>
        <p:grpSpPr>
          <a:xfrm>
            <a:off x="1770624" y="3867627"/>
            <a:ext cx="703981" cy="703978"/>
            <a:chOff x="0" y="0"/>
            <a:chExt cx="6350000" cy="6349975"/>
          </a:xfrm>
        </p:grpSpPr>
        <p:sp>
          <p:nvSpPr>
            <p:cNvPr id="8" name="Freeform 8"/>
            <p:cNvSpPr/>
            <p:nvPr/>
          </p:nvSpPr>
          <p:spPr>
            <a:xfrm>
              <a:off x="0" y="0"/>
              <a:ext cx="6350000" cy="6349974"/>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3"/>
              <a:stretch>
                <a:fillRect l="-18451" t="-5656" b="-72021"/>
              </a:stretch>
            </a:blipFill>
          </p:spPr>
        </p:sp>
      </p:grpSp>
      <p:grpSp>
        <p:nvGrpSpPr>
          <p:cNvPr id="9" name="Group 9"/>
          <p:cNvGrpSpPr/>
          <p:nvPr/>
        </p:nvGrpSpPr>
        <p:grpSpPr>
          <a:xfrm>
            <a:off x="2982750" y="4116124"/>
            <a:ext cx="1311125" cy="1311125"/>
            <a:chOff x="0" y="0"/>
            <a:chExt cx="812800" cy="812800"/>
          </a:xfrm>
        </p:grpSpPr>
        <p:sp>
          <p:nvSpPr>
            <p:cNvPr id="10" name="Freeform 10"/>
            <p:cNvSpPr/>
            <p:nvPr/>
          </p:nvSpPr>
          <p:spPr>
            <a:xfrm>
              <a:off x="1813" y="0"/>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FA8F4C"/>
            </a:solidFill>
          </p:spPr>
        </p:sp>
        <p:sp>
          <p:nvSpPr>
            <p:cNvPr id="11" name="TextBox 11"/>
            <p:cNvSpPr txBox="1"/>
            <p:nvPr/>
          </p:nvSpPr>
          <p:spPr>
            <a:xfrm>
              <a:off x="76200" y="38100"/>
              <a:ext cx="660400" cy="698500"/>
            </a:xfrm>
            <a:prstGeom prst="rect">
              <a:avLst/>
            </a:prstGeom>
          </p:spPr>
          <p:txBody>
            <a:bodyPr lIns="33867" tIns="33867" rIns="33867" bIns="33867" rtlCol="0" anchor="ctr"/>
            <a:lstStyle/>
            <a:p>
              <a:pPr marL="0" marR="0" lvl="0" indent="0" algn="ctr" defTabSz="609630" rtl="0" eaLnBrk="1" fontAlgn="auto" latinLnBrk="0" hangingPunct="1">
                <a:lnSpc>
                  <a:spcPts val="14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Bahnschrift SemiBold" panose="020B0502040204020203" pitchFamily="34" charset="0"/>
                  <a:ea typeface="+mn-ea"/>
                  <a:cs typeface="+mn-cs"/>
                </a:rPr>
                <a:t>I have solution.</a:t>
              </a:r>
            </a:p>
          </p:txBody>
        </p:sp>
      </p:grpSp>
      <p:grpSp>
        <p:nvGrpSpPr>
          <p:cNvPr id="12" name="Group 12"/>
          <p:cNvGrpSpPr>
            <a:grpSpLocks noChangeAspect="1"/>
          </p:cNvGrpSpPr>
          <p:nvPr/>
        </p:nvGrpSpPr>
        <p:grpSpPr>
          <a:xfrm>
            <a:off x="3950115" y="4964557"/>
            <a:ext cx="560534" cy="560532"/>
            <a:chOff x="0" y="0"/>
            <a:chExt cx="6350000" cy="6349975"/>
          </a:xfrm>
        </p:grpSpPr>
        <p:sp>
          <p:nvSpPr>
            <p:cNvPr id="13" name="Freeform 13"/>
            <p:cNvSpPr/>
            <p:nvPr/>
          </p:nvSpPr>
          <p:spPr>
            <a:xfrm>
              <a:off x="0" y="0"/>
              <a:ext cx="6350000" cy="6349974"/>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4"/>
              <a:stretch>
                <a:fillRect l="-38871" t="-42006" r="-9717" b="-80878"/>
              </a:stretch>
            </a:blipFill>
          </p:spPr>
        </p:sp>
      </p:grpSp>
      <p:sp>
        <p:nvSpPr>
          <p:cNvPr id="14" name="AutoShape 14"/>
          <p:cNvSpPr/>
          <p:nvPr/>
        </p:nvSpPr>
        <p:spPr>
          <a:xfrm>
            <a:off x="0" y="1"/>
            <a:ext cx="4824771" cy="2167091"/>
          </a:xfrm>
          <a:prstGeom prst="rect">
            <a:avLst/>
          </a:prstGeom>
          <a:solidFill>
            <a:srgbClr val="FA8F4C"/>
          </a:solidFill>
        </p:spPr>
      </p:sp>
      <p:sp>
        <p:nvSpPr>
          <p:cNvPr id="15" name="TextBox 15"/>
          <p:cNvSpPr txBox="1"/>
          <p:nvPr/>
        </p:nvSpPr>
        <p:spPr>
          <a:xfrm>
            <a:off x="818750" y="1534705"/>
            <a:ext cx="3424804" cy="1308050"/>
          </a:xfrm>
          <a:prstGeom prst="rect">
            <a:avLst/>
          </a:prstGeom>
        </p:spPr>
        <p:txBody>
          <a:bodyPr lIns="0" tIns="0" rIns="0" bIns="0" rtlCol="0" anchor="t">
            <a:spAutoFit/>
          </a:bodyPr>
          <a:lstStyle/>
          <a:p>
            <a:pPr marL="0" marR="0" lvl="0" indent="0" algn="ctr" defTabSz="609630" rtl="0" eaLnBrk="1" fontAlgn="auto" latinLnBrk="0" hangingPunct="1">
              <a:lnSpc>
                <a:spcPts val="5133"/>
              </a:lnSpc>
              <a:spcBef>
                <a:spcPts val="0"/>
              </a:spcBef>
              <a:spcAft>
                <a:spcPts val="0"/>
              </a:spcAft>
              <a:buClrTx/>
              <a:buSzTx/>
              <a:buFontTx/>
              <a:buNone/>
              <a:tabLst/>
              <a:defRPr/>
            </a:pPr>
            <a:r>
              <a:rPr kumimoji="0" lang="en-US" sz="4666" b="1" i="0" u="none" strike="noStrike" kern="1200" cap="none" spc="0" normalizeH="0" baseline="0" noProof="0" dirty="0">
                <a:ln>
                  <a:noFill/>
                </a:ln>
                <a:solidFill>
                  <a:srgbClr val="FFFFFF"/>
                </a:solidFill>
                <a:effectLst/>
                <a:uLnTx/>
                <a:uFillTx/>
                <a:latin typeface="Poppins" panose="00000500000000000000" pitchFamily="2" charset="0"/>
                <a:ea typeface="+mn-ea"/>
                <a:cs typeface="Poppins" panose="00000500000000000000" pitchFamily="2" charset="0"/>
              </a:rPr>
              <a:t>Query</a:t>
            </a:r>
          </a:p>
          <a:p>
            <a:pPr marL="0" marR="0" lvl="0" indent="0" algn="ctr" defTabSz="609630" rtl="0" eaLnBrk="1" fontAlgn="auto" latinLnBrk="0" hangingPunct="1">
              <a:lnSpc>
                <a:spcPts val="5133"/>
              </a:lnSpc>
              <a:spcBef>
                <a:spcPts val="0"/>
              </a:spcBef>
              <a:spcAft>
                <a:spcPts val="0"/>
              </a:spcAft>
              <a:buClrTx/>
              <a:buSzTx/>
              <a:buFontTx/>
              <a:buNone/>
              <a:tabLst/>
              <a:defRPr/>
            </a:pPr>
            <a:r>
              <a:rPr kumimoji="0" lang="en-US" sz="4666" b="1" i="0" u="none" strike="noStrike" kern="1200" cap="none" spc="0" normalizeH="0" baseline="0" noProof="0" dirty="0">
                <a:ln>
                  <a:noFill/>
                </a:ln>
                <a:solidFill>
                  <a:srgbClr val="6E46CE"/>
                </a:solidFill>
                <a:effectLst/>
                <a:uLnTx/>
                <a:uFillTx/>
                <a:latin typeface="Poppins" panose="00000500000000000000" pitchFamily="2" charset="0"/>
                <a:ea typeface="+mn-ea"/>
                <a:cs typeface="Poppins" panose="00000500000000000000" pitchFamily="2" charset="0"/>
              </a:rPr>
              <a:t>Time</a:t>
            </a:r>
          </a:p>
        </p:txBody>
      </p:sp>
      <p:pic>
        <p:nvPicPr>
          <p:cNvPr id="16" name="Picture 16"/>
          <p:cNvPicPr>
            <a:picLocks noChangeAspect="1"/>
          </p:cNvPicPr>
          <p:nvPr/>
        </p:nvPicPr>
        <p:blipFill>
          <a:blip r:embed="rId5"/>
          <a:srcRect/>
          <a:stretch>
            <a:fillRect/>
          </a:stretch>
        </p:blipFill>
        <p:spPr>
          <a:xfrm>
            <a:off x="597975" y="1521072"/>
            <a:ext cx="769446" cy="941218"/>
          </a:xfrm>
          <a:prstGeom prst="rect">
            <a:avLst/>
          </a:prstGeom>
        </p:spPr>
      </p:pic>
      <p:pic>
        <p:nvPicPr>
          <p:cNvPr id="17" name="Picture 17"/>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p:blipFill>
        <p:spPr>
          <a:xfrm>
            <a:off x="5597223" y="2934653"/>
            <a:ext cx="1780674" cy="2743200"/>
          </a:xfrm>
          <a:prstGeom prst="rect">
            <a:avLst/>
          </a:prstGeom>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down)">
                                      <p:cBhvr>
                                        <p:cTn id="7" dur="580">
                                          <p:stCondLst>
                                            <p:cond delay="0"/>
                                          </p:stCondLst>
                                        </p:cTn>
                                        <p:tgtEl>
                                          <p:spTgt spid="16"/>
                                        </p:tgtEl>
                                      </p:cBhvr>
                                    </p:animEffect>
                                    <p:anim calcmode="lin" valueType="num">
                                      <p:cBhvr>
                                        <p:cTn id="8" dur="1822" tmFilter="0,0; 0.14,0.36; 0.43,0.73; 0.71,0.91; 1.0,1.0">
                                          <p:stCondLst>
                                            <p:cond delay="0"/>
                                          </p:stCondLst>
                                        </p:cTn>
                                        <p:tgtEl>
                                          <p:spTgt spid="1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6"/>
                                        </p:tgtEl>
                                        <p:attrNameLst>
                                          <p:attrName>ppt_y</p:attrName>
                                        </p:attrNameLst>
                                      </p:cBhvr>
                                      <p:tavLst>
                                        <p:tav tm="0" fmla="#ppt_y-sin(pi*$)/81">
                                          <p:val>
                                            <p:fltVal val="0"/>
                                          </p:val>
                                        </p:tav>
                                        <p:tav tm="100000">
                                          <p:val>
                                            <p:fltVal val="1"/>
                                          </p:val>
                                        </p:tav>
                                      </p:tavLst>
                                    </p:anim>
                                    <p:animScale>
                                      <p:cBhvr>
                                        <p:cTn id="13" dur="26">
                                          <p:stCondLst>
                                            <p:cond delay="650"/>
                                          </p:stCondLst>
                                        </p:cTn>
                                        <p:tgtEl>
                                          <p:spTgt spid="16"/>
                                        </p:tgtEl>
                                      </p:cBhvr>
                                      <p:to x="100000" y="60000"/>
                                    </p:animScale>
                                    <p:animScale>
                                      <p:cBhvr>
                                        <p:cTn id="14" dur="166" decel="50000">
                                          <p:stCondLst>
                                            <p:cond delay="676"/>
                                          </p:stCondLst>
                                        </p:cTn>
                                        <p:tgtEl>
                                          <p:spTgt spid="16"/>
                                        </p:tgtEl>
                                      </p:cBhvr>
                                      <p:to x="100000" y="100000"/>
                                    </p:animScale>
                                    <p:animScale>
                                      <p:cBhvr>
                                        <p:cTn id="15" dur="26">
                                          <p:stCondLst>
                                            <p:cond delay="1312"/>
                                          </p:stCondLst>
                                        </p:cTn>
                                        <p:tgtEl>
                                          <p:spTgt spid="16"/>
                                        </p:tgtEl>
                                      </p:cBhvr>
                                      <p:to x="100000" y="80000"/>
                                    </p:animScale>
                                    <p:animScale>
                                      <p:cBhvr>
                                        <p:cTn id="16" dur="166" decel="50000">
                                          <p:stCondLst>
                                            <p:cond delay="1338"/>
                                          </p:stCondLst>
                                        </p:cTn>
                                        <p:tgtEl>
                                          <p:spTgt spid="16"/>
                                        </p:tgtEl>
                                      </p:cBhvr>
                                      <p:to x="100000" y="100000"/>
                                    </p:animScale>
                                    <p:animScale>
                                      <p:cBhvr>
                                        <p:cTn id="17" dur="26">
                                          <p:stCondLst>
                                            <p:cond delay="1642"/>
                                          </p:stCondLst>
                                        </p:cTn>
                                        <p:tgtEl>
                                          <p:spTgt spid="16"/>
                                        </p:tgtEl>
                                      </p:cBhvr>
                                      <p:to x="100000" y="90000"/>
                                    </p:animScale>
                                    <p:animScale>
                                      <p:cBhvr>
                                        <p:cTn id="18" dur="166" decel="50000">
                                          <p:stCondLst>
                                            <p:cond delay="1668"/>
                                          </p:stCondLst>
                                        </p:cTn>
                                        <p:tgtEl>
                                          <p:spTgt spid="16"/>
                                        </p:tgtEl>
                                      </p:cBhvr>
                                      <p:to x="100000" y="100000"/>
                                    </p:animScale>
                                    <p:animScale>
                                      <p:cBhvr>
                                        <p:cTn id="19" dur="26">
                                          <p:stCondLst>
                                            <p:cond delay="1808"/>
                                          </p:stCondLst>
                                        </p:cTn>
                                        <p:tgtEl>
                                          <p:spTgt spid="16"/>
                                        </p:tgtEl>
                                      </p:cBhvr>
                                      <p:to x="100000" y="95000"/>
                                    </p:animScale>
                                    <p:animScale>
                                      <p:cBhvr>
                                        <p:cTn id="20" dur="166" decel="50000">
                                          <p:stCondLst>
                                            <p:cond delay="1834"/>
                                          </p:stCondLst>
                                        </p:cTn>
                                        <p:tgtEl>
                                          <p:spTgt spid="1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6AA72B8-0199-4529-A3FA-4276A15F172A}"/>
              </a:ext>
            </a:extLst>
          </p:cNvPr>
          <p:cNvSpPr txBox="1"/>
          <p:nvPr/>
        </p:nvSpPr>
        <p:spPr>
          <a:xfrm>
            <a:off x="5123913" y="706735"/>
            <a:ext cx="7068087"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5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Project Description</a:t>
            </a:r>
          </a:p>
        </p:txBody>
      </p:sp>
      <p:sp>
        <p:nvSpPr>
          <p:cNvPr id="3" name="TextBox 2">
            <a:extLst>
              <a:ext uri="{FF2B5EF4-FFF2-40B4-BE49-F238E27FC236}">
                <a16:creationId xmlns:a16="http://schemas.microsoft.com/office/drawing/2014/main" id="{410179F0-832E-480C-8BBE-0FDE94FD200D}"/>
              </a:ext>
            </a:extLst>
          </p:cNvPr>
          <p:cNvSpPr txBox="1"/>
          <p:nvPr/>
        </p:nvSpPr>
        <p:spPr>
          <a:xfrm>
            <a:off x="5123913" y="2161107"/>
            <a:ext cx="6117770" cy="415498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A5A5A5">
                    <a:lumMod val="50000"/>
                  </a:srgbClr>
                </a:solidFill>
                <a:effectLst/>
                <a:uLnTx/>
                <a:uFillTx/>
                <a:latin typeface="Poppins" panose="00000500000000000000" pitchFamily="2" charset="0"/>
                <a:cs typeface="Poppins" panose="00000500000000000000" pitchFamily="2" charset="0"/>
              </a:rPr>
              <a:t>Relax is a </a:t>
            </a:r>
            <a:r>
              <a:rPr kumimoji="0" lang="en-US" sz="2200" b="1" i="0" u="none" strike="noStrike" kern="1200" cap="none" spc="0" normalizeH="0" baseline="0" noProof="0" dirty="0">
                <a:ln>
                  <a:noFill/>
                </a:ln>
                <a:solidFill>
                  <a:srgbClr val="A5A5A5">
                    <a:lumMod val="50000"/>
                  </a:srgbClr>
                </a:solidFill>
                <a:effectLst/>
                <a:uLnTx/>
                <a:uFillTx/>
                <a:latin typeface="Poppins" panose="00000500000000000000" pitchFamily="2" charset="0"/>
                <a:cs typeface="Poppins" panose="00000500000000000000" pitchFamily="2" charset="0"/>
              </a:rPr>
              <a:t>social media platform</a:t>
            </a:r>
            <a:r>
              <a:rPr kumimoji="0" lang="en-US" sz="2200" b="0" i="0" u="none" strike="noStrike" kern="1200" cap="none" spc="0" normalizeH="0" baseline="0" noProof="0" dirty="0">
                <a:ln>
                  <a:noFill/>
                </a:ln>
                <a:solidFill>
                  <a:srgbClr val="A5A5A5">
                    <a:lumMod val="50000"/>
                  </a:srgbClr>
                </a:solidFill>
                <a:effectLst/>
                <a:uLnTx/>
                <a:uFillTx/>
                <a:latin typeface="Poppins" panose="00000500000000000000" pitchFamily="2" charset="0"/>
                <a:cs typeface="Poppins" panose="00000500000000000000" pitchFamily="2" charset="0"/>
              </a:rPr>
              <a:t> that allows users to share photos and videos, as well as to interact with others through likes, comments, and </a:t>
            </a:r>
            <a:r>
              <a:rPr kumimoji="0" lang="en-US" sz="2200" b="1" i="0" u="none" strike="noStrike" kern="1200" cap="none" spc="0" normalizeH="0" baseline="0" noProof="0" dirty="0">
                <a:ln>
                  <a:noFill/>
                </a:ln>
                <a:solidFill>
                  <a:srgbClr val="A5A5A5">
                    <a:lumMod val="50000"/>
                  </a:srgbClr>
                </a:solidFill>
                <a:effectLst/>
                <a:uLnTx/>
                <a:uFillTx/>
                <a:latin typeface="Poppins" panose="00000500000000000000" pitchFamily="2" charset="0"/>
                <a:cs typeface="Poppins" panose="00000500000000000000" pitchFamily="2" charset="0"/>
              </a:rPr>
              <a:t>direct messaging</a:t>
            </a:r>
            <a:r>
              <a:rPr kumimoji="0" lang="en-US" sz="2200" b="0" i="0" u="none" strike="noStrike" kern="1200" cap="none" spc="0" normalizeH="0" baseline="0" noProof="0" dirty="0">
                <a:ln>
                  <a:noFill/>
                </a:ln>
                <a:solidFill>
                  <a:srgbClr val="A5A5A5">
                    <a:lumMod val="50000"/>
                  </a:srgbClr>
                </a:solidFill>
                <a:effectLst/>
                <a:uLnTx/>
                <a:uFillTx/>
                <a:latin typeface="Poppins" panose="00000500000000000000" pitchFamily="2" charset="0"/>
                <a:cs typeface="Poppins" panose="00000500000000000000" pitchFamily="2" charset="0"/>
              </a:rPr>
              <a:t>. It can be accessed on the web.</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A5A5A5">
                  <a:lumMod val="50000"/>
                </a:srgbClr>
              </a:solidFill>
              <a:effectLst/>
              <a:uLnTx/>
              <a:uFillTx/>
              <a:latin typeface="Poppins" panose="00000500000000000000" pitchFamily="2" charset="0"/>
              <a:cs typeface="Poppins" panose="00000500000000000000" pitchFamily="2"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A5A5A5">
                    <a:lumMod val="50000"/>
                  </a:srgbClr>
                </a:solidFill>
                <a:effectLst/>
                <a:uLnTx/>
                <a:uFillTx/>
                <a:latin typeface="Poppins" panose="00000500000000000000" pitchFamily="2" charset="0"/>
                <a:cs typeface="Poppins" panose="00000500000000000000" pitchFamily="2" charset="0"/>
              </a:rPr>
              <a:t>GOALS</a:t>
            </a:r>
            <a:r>
              <a:rPr kumimoji="0" lang="en-US" sz="2200" b="0" i="0" u="none" strike="noStrike" kern="1200" cap="none" spc="0" normalizeH="0" baseline="0" noProof="0" dirty="0">
                <a:ln>
                  <a:noFill/>
                </a:ln>
                <a:solidFill>
                  <a:srgbClr val="A5A5A5">
                    <a:lumMod val="50000"/>
                  </a:srgbClr>
                </a:solidFill>
                <a:effectLst/>
                <a:uLnTx/>
                <a:uFillTx/>
                <a:latin typeface="Poppins" panose="00000500000000000000" pitchFamily="2" charset="0"/>
                <a:cs typeface="Poppins" panose="00000500000000000000" pitchFamily="2" charset="0"/>
              </a:rPr>
              <a:t>:</a:t>
            </a:r>
          </a:p>
          <a:p>
            <a:pPr marL="342900" marR="0" lvl="0" indent="-342900" algn="just" defTabSz="914400" rtl="0" eaLnBrk="1" fontAlgn="auto" latinLnBrk="0" hangingPunct="1">
              <a:lnSpc>
                <a:spcPct val="100000"/>
              </a:lnSpc>
              <a:spcBef>
                <a:spcPts val="0"/>
              </a:spcBef>
              <a:spcAft>
                <a:spcPts val="0"/>
              </a:spcAft>
              <a:buClrTx/>
              <a:buSzTx/>
              <a:buFont typeface="Poppins" panose="00000500000000000000" pitchFamily="2" charset="0"/>
              <a:buChar char="◊"/>
              <a:tabLst/>
              <a:defRPr/>
            </a:pPr>
            <a:r>
              <a:rPr kumimoji="0" lang="en-US" sz="2200" b="0" i="0" u="none" strike="noStrike" kern="1200" cap="none" spc="0" normalizeH="0" baseline="0" noProof="0" dirty="0">
                <a:ln>
                  <a:noFill/>
                </a:ln>
                <a:solidFill>
                  <a:srgbClr val="A5A5A5">
                    <a:lumMod val="50000"/>
                  </a:srgbClr>
                </a:solidFill>
                <a:effectLst/>
                <a:uLnTx/>
                <a:uFillTx/>
                <a:latin typeface="Poppins" panose="00000500000000000000" pitchFamily="2" charset="0"/>
                <a:cs typeface="Poppins" panose="00000500000000000000" pitchFamily="2" charset="0"/>
              </a:rPr>
              <a:t>Sharing photos and videos</a:t>
            </a:r>
          </a:p>
          <a:p>
            <a:pPr marL="342900" marR="0" lvl="0" indent="-342900" algn="just" defTabSz="914400" rtl="0" eaLnBrk="1" fontAlgn="auto" latinLnBrk="0" hangingPunct="1">
              <a:lnSpc>
                <a:spcPct val="100000"/>
              </a:lnSpc>
              <a:spcBef>
                <a:spcPts val="0"/>
              </a:spcBef>
              <a:spcAft>
                <a:spcPts val="0"/>
              </a:spcAft>
              <a:buClrTx/>
              <a:buSzTx/>
              <a:buFont typeface="Poppins" panose="00000500000000000000" pitchFamily="2" charset="0"/>
              <a:buChar char="◊"/>
              <a:tabLst/>
              <a:defRPr/>
            </a:pPr>
            <a:r>
              <a:rPr kumimoji="0" lang="en-US" sz="2200" b="0" i="0" u="none" strike="noStrike" kern="1200" cap="none" spc="0" normalizeH="0" baseline="0" noProof="0" dirty="0">
                <a:ln>
                  <a:noFill/>
                </a:ln>
                <a:solidFill>
                  <a:srgbClr val="A5A5A5">
                    <a:lumMod val="50000"/>
                  </a:srgbClr>
                </a:solidFill>
                <a:effectLst/>
                <a:uLnTx/>
                <a:uFillTx/>
                <a:latin typeface="Poppins" panose="00000500000000000000" pitchFamily="2" charset="0"/>
                <a:cs typeface="Poppins" panose="00000500000000000000" pitchFamily="2" charset="0"/>
              </a:rPr>
              <a:t>Interacting with others</a:t>
            </a:r>
          </a:p>
          <a:p>
            <a:pPr marL="342900" marR="0" lvl="0" indent="-342900" algn="just" defTabSz="914400" rtl="0" eaLnBrk="1" fontAlgn="auto" latinLnBrk="0" hangingPunct="1">
              <a:lnSpc>
                <a:spcPct val="100000"/>
              </a:lnSpc>
              <a:spcBef>
                <a:spcPts val="0"/>
              </a:spcBef>
              <a:spcAft>
                <a:spcPts val="0"/>
              </a:spcAft>
              <a:buClrTx/>
              <a:buSzTx/>
              <a:buFont typeface="Poppins" panose="00000500000000000000" pitchFamily="2" charset="0"/>
              <a:buChar char="◊"/>
              <a:tabLst/>
              <a:defRPr/>
            </a:pPr>
            <a:r>
              <a:rPr kumimoji="0" lang="en-US" sz="2200" b="0" i="0" u="none" strike="noStrike" kern="1200" cap="none" spc="0" normalizeH="0" baseline="0" noProof="0" dirty="0">
                <a:ln>
                  <a:noFill/>
                </a:ln>
                <a:solidFill>
                  <a:srgbClr val="A5A5A5">
                    <a:lumMod val="50000"/>
                  </a:srgbClr>
                </a:solidFill>
                <a:effectLst/>
                <a:uLnTx/>
                <a:uFillTx/>
                <a:latin typeface="Poppins" panose="00000500000000000000" pitchFamily="2" charset="0"/>
                <a:cs typeface="Poppins" panose="00000500000000000000" pitchFamily="2" charset="0"/>
              </a:rPr>
              <a:t>Discovering new content</a:t>
            </a:r>
          </a:p>
          <a:p>
            <a:pPr marL="342900" marR="0" lvl="0" indent="-342900" algn="just" defTabSz="914400" rtl="0" eaLnBrk="1" fontAlgn="auto" latinLnBrk="0" hangingPunct="1">
              <a:lnSpc>
                <a:spcPct val="100000"/>
              </a:lnSpc>
              <a:spcBef>
                <a:spcPts val="0"/>
              </a:spcBef>
              <a:spcAft>
                <a:spcPts val="0"/>
              </a:spcAft>
              <a:buClrTx/>
              <a:buSzTx/>
              <a:buFont typeface="Poppins" panose="00000500000000000000" pitchFamily="2" charset="0"/>
              <a:buChar char="◊"/>
              <a:tabLst/>
              <a:defRPr/>
            </a:pPr>
            <a:r>
              <a:rPr kumimoji="0" lang="en-US" sz="2200" b="0" i="0" u="none" strike="noStrike" kern="1200" cap="none" spc="0" normalizeH="0" baseline="0" noProof="0" dirty="0">
                <a:ln>
                  <a:noFill/>
                </a:ln>
                <a:solidFill>
                  <a:srgbClr val="A5A5A5">
                    <a:lumMod val="50000"/>
                  </a:srgbClr>
                </a:solidFill>
                <a:effectLst/>
                <a:uLnTx/>
                <a:uFillTx/>
                <a:latin typeface="Poppins" panose="00000500000000000000" pitchFamily="2" charset="0"/>
                <a:cs typeface="Poppins" panose="00000500000000000000" pitchFamily="2" charset="0"/>
              </a:rPr>
              <a:t>Customizing their profile</a:t>
            </a:r>
          </a:p>
          <a:p>
            <a:pPr marL="342900" marR="0" lvl="0" indent="-342900" algn="just" defTabSz="914400" rtl="0" eaLnBrk="1" fontAlgn="auto" latinLnBrk="0" hangingPunct="1">
              <a:lnSpc>
                <a:spcPct val="100000"/>
              </a:lnSpc>
              <a:spcBef>
                <a:spcPts val="0"/>
              </a:spcBef>
              <a:spcAft>
                <a:spcPts val="0"/>
              </a:spcAft>
              <a:buClrTx/>
              <a:buSzTx/>
              <a:buFont typeface="Poppins" panose="00000500000000000000" pitchFamily="2" charset="0"/>
              <a:buChar char="◊"/>
              <a:tabLst/>
              <a:defRPr/>
            </a:pPr>
            <a:r>
              <a:rPr kumimoji="0" lang="en-US" sz="2200" b="0" i="0" u="none" strike="noStrike" kern="1200" cap="none" spc="0" normalizeH="0" baseline="0" noProof="0" dirty="0">
                <a:ln>
                  <a:noFill/>
                </a:ln>
                <a:solidFill>
                  <a:srgbClr val="A5A5A5">
                    <a:lumMod val="50000"/>
                  </a:srgbClr>
                </a:solidFill>
                <a:effectLst/>
                <a:uLnTx/>
                <a:uFillTx/>
                <a:latin typeface="Poppins" panose="00000500000000000000" pitchFamily="2" charset="0"/>
                <a:cs typeface="Poppins" panose="00000500000000000000" pitchFamily="2" charset="0"/>
              </a:rPr>
              <a:t>Editing their preferences</a:t>
            </a:r>
          </a:p>
        </p:txBody>
      </p:sp>
      <p:pic>
        <p:nvPicPr>
          <p:cNvPr id="5" name="Picture 4">
            <a:extLst>
              <a:ext uri="{FF2B5EF4-FFF2-40B4-BE49-F238E27FC236}">
                <a16:creationId xmlns:a16="http://schemas.microsoft.com/office/drawing/2014/main" id="{B4EB5E01-DD70-4E61-9D16-126C2B64F58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7911" y="1168400"/>
            <a:ext cx="4741292" cy="4521200"/>
          </a:xfrm>
          <a:prstGeom prst="rect">
            <a:avLst/>
          </a:prstGeom>
        </p:spPr>
      </p:pic>
      <p:sp>
        <p:nvSpPr>
          <p:cNvPr id="6" name="TextBox 5">
            <a:extLst>
              <a:ext uri="{FF2B5EF4-FFF2-40B4-BE49-F238E27FC236}">
                <a16:creationId xmlns:a16="http://schemas.microsoft.com/office/drawing/2014/main" id="{AB31252F-A844-4C82-9F58-F5040B61B129}"/>
              </a:ext>
            </a:extLst>
          </p:cNvPr>
          <p:cNvSpPr txBox="1"/>
          <p:nvPr/>
        </p:nvSpPr>
        <p:spPr>
          <a:xfrm>
            <a:off x="1842524" y="-9881575"/>
            <a:ext cx="9296135" cy="47705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66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primary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13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7955A99B-D42F-A8CF-4A02-A2CE93B21A3B}"/>
                  </a:ext>
                </a:extLst>
              </p:cNvPr>
              <p:cNvGraphicFramePr>
                <a:graphicFrameLocks noChangeAspect="1"/>
              </p:cNvGraphicFramePr>
              <p:nvPr>
                <p:extLst>
                  <p:ext uri="{D42A27DB-BD31-4B8C-83A1-F6EECF244321}">
                    <p14:modId xmlns:p14="http://schemas.microsoft.com/office/powerpoint/2010/main" val="2914132174"/>
                  </p:ext>
                </p:extLst>
              </p:nvPr>
            </p:nvGraphicFramePr>
            <p:xfrm>
              <a:off x="954684" y="-2391170"/>
              <a:ext cx="3048000" cy="1714500"/>
            </p:xfrm>
            <a:graphic>
              <a:graphicData uri="http://schemas.microsoft.com/office/powerpoint/2016/slidezoom">
                <pslz:sldZm>
                  <pslz:sldZmObj sldId="262" cId="4240248860">
                    <pslz:zmPr id="{D4E67CBB-E945-493F-8BD1-AEEB6F804861}" returnToParent="0" transitionDur="1000">
                      <p166:blipFill xmlns:p166="http://schemas.microsoft.com/office/powerpoint/2016/6/main">
                        <a:blip r:embed="rId3"/>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4" name="Slide Zoom 3">
                <a:hlinkClick r:id="rId4" action="ppaction://hlinksldjump"/>
                <a:extLst>
                  <a:ext uri="{FF2B5EF4-FFF2-40B4-BE49-F238E27FC236}">
                    <a16:creationId xmlns:a16="http://schemas.microsoft.com/office/drawing/2014/main" id="{7955A99B-D42F-A8CF-4A02-A2CE93B21A3B}"/>
                  </a:ext>
                </a:extLst>
              </p:cNvPr>
              <p:cNvPicPr>
                <a:picLocks noGrp="1" noRot="1" noChangeAspect="1" noMove="1" noResize="1" noEditPoints="1" noAdjustHandles="1" noChangeArrowheads="1" noChangeShapeType="1"/>
              </p:cNvPicPr>
              <p:nvPr/>
            </p:nvPicPr>
            <p:blipFill>
              <a:blip r:embed="rId5"/>
              <a:stretch>
                <a:fillRect/>
              </a:stretch>
            </p:blipFill>
            <p:spPr>
              <a:xfrm>
                <a:off x="954684" y="-2391170"/>
                <a:ext cx="3048000" cy="1714500"/>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185D9C4F-E75D-5759-8C16-1791D8ED2A30}"/>
                  </a:ext>
                </a:extLst>
              </p:cNvPr>
              <p:cNvGraphicFramePr>
                <a:graphicFrameLocks noChangeAspect="1"/>
              </p:cNvGraphicFramePr>
              <p:nvPr>
                <p:extLst>
                  <p:ext uri="{D42A27DB-BD31-4B8C-83A1-F6EECF244321}">
                    <p14:modId xmlns:p14="http://schemas.microsoft.com/office/powerpoint/2010/main" val="3175116959"/>
                  </p:ext>
                </p:extLst>
              </p:nvPr>
            </p:nvGraphicFramePr>
            <p:xfrm>
              <a:off x="4511475" y="-2362437"/>
              <a:ext cx="3048000" cy="1714500"/>
            </p:xfrm>
            <a:graphic>
              <a:graphicData uri="http://schemas.microsoft.com/office/powerpoint/2016/slidezoom">
                <pslz:sldZm>
                  <pslz:sldZmObj sldId="325" cId="1598830874">
                    <pslz:zmPr id="{7B9BAEA4-5038-4F6A-A100-6050FFE5C30F}" returnToParent="0" transitionDur="1000">
                      <p166:blipFill xmlns:p166="http://schemas.microsoft.com/office/powerpoint/2016/6/main">
                        <a:blip r:embed="rId6"/>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9" name="Slide Zoom 8">
                <a:hlinkClick r:id="rId7" action="ppaction://hlinksldjump"/>
                <a:extLst>
                  <a:ext uri="{FF2B5EF4-FFF2-40B4-BE49-F238E27FC236}">
                    <a16:creationId xmlns:a16="http://schemas.microsoft.com/office/drawing/2014/main" id="{185D9C4F-E75D-5759-8C16-1791D8ED2A30}"/>
                  </a:ext>
                </a:extLst>
              </p:cNvPr>
              <p:cNvPicPr>
                <a:picLocks noGrp="1" noRot="1" noChangeAspect="1" noMove="1" noResize="1" noEditPoints="1" noAdjustHandles="1" noChangeArrowheads="1" noChangeShapeType="1"/>
              </p:cNvPicPr>
              <p:nvPr/>
            </p:nvPicPr>
            <p:blipFill>
              <a:blip r:embed="rId8"/>
              <a:stretch>
                <a:fillRect/>
              </a:stretch>
            </p:blipFill>
            <p:spPr>
              <a:xfrm>
                <a:off x="4511475" y="-2362437"/>
                <a:ext cx="3048000" cy="1714500"/>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3326EAC9-3CF4-630A-8F14-8019F646AAF1}"/>
                  </a:ext>
                </a:extLst>
              </p:cNvPr>
              <p:cNvGraphicFramePr>
                <a:graphicFrameLocks noChangeAspect="1"/>
              </p:cNvGraphicFramePr>
              <p:nvPr>
                <p:extLst>
                  <p:ext uri="{D42A27DB-BD31-4B8C-83A1-F6EECF244321}">
                    <p14:modId xmlns:p14="http://schemas.microsoft.com/office/powerpoint/2010/main" val="824560791"/>
                  </p:ext>
                </p:extLst>
              </p:nvPr>
            </p:nvGraphicFramePr>
            <p:xfrm>
              <a:off x="8193683" y="-2330727"/>
              <a:ext cx="3048000" cy="1714500"/>
            </p:xfrm>
            <a:graphic>
              <a:graphicData uri="http://schemas.microsoft.com/office/powerpoint/2016/slidezoom">
                <pslz:sldZm>
                  <pslz:sldZmObj sldId="261" cId="3667921507">
                    <pslz:zmPr id="{ADB5E305-5F37-4E38-9ADD-91B528A7214D}" returnToParent="0" transitionDur="1000">
                      <p166:blipFill xmlns:p166="http://schemas.microsoft.com/office/powerpoint/2016/6/main">
                        <a:blip r:embed="rId9"/>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10" name="Slide Zoom 9">
                <a:hlinkClick r:id="rId10" action="ppaction://hlinksldjump"/>
                <a:extLst>
                  <a:ext uri="{FF2B5EF4-FFF2-40B4-BE49-F238E27FC236}">
                    <a16:creationId xmlns:a16="http://schemas.microsoft.com/office/drawing/2014/main" id="{3326EAC9-3CF4-630A-8F14-8019F646AAF1}"/>
                  </a:ext>
                </a:extLst>
              </p:cNvPr>
              <p:cNvPicPr>
                <a:picLocks noGrp="1" noRot="1" noChangeAspect="1" noMove="1" noResize="1" noEditPoints="1" noAdjustHandles="1" noChangeArrowheads="1" noChangeShapeType="1"/>
              </p:cNvPicPr>
              <p:nvPr/>
            </p:nvPicPr>
            <p:blipFill>
              <a:blip r:embed="rId11"/>
              <a:stretch>
                <a:fillRect/>
              </a:stretch>
            </p:blipFill>
            <p:spPr>
              <a:xfrm>
                <a:off x="8193683" y="-2330727"/>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15988308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14DD4F6-545C-4D3A-B33F-217D3B23DA35}"/>
              </a:ext>
            </a:extLst>
          </p:cNvPr>
          <p:cNvSpPr txBox="1"/>
          <p:nvPr/>
        </p:nvSpPr>
        <p:spPr>
          <a:xfrm>
            <a:off x="4717317" y="1334144"/>
            <a:ext cx="4854214" cy="1754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5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ore Featur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5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4" name="TextBox 3">
            <a:extLst>
              <a:ext uri="{FF2B5EF4-FFF2-40B4-BE49-F238E27FC236}">
                <a16:creationId xmlns:a16="http://schemas.microsoft.com/office/drawing/2014/main" id="{0223FC99-4000-4129-9590-C7625A78330E}"/>
              </a:ext>
            </a:extLst>
          </p:cNvPr>
          <p:cNvSpPr txBox="1"/>
          <p:nvPr/>
        </p:nvSpPr>
        <p:spPr>
          <a:xfrm>
            <a:off x="4717317" y="2335398"/>
            <a:ext cx="7194919" cy="4203715"/>
          </a:xfrm>
          <a:prstGeom prst="rect">
            <a:avLst/>
          </a:prstGeom>
          <a:noFill/>
        </p:spPr>
        <p:txBody>
          <a:bodyPr wrap="square">
            <a:spAutoFit/>
          </a:bodyPr>
          <a:lstStyle/>
          <a:p>
            <a:pPr marL="457200" marR="0" lvl="0" indent="-457200" algn="l" defTabSz="914400" rtl="0" eaLnBrk="1" fontAlgn="auto" latinLnBrk="0" hangingPunct="1">
              <a:lnSpc>
                <a:spcPct val="150000"/>
              </a:lnSpc>
              <a:spcBef>
                <a:spcPts val="0"/>
              </a:spcBef>
              <a:spcAft>
                <a:spcPts val="0"/>
              </a:spcAft>
              <a:buClrTx/>
              <a:buSzTx/>
              <a:buFont typeface="+mj-lt"/>
              <a:buAutoNum type="arabicPeriod"/>
              <a:tabLst/>
              <a:defRPr/>
            </a:pPr>
            <a:r>
              <a:rPr lang="en-US" sz="2000" dirty="0">
                <a:latin typeface="Poppins" panose="00000500000000000000" pitchFamily="2" charset="0"/>
                <a:cs typeface="Poppins" panose="00000500000000000000" pitchFamily="2" charset="0"/>
              </a:rPr>
              <a:t>Authenticated and email verified login system</a:t>
            </a:r>
          </a:p>
          <a:p>
            <a:pPr marL="457200" marR="0" lvl="0" indent="-457200" algn="l" defTabSz="914400" rtl="0" eaLnBrk="1" fontAlgn="auto" latinLnBrk="0" hangingPunct="1">
              <a:lnSpc>
                <a:spcPct val="150000"/>
              </a:lnSpc>
              <a:spcBef>
                <a:spcPts val="0"/>
              </a:spcBef>
              <a:spcAft>
                <a:spcPts val="0"/>
              </a:spcAft>
              <a:buClrTx/>
              <a:buSzTx/>
              <a:buFont typeface="+mj-lt"/>
              <a:buAutoNum type="arabicPeriod"/>
              <a:tabLst/>
              <a:defRPr/>
            </a:pPr>
            <a:r>
              <a:rPr lang="en-US" sz="2000" dirty="0">
                <a:latin typeface="Poppins" panose="00000500000000000000" pitchFamily="2" charset="0"/>
                <a:cs typeface="Poppins" panose="00000500000000000000" pitchFamily="2" charset="0"/>
              </a:rPr>
              <a:t>Real-time conversation</a:t>
            </a:r>
          </a:p>
          <a:p>
            <a:pPr marL="457200" marR="0" lvl="0" indent="-457200" algn="l" defTabSz="914400" rtl="0" eaLnBrk="1" fontAlgn="auto" latinLnBrk="0" hangingPunct="1">
              <a:lnSpc>
                <a:spcPct val="150000"/>
              </a:lnSpc>
              <a:spcBef>
                <a:spcPts val="0"/>
              </a:spcBef>
              <a:spcAft>
                <a:spcPts val="0"/>
              </a:spcAft>
              <a:buClrTx/>
              <a:buSzTx/>
              <a:buFont typeface="+mj-lt"/>
              <a:buAutoNum type="arabicPeriod"/>
              <a:tabLst/>
              <a:defRPr/>
            </a:pPr>
            <a:r>
              <a:rPr lang="en-US" sz="2000" dirty="0">
                <a:latin typeface="Poppins" panose="00000500000000000000" pitchFamily="2" charset="0"/>
                <a:cs typeface="Poppins" panose="00000500000000000000" pitchFamily="2" charset="0"/>
              </a:rPr>
              <a:t>Create, update, delete and read operations on different type of data</a:t>
            </a:r>
          </a:p>
          <a:p>
            <a:pPr marL="457200" marR="0" lvl="0" indent="-457200" algn="l" defTabSz="914400" rtl="0" eaLnBrk="1" fontAlgn="auto" latinLnBrk="0" hangingPunct="1">
              <a:lnSpc>
                <a:spcPct val="150000"/>
              </a:lnSpc>
              <a:spcBef>
                <a:spcPts val="0"/>
              </a:spcBef>
              <a:spcAft>
                <a:spcPts val="0"/>
              </a:spcAft>
              <a:buClrTx/>
              <a:buSzTx/>
              <a:buFont typeface="+mj-lt"/>
              <a:buAutoNum type="arabicPeriod"/>
              <a:tabLst/>
              <a:defRPr/>
            </a:pPr>
            <a:r>
              <a:rPr lang="en-US" sz="2000" dirty="0">
                <a:latin typeface="Poppins" panose="00000500000000000000" pitchFamily="2" charset="0"/>
                <a:cs typeface="Poppins" panose="00000500000000000000" pitchFamily="2" charset="0"/>
              </a:rPr>
              <a:t>Advance UI design </a:t>
            </a:r>
          </a:p>
          <a:p>
            <a:pPr marL="457200" marR="0" lvl="0" indent="-457200" algn="l" defTabSz="914400" rtl="0" eaLnBrk="1" fontAlgn="auto" latinLnBrk="0" hangingPunct="1">
              <a:lnSpc>
                <a:spcPct val="150000"/>
              </a:lnSpc>
              <a:spcBef>
                <a:spcPts val="0"/>
              </a:spcBef>
              <a:spcAft>
                <a:spcPts val="0"/>
              </a:spcAft>
              <a:buClrTx/>
              <a:buSzTx/>
              <a:buFont typeface="+mj-lt"/>
              <a:buAutoNum type="arabicPeriod"/>
              <a:tabLst/>
              <a:defRPr/>
            </a:pPr>
            <a:r>
              <a:rPr lang="en-US" sz="2000" dirty="0">
                <a:latin typeface="Poppins" panose="00000500000000000000" pitchFamily="2" charset="0"/>
                <a:cs typeface="Poppins" panose="00000500000000000000" pitchFamily="2" charset="0"/>
              </a:rPr>
              <a:t>Mobile Responsive design </a:t>
            </a:r>
          </a:p>
          <a:p>
            <a:pPr marL="457200" marR="0" lvl="0" indent="-457200" algn="l" defTabSz="914400" rtl="0" eaLnBrk="1" fontAlgn="auto" latinLnBrk="0" hangingPunct="1">
              <a:lnSpc>
                <a:spcPct val="150000"/>
              </a:lnSpc>
              <a:spcBef>
                <a:spcPts val="0"/>
              </a:spcBef>
              <a:spcAft>
                <a:spcPts val="0"/>
              </a:spcAft>
              <a:buClrTx/>
              <a:buSzTx/>
              <a:buFont typeface="+mj-lt"/>
              <a:buAutoNum type="arabicPeriod"/>
              <a:tabLst/>
              <a:defRPr/>
            </a:pPr>
            <a:r>
              <a:rPr lang="en-US" sz="2000" dirty="0">
                <a:latin typeface="Poppins" panose="00000500000000000000" pitchFamily="2" charset="0"/>
                <a:cs typeface="Poppins" panose="00000500000000000000" pitchFamily="2" charset="0"/>
              </a:rPr>
              <a:t>Advance Animation and transition </a:t>
            </a:r>
          </a:p>
          <a:p>
            <a:pPr marL="457200" marR="0" lvl="0" indent="-457200" algn="l" defTabSz="914400" rtl="0" eaLnBrk="1" fontAlgn="auto" latinLnBrk="0" hangingPunct="1">
              <a:lnSpc>
                <a:spcPct val="150000"/>
              </a:lnSpc>
              <a:spcBef>
                <a:spcPts val="0"/>
              </a:spcBef>
              <a:spcAft>
                <a:spcPts val="0"/>
              </a:spcAft>
              <a:buClrTx/>
              <a:buSzTx/>
              <a:buFont typeface="+mj-lt"/>
              <a:buAutoNum type="arabicPeriod"/>
              <a:tabLst/>
              <a:defRPr/>
            </a:pPr>
            <a:r>
              <a:rPr lang="en-US" sz="2000" dirty="0">
                <a:latin typeface="Poppins" panose="00000500000000000000" pitchFamily="2" charset="0"/>
                <a:cs typeface="Poppins" panose="00000500000000000000" pitchFamily="2" charset="0"/>
              </a:rPr>
              <a:t>File Uploading and manipulation </a:t>
            </a:r>
          </a:p>
          <a:p>
            <a:pPr marL="457200" marR="0" lvl="0" indent="-457200" algn="l" defTabSz="914400" rtl="0" eaLnBrk="1" fontAlgn="auto" latinLnBrk="0" hangingPunct="1">
              <a:lnSpc>
                <a:spcPct val="150000"/>
              </a:lnSpc>
              <a:spcBef>
                <a:spcPts val="0"/>
              </a:spcBef>
              <a:spcAft>
                <a:spcPts val="0"/>
              </a:spcAft>
              <a:buClrTx/>
              <a:buSzTx/>
              <a:buFont typeface="+mj-lt"/>
              <a:buAutoNum type="arabicPeriod"/>
              <a:tabLst/>
              <a:defRPr/>
            </a:pPr>
            <a:r>
              <a:rPr lang="en-US" sz="2000" dirty="0">
                <a:latin typeface="Poppins" panose="00000500000000000000" pitchFamily="2" charset="0"/>
                <a:cs typeface="Poppins" panose="00000500000000000000" pitchFamily="2" charset="0"/>
              </a:rPr>
              <a:t>Fast and futuristic model </a:t>
            </a:r>
            <a:endParaRPr kumimoji="0" lang="en-US" sz="2000" b="0" u="none" strike="noStrike" kern="1200" cap="none" spc="0" normalizeH="0" baseline="0" noProof="0" dirty="0">
              <a:ln>
                <a:noFill/>
              </a:ln>
              <a:solidFill>
                <a:srgbClr val="A5A5A5">
                  <a:lumMod val="50000"/>
                </a:srgbClr>
              </a:solidFill>
              <a:effectLst/>
              <a:uLnTx/>
              <a:uFillTx/>
              <a:latin typeface="Poppins" panose="00000500000000000000" pitchFamily="2" charset="0"/>
              <a:cs typeface="Poppins" panose="00000500000000000000" pitchFamily="2" charset="0"/>
            </a:endParaRPr>
          </a:p>
        </p:txBody>
      </p:sp>
      <p:pic>
        <p:nvPicPr>
          <p:cNvPr id="6" name="Picture 5">
            <a:extLst>
              <a:ext uri="{FF2B5EF4-FFF2-40B4-BE49-F238E27FC236}">
                <a16:creationId xmlns:a16="http://schemas.microsoft.com/office/drawing/2014/main" id="{B2EE427F-98EE-460F-A211-1FF8DFA562D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9221" y="993613"/>
            <a:ext cx="4136035" cy="5226371"/>
          </a:xfrm>
          <a:prstGeom prst="rect">
            <a:avLst/>
          </a:prstGeom>
        </p:spPr>
      </p:pic>
      <mc:AlternateContent xmlns:mc="http://schemas.openxmlformats.org/markup-compatibility/2006" xmlns:pslz="http://schemas.microsoft.com/office/powerpoint/2016/slidezoom">
        <mc:Choice Requires="pslz">
          <p:graphicFrame>
            <p:nvGraphicFramePr>
              <p:cNvPr id="3" name="Slide Zoom 2">
                <a:extLst>
                  <a:ext uri="{FF2B5EF4-FFF2-40B4-BE49-F238E27FC236}">
                    <a16:creationId xmlns:a16="http://schemas.microsoft.com/office/drawing/2014/main" id="{613A8A9E-A743-04F0-345F-618C6107493A}"/>
                  </a:ext>
                </a:extLst>
              </p:cNvPr>
              <p:cNvGraphicFramePr>
                <a:graphicFrameLocks noChangeAspect="1"/>
              </p:cNvGraphicFramePr>
              <p:nvPr>
                <p:extLst>
                  <p:ext uri="{D42A27DB-BD31-4B8C-83A1-F6EECF244321}">
                    <p14:modId xmlns:p14="http://schemas.microsoft.com/office/powerpoint/2010/main" val="2953768203"/>
                  </p:ext>
                </p:extLst>
              </p:nvPr>
            </p:nvGraphicFramePr>
            <p:xfrm>
              <a:off x="899095" y="-1995124"/>
              <a:ext cx="3048000" cy="1714500"/>
            </p:xfrm>
            <a:graphic>
              <a:graphicData uri="http://schemas.microsoft.com/office/powerpoint/2016/slidezoom">
                <pslz:sldZm>
                  <pslz:sldZmObj sldId="262" cId="4240248860">
                    <pslz:zmPr id="{D4E67CBB-E945-493F-8BD1-AEEB6F804861}" returnToParent="0" transitionDur="1000">
                      <p166:blipFill xmlns:p166="http://schemas.microsoft.com/office/powerpoint/2016/6/main">
                        <a:blip r:embed="rId3"/>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Slide Zoom 2">
                <a:hlinkClick r:id="rId4" action="ppaction://hlinksldjump"/>
                <a:extLst>
                  <a:ext uri="{FF2B5EF4-FFF2-40B4-BE49-F238E27FC236}">
                    <a16:creationId xmlns:a16="http://schemas.microsoft.com/office/drawing/2014/main" id="{613A8A9E-A743-04F0-345F-618C6107493A}"/>
                  </a:ext>
                </a:extLst>
              </p:cNvPr>
              <p:cNvPicPr>
                <a:picLocks noGrp="1" noRot="1" noChangeAspect="1" noMove="1" noResize="1" noEditPoints="1" noAdjustHandles="1" noChangeArrowheads="1" noChangeShapeType="1"/>
              </p:cNvPicPr>
              <p:nvPr/>
            </p:nvPicPr>
            <p:blipFill>
              <a:blip r:embed="rId5"/>
              <a:stretch>
                <a:fillRect/>
              </a:stretch>
            </p:blipFill>
            <p:spPr>
              <a:xfrm>
                <a:off x="899095" y="-1995124"/>
                <a:ext cx="3048000" cy="1714500"/>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AFBA4866-DC66-0BAF-7980-5D8578C030F0}"/>
                  </a:ext>
                </a:extLst>
              </p:cNvPr>
              <p:cNvGraphicFramePr>
                <a:graphicFrameLocks noChangeAspect="1"/>
              </p:cNvGraphicFramePr>
              <p:nvPr>
                <p:extLst>
                  <p:ext uri="{D42A27DB-BD31-4B8C-83A1-F6EECF244321}">
                    <p14:modId xmlns:p14="http://schemas.microsoft.com/office/powerpoint/2010/main" val="3840528146"/>
                  </p:ext>
                </p:extLst>
              </p:nvPr>
            </p:nvGraphicFramePr>
            <p:xfrm>
              <a:off x="4455886" y="-1966391"/>
              <a:ext cx="3048000" cy="1714500"/>
            </p:xfrm>
            <a:graphic>
              <a:graphicData uri="http://schemas.microsoft.com/office/powerpoint/2016/slidezoom">
                <pslz:sldZm>
                  <pslz:sldZmObj sldId="325" cId="1598830874">
                    <pslz:zmPr id="{7B9BAEA4-5038-4F6A-A100-6050FFE5C30F}" returnToParent="0" transitionDur="1000">
                      <p166:blipFill xmlns:p166="http://schemas.microsoft.com/office/powerpoint/2016/6/main">
                        <a:blip r:embed="rId6"/>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5" name="Slide Zoom 4">
                <a:hlinkClick r:id="rId7" action="ppaction://hlinksldjump"/>
                <a:extLst>
                  <a:ext uri="{FF2B5EF4-FFF2-40B4-BE49-F238E27FC236}">
                    <a16:creationId xmlns:a16="http://schemas.microsoft.com/office/drawing/2014/main" id="{AFBA4866-DC66-0BAF-7980-5D8578C030F0}"/>
                  </a:ext>
                </a:extLst>
              </p:cNvPr>
              <p:cNvPicPr>
                <a:picLocks noGrp="1" noRot="1" noChangeAspect="1" noMove="1" noResize="1" noEditPoints="1" noAdjustHandles="1" noChangeArrowheads="1" noChangeShapeType="1"/>
              </p:cNvPicPr>
              <p:nvPr/>
            </p:nvPicPr>
            <p:blipFill>
              <a:blip r:embed="rId8"/>
              <a:stretch>
                <a:fillRect/>
              </a:stretch>
            </p:blipFill>
            <p:spPr>
              <a:xfrm>
                <a:off x="4455886" y="-1966391"/>
                <a:ext cx="3048000" cy="1714500"/>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7A07A31D-4DA5-3F26-B663-3D7B56C30D05}"/>
                  </a:ext>
                </a:extLst>
              </p:cNvPr>
              <p:cNvGraphicFramePr>
                <a:graphicFrameLocks noChangeAspect="1"/>
              </p:cNvGraphicFramePr>
              <p:nvPr>
                <p:extLst>
                  <p:ext uri="{D42A27DB-BD31-4B8C-83A1-F6EECF244321}">
                    <p14:modId xmlns:p14="http://schemas.microsoft.com/office/powerpoint/2010/main" val="1941978297"/>
                  </p:ext>
                </p:extLst>
              </p:nvPr>
            </p:nvGraphicFramePr>
            <p:xfrm>
              <a:off x="8138094" y="-1934681"/>
              <a:ext cx="3048000" cy="1714500"/>
            </p:xfrm>
            <a:graphic>
              <a:graphicData uri="http://schemas.microsoft.com/office/powerpoint/2016/slidezoom">
                <pslz:sldZm>
                  <pslz:sldZmObj sldId="261" cId="3667921507">
                    <pslz:zmPr id="{ADB5E305-5F37-4E38-9ADD-91B528A7214D}" returnToParent="0" transitionDur="1000">
                      <p166:blipFill xmlns:p166="http://schemas.microsoft.com/office/powerpoint/2016/6/main">
                        <a:blip r:embed="rId9"/>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7" name="Slide Zoom 6">
                <a:hlinkClick r:id="rId10" action="ppaction://hlinksldjump"/>
                <a:extLst>
                  <a:ext uri="{FF2B5EF4-FFF2-40B4-BE49-F238E27FC236}">
                    <a16:creationId xmlns:a16="http://schemas.microsoft.com/office/drawing/2014/main" id="{7A07A31D-4DA5-3F26-B663-3D7B56C30D05}"/>
                  </a:ext>
                </a:extLst>
              </p:cNvPr>
              <p:cNvPicPr>
                <a:picLocks noGrp="1" noRot="1" noChangeAspect="1" noMove="1" noResize="1" noEditPoints="1" noAdjustHandles="1" noChangeArrowheads="1" noChangeShapeType="1"/>
              </p:cNvPicPr>
              <p:nvPr/>
            </p:nvPicPr>
            <p:blipFill>
              <a:blip r:embed="rId11"/>
              <a:stretch>
                <a:fillRect/>
              </a:stretch>
            </p:blipFill>
            <p:spPr>
              <a:xfrm>
                <a:off x="8138094" y="-1934681"/>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36679215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E8B9359-5B8D-42D8-8D71-381018F24C77}"/>
              </a:ext>
            </a:extLst>
          </p:cNvPr>
          <p:cNvPicPr>
            <a:picLocks noChangeAspect="1"/>
          </p:cNvPicPr>
          <p:nvPr/>
        </p:nvPicPr>
        <p:blipFill rotWithShape="1">
          <a:blip r:embed="rId2"/>
          <a:srcRect l="4818" t="13929" r="11068" b="15870"/>
          <a:stretch/>
        </p:blipFill>
        <p:spPr>
          <a:xfrm>
            <a:off x="0" y="1"/>
            <a:ext cx="12192000" cy="6857999"/>
          </a:xfrm>
          <a:prstGeom prst="rect">
            <a:avLst/>
          </a:prstGeom>
        </p:spPr>
      </p:pic>
      <p:pic>
        <p:nvPicPr>
          <p:cNvPr id="5" name="Picture 4">
            <a:extLst>
              <a:ext uri="{FF2B5EF4-FFF2-40B4-BE49-F238E27FC236}">
                <a16:creationId xmlns:a16="http://schemas.microsoft.com/office/drawing/2014/main" id="{59EC0469-F0EB-4FA6-A663-0F1171475995}"/>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6667" t="5925" r="68854" b="7037"/>
          <a:stretch/>
        </p:blipFill>
        <p:spPr>
          <a:xfrm>
            <a:off x="812800" y="406400"/>
            <a:ext cx="2984500" cy="5969000"/>
          </a:xfrm>
          <a:prstGeom prst="roundRect">
            <a:avLst>
              <a:gd name="adj" fmla="val 10284"/>
            </a:avLst>
          </a:prstGeom>
          <a:noFill/>
          <a:ln>
            <a:noFill/>
          </a:ln>
          <a:effectLst>
            <a:outerShdw blurRad="635000" dist="215900" dir="7200000" algn="ctr" rotWithShape="0">
              <a:schemeClr val="tx1">
                <a:lumMod val="50000"/>
                <a:lumOff val="50000"/>
                <a:alpha val="43000"/>
              </a:schemeClr>
            </a:outerShdw>
          </a:effectLst>
        </p:spPr>
      </p:pic>
      <p:sp>
        <p:nvSpPr>
          <p:cNvPr id="7" name="TextBox 6">
            <a:extLst>
              <a:ext uri="{FF2B5EF4-FFF2-40B4-BE49-F238E27FC236}">
                <a16:creationId xmlns:a16="http://schemas.microsoft.com/office/drawing/2014/main" id="{78290698-34CB-4705-B9AF-BB16F1EA9026}"/>
              </a:ext>
            </a:extLst>
          </p:cNvPr>
          <p:cNvSpPr txBox="1"/>
          <p:nvPr/>
        </p:nvSpPr>
        <p:spPr>
          <a:xfrm>
            <a:off x="812800" y="2065187"/>
            <a:ext cx="3116262"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ON </a:t>
            </a:r>
          </a:p>
          <a:p>
            <a:pPr marL="0" marR="0" lvl="0" indent="0" algn="l" defTabSz="914400" rtl="0" eaLnBrk="1" fontAlgn="auto" latinLnBrk="0" hangingPunct="1">
              <a:lnSpc>
                <a:spcPct val="100000"/>
              </a:lnSpc>
              <a:spcBef>
                <a:spcPts val="0"/>
              </a:spcBef>
              <a:spcAft>
                <a:spcPts val="0"/>
              </a:spcAft>
              <a:buClrTx/>
              <a:buSzTx/>
              <a:buFontTx/>
              <a:buNone/>
              <a:tabLst/>
              <a:defRPr/>
            </a:pPr>
            <a:r>
              <a:rPr lang="en-MY" sz="4800" b="1" dirty="0">
                <a:solidFill>
                  <a:prstClr val="black"/>
                </a:solidFill>
                <a:latin typeface="Century Gothic" panose="020B0502020202020204" pitchFamily="34" charset="0"/>
              </a:rPr>
              <a:t>PRACTICE</a:t>
            </a:r>
            <a:r>
              <a:rPr kumimoji="0" lang="en-MY" sz="4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4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8" name="TextBox 7">
            <a:extLst>
              <a:ext uri="{FF2B5EF4-FFF2-40B4-BE49-F238E27FC236}">
                <a16:creationId xmlns:a16="http://schemas.microsoft.com/office/drawing/2014/main" id="{D6DD4C71-14E6-49ED-8568-B7921D041CD4}"/>
              </a:ext>
            </a:extLst>
          </p:cNvPr>
          <p:cNvSpPr txBox="1"/>
          <p:nvPr/>
        </p:nvSpPr>
        <p:spPr>
          <a:xfrm>
            <a:off x="845741" y="1350870"/>
            <a:ext cx="298450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8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PROJECT </a:t>
            </a:r>
          </a:p>
        </p:txBody>
      </p:sp>
      <p:grpSp>
        <p:nvGrpSpPr>
          <p:cNvPr id="13" name="Group 12">
            <a:extLst>
              <a:ext uri="{FF2B5EF4-FFF2-40B4-BE49-F238E27FC236}">
                <a16:creationId xmlns:a16="http://schemas.microsoft.com/office/drawing/2014/main" id="{E2ED9B0F-37B7-403E-8DA5-4C5F549FC7CB}"/>
              </a:ext>
            </a:extLst>
          </p:cNvPr>
          <p:cNvGrpSpPr/>
          <p:nvPr/>
        </p:nvGrpSpPr>
        <p:grpSpPr>
          <a:xfrm>
            <a:off x="1588770" y="5753100"/>
            <a:ext cx="1432560" cy="441960"/>
            <a:chOff x="1588770" y="5753100"/>
            <a:chExt cx="1432560" cy="441960"/>
          </a:xfrm>
          <a:effectLst>
            <a:outerShdw blurRad="165100" dist="76200" dir="7200000" algn="t" rotWithShape="0">
              <a:prstClr val="black">
                <a:alpha val="40000"/>
              </a:prstClr>
            </a:outerShdw>
          </a:effectLst>
        </p:grpSpPr>
        <p:sp>
          <p:nvSpPr>
            <p:cNvPr id="6" name="Rectangle: Rounded Corners 5">
              <a:extLst>
                <a:ext uri="{FF2B5EF4-FFF2-40B4-BE49-F238E27FC236}">
                  <a16:creationId xmlns:a16="http://schemas.microsoft.com/office/drawing/2014/main" id="{7A9D66CD-933F-47F2-88AE-8A6390E5BD43}"/>
                </a:ext>
              </a:extLst>
            </p:cNvPr>
            <p:cNvSpPr/>
            <p:nvPr/>
          </p:nvSpPr>
          <p:spPr>
            <a:xfrm>
              <a:off x="1588770" y="5753100"/>
              <a:ext cx="1432560" cy="44196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12" name="TextBox 11">
              <a:extLst>
                <a:ext uri="{FF2B5EF4-FFF2-40B4-BE49-F238E27FC236}">
                  <a16:creationId xmlns:a16="http://schemas.microsoft.com/office/drawing/2014/main" id="{F43E55E4-DB0F-4412-9DAE-8E90604C281D}"/>
                </a:ext>
              </a:extLst>
            </p:cNvPr>
            <p:cNvSpPr txBox="1"/>
            <p:nvPr/>
          </p:nvSpPr>
          <p:spPr>
            <a:xfrm>
              <a:off x="1978025" y="5789414"/>
              <a:ext cx="7493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rPr>
                <a:t>Start</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9" name="TextBox 18">
            <a:extLst>
              <a:ext uri="{FF2B5EF4-FFF2-40B4-BE49-F238E27FC236}">
                <a16:creationId xmlns:a16="http://schemas.microsoft.com/office/drawing/2014/main" id="{E56AD6B4-1375-43DF-89AE-B8D7781E3496}"/>
              </a:ext>
            </a:extLst>
          </p:cNvPr>
          <p:cNvSpPr txBox="1"/>
          <p:nvPr/>
        </p:nvSpPr>
        <p:spPr>
          <a:xfrm>
            <a:off x="859769" y="3737740"/>
            <a:ext cx="2775137"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4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Show about how projects build and how runs</a:t>
            </a:r>
          </a:p>
        </p:txBody>
      </p:sp>
      <p:pic>
        <p:nvPicPr>
          <p:cNvPr id="20" name="Picture 19">
            <a:extLst>
              <a:ext uri="{FF2B5EF4-FFF2-40B4-BE49-F238E27FC236}">
                <a16:creationId xmlns:a16="http://schemas.microsoft.com/office/drawing/2014/main" id="{D0FED786-578C-4F32-AB04-E8F9DEE89828}"/>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69999" t="5925" r="5523" b="7037"/>
          <a:stretch/>
        </p:blipFill>
        <p:spPr>
          <a:xfrm>
            <a:off x="8534400" y="406400"/>
            <a:ext cx="2984500" cy="5969000"/>
          </a:xfrm>
          <a:prstGeom prst="roundRect">
            <a:avLst>
              <a:gd name="adj" fmla="val 10284"/>
            </a:avLst>
          </a:prstGeom>
          <a:noFill/>
          <a:ln>
            <a:noFill/>
          </a:ln>
          <a:effectLst>
            <a:outerShdw blurRad="635000" dist="215900" dir="7200000" algn="ctr" rotWithShape="0">
              <a:schemeClr val="tx1">
                <a:lumMod val="50000"/>
                <a:lumOff val="50000"/>
                <a:alpha val="43000"/>
              </a:schemeClr>
            </a:outerShdw>
          </a:effectLst>
        </p:spPr>
      </p:pic>
      <p:pic>
        <p:nvPicPr>
          <p:cNvPr id="24" name="Picture 23" descr="A picture containing person, clothing, suit, dark&#10;&#10;Description automatically generated">
            <a:extLst>
              <a:ext uri="{FF2B5EF4-FFF2-40B4-BE49-F238E27FC236}">
                <a16:creationId xmlns:a16="http://schemas.microsoft.com/office/drawing/2014/main" id="{A6A16990-D52E-46CA-9182-6E88455B1B67}"/>
              </a:ext>
            </a:extLst>
          </p:cNvPr>
          <p:cNvPicPr>
            <a:picLocks noChangeAspect="1"/>
          </p:cNvPicPr>
          <p:nvPr/>
        </p:nvPicPr>
        <p:blipFill>
          <a:blip r:embed="rId5"/>
          <a:stretch>
            <a:fillRect/>
          </a:stretch>
        </p:blipFill>
        <p:spPr>
          <a:xfrm flipH="1">
            <a:off x="8712075" y="1777561"/>
            <a:ext cx="2740944" cy="3429000"/>
          </a:xfrm>
          <a:prstGeom prst="rect">
            <a:avLst/>
          </a:prstGeom>
        </p:spPr>
      </p:pic>
      <p:sp>
        <p:nvSpPr>
          <p:cNvPr id="28" name="TextBox 27">
            <a:extLst>
              <a:ext uri="{FF2B5EF4-FFF2-40B4-BE49-F238E27FC236}">
                <a16:creationId xmlns:a16="http://schemas.microsoft.com/office/drawing/2014/main" id="{FD389285-2F23-43D5-A207-1F5771A5B47B}"/>
              </a:ext>
            </a:extLst>
          </p:cNvPr>
          <p:cNvSpPr txBox="1"/>
          <p:nvPr/>
        </p:nvSpPr>
        <p:spPr>
          <a:xfrm>
            <a:off x="8646194" y="1151401"/>
            <a:ext cx="1075144"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32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32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Th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32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go</a:t>
            </a:r>
            <a:endParaRPr kumimoji="0" lang="en-MY" sz="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32" name="Rectangle: Rounded Corners 31">
            <a:extLst>
              <a:ext uri="{FF2B5EF4-FFF2-40B4-BE49-F238E27FC236}">
                <a16:creationId xmlns:a16="http://schemas.microsoft.com/office/drawing/2014/main" id="{2339F55E-8271-44A8-9A4D-C147BF3DAAF7}"/>
              </a:ext>
            </a:extLst>
          </p:cNvPr>
          <p:cNvSpPr/>
          <p:nvPr/>
        </p:nvSpPr>
        <p:spPr>
          <a:xfrm>
            <a:off x="8779677" y="739604"/>
            <a:ext cx="435761" cy="85940"/>
          </a:xfrm>
          <a:prstGeom prst="roundRect">
            <a:avLst>
              <a:gd name="adj" fmla="val 50000"/>
            </a:avLst>
          </a:prstGeom>
          <a:solidFill>
            <a:srgbClr val="B499EB"/>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tangle: Rounded Corners 32">
            <a:extLst>
              <a:ext uri="{FF2B5EF4-FFF2-40B4-BE49-F238E27FC236}">
                <a16:creationId xmlns:a16="http://schemas.microsoft.com/office/drawing/2014/main" id="{C85AB455-ACDC-44AA-9323-422663851A56}"/>
              </a:ext>
            </a:extLst>
          </p:cNvPr>
          <p:cNvSpPr/>
          <p:nvPr/>
        </p:nvSpPr>
        <p:spPr>
          <a:xfrm>
            <a:off x="8779678" y="847434"/>
            <a:ext cx="363677" cy="85941"/>
          </a:xfrm>
          <a:prstGeom prst="roundRect">
            <a:avLst>
              <a:gd name="adj" fmla="val 50000"/>
            </a:avLst>
          </a:prstGeom>
          <a:solidFill>
            <a:srgbClr val="B499EB"/>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Rounded Corners 33">
            <a:extLst>
              <a:ext uri="{FF2B5EF4-FFF2-40B4-BE49-F238E27FC236}">
                <a16:creationId xmlns:a16="http://schemas.microsoft.com/office/drawing/2014/main" id="{729E52D0-2237-453D-986B-28EE69161E29}"/>
              </a:ext>
            </a:extLst>
          </p:cNvPr>
          <p:cNvSpPr/>
          <p:nvPr/>
        </p:nvSpPr>
        <p:spPr>
          <a:xfrm>
            <a:off x="8779678" y="955265"/>
            <a:ext cx="285465" cy="90169"/>
          </a:xfrm>
          <a:prstGeom prst="roundRect">
            <a:avLst>
              <a:gd name="adj" fmla="val 50000"/>
            </a:avLst>
          </a:prstGeom>
          <a:solidFill>
            <a:srgbClr val="B499EB"/>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DDBAE0BC-A397-4185-81A4-0E255E522365}"/>
              </a:ext>
            </a:extLst>
          </p:cNvPr>
          <p:cNvGrpSpPr/>
          <p:nvPr/>
        </p:nvGrpSpPr>
        <p:grpSpPr>
          <a:xfrm>
            <a:off x="8666162" y="3915917"/>
            <a:ext cx="2720976" cy="2333361"/>
            <a:chOff x="8666162" y="3915917"/>
            <a:chExt cx="2720976" cy="2333361"/>
          </a:xfrm>
        </p:grpSpPr>
        <p:sp>
          <p:nvSpPr>
            <p:cNvPr id="23" name="Rectangle: Rounded Corners 22">
              <a:extLst>
                <a:ext uri="{FF2B5EF4-FFF2-40B4-BE49-F238E27FC236}">
                  <a16:creationId xmlns:a16="http://schemas.microsoft.com/office/drawing/2014/main" id="{6E15B50A-84FB-434E-8B78-F13B832D2499}"/>
                </a:ext>
              </a:extLst>
            </p:cNvPr>
            <p:cNvSpPr/>
            <p:nvPr/>
          </p:nvSpPr>
          <p:spPr>
            <a:xfrm>
              <a:off x="8666162" y="3915917"/>
              <a:ext cx="2720976" cy="2333361"/>
            </a:xfrm>
            <a:prstGeom prst="roundRect">
              <a:avLst>
                <a:gd name="adj" fmla="val 10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C3750D43-7160-4C50-9C58-7CE5F605787C}"/>
                </a:ext>
              </a:extLst>
            </p:cNvPr>
            <p:cNvSpPr txBox="1"/>
            <p:nvPr/>
          </p:nvSpPr>
          <p:spPr>
            <a:xfrm>
              <a:off x="8833488" y="4555745"/>
              <a:ext cx="2386324"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MY"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ast and Secure application with advance and responsive UI</a:t>
              </a:r>
            </a:p>
          </p:txBody>
        </p:sp>
      </p:grpSp>
      <p:pic>
        <p:nvPicPr>
          <p:cNvPr id="37" name="Picture 36">
            <a:extLst>
              <a:ext uri="{FF2B5EF4-FFF2-40B4-BE49-F238E27FC236}">
                <a16:creationId xmlns:a16="http://schemas.microsoft.com/office/drawing/2014/main" id="{F4D43D9A-CA01-4EA3-9C34-9479F0A7004D}"/>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32603" t="5921" r="31495" b="7039"/>
          <a:stretch/>
        </p:blipFill>
        <p:spPr>
          <a:xfrm>
            <a:off x="3974976" y="406401"/>
            <a:ext cx="4377214" cy="5969000"/>
          </a:xfrm>
          <a:prstGeom prst="roundRect">
            <a:avLst>
              <a:gd name="adj" fmla="val 7958"/>
            </a:avLst>
          </a:prstGeom>
          <a:noFill/>
          <a:ln>
            <a:noFill/>
          </a:ln>
          <a:effectLst>
            <a:outerShdw blurRad="635000" dist="215900" dir="7200000" algn="ctr" rotWithShape="0">
              <a:schemeClr val="tx1">
                <a:lumMod val="50000"/>
                <a:lumOff val="50000"/>
                <a:alpha val="43000"/>
              </a:schemeClr>
            </a:outerShdw>
          </a:effectLst>
        </p:spPr>
      </p:pic>
      <p:sp>
        <p:nvSpPr>
          <p:cNvPr id="53" name="Rectangle: Rounded Corners 52">
            <a:extLst>
              <a:ext uri="{FF2B5EF4-FFF2-40B4-BE49-F238E27FC236}">
                <a16:creationId xmlns:a16="http://schemas.microsoft.com/office/drawing/2014/main" id="{A965B900-9C68-435D-8B1E-CCD71A1A7ACA}"/>
              </a:ext>
            </a:extLst>
          </p:cNvPr>
          <p:cNvSpPr/>
          <p:nvPr/>
        </p:nvSpPr>
        <p:spPr>
          <a:xfrm>
            <a:off x="4186555" y="4280318"/>
            <a:ext cx="3891021" cy="1847888"/>
          </a:xfrm>
          <a:prstGeom prst="roundRect">
            <a:avLst>
              <a:gd name="adj" fmla="val 14413"/>
            </a:avLst>
          </a:prstGeom>
          <a:solidFill>
            <a:srgbClr val="CA9D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2" name="Rectangle: Rounded Corners 51">
            <a:extLst>
              <a:ext uri="{FF2B5EF4-FFF2-40B4-BE49-F238E27FC236}">
                <a16:creationId xmlns:a16="http://schemas.microsoft.com/office/drawing/2014/main" id="{DD715D1F-7C5C-4426-ADFB-1B432F6B3E89}"/>
              </a:ext>
            </a:extLst>
          </p:cNvPr>
          <p:cNvSpPr/>
          <p:nvPr/>
        </p:nvSpPr>
        <p:spPr>
          <a:xfrm>
            <a:off x="4120674" y="4168961"/>
            <a:ext cx="4068606" cy="1847888"/>
          </a:xfrm>
          <a:prstGeom prst="roundRect">
            <a:avLst>
              <a:gd name="adj" fmla="val 14413"/>
            </a:avLst>
          </a:prstGeom>
          <a:gradFill>
            <a:gsLst>
              <a:gs pos="0">
                <a:srgbClr val="C570EC"/>
              </a:gs>
              <a:gs pos="50000">
                <a:srgbClr val="C371EB"/>
              </a:gs>
              <a:gs pos="100000">
                <a:srgbClr val="A577D7"/>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TextBox 41">
            <a:extLst>
              <a:ext uri="{FF2B5EF4-FFF2-40B4-BE49-F238E27FC236}">
                <a16:creationId xmlns:a16="http://schemas.microsoft.com/office/drawing/2014/main" id="{55394D7A-694C-49E5-90AE-A77F4B795C99}"/>
              </a:ext>
            </a:extLst>
          </p:cNvPr>
          <p:cNvSpPr txBox="1"/>
          <p:nvPr/>
        </p:nvSpPr>
        <p:spPr>
          <a:xfrm>
            <a:off x="4252436" y="4312341"/>
            <a:ext cx="4002725" cy="16004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We talk about these things –</a:t>
            </a:r>
          </a:p>
          <a:p>
            <a:pPr marL="285750" marR="0" lvl="0" indent="-285750" algn="l" defTabSz="914400" rtl="0" eaLnBrk="1" fontAlgn="auto" latinLnBrk="0" hangingPunct="1">
              <a:lnSpc>
                <a:spcPct val="100000"/>
              </a:lnSpc>
              <a:spcBef>
                <a:spcPts val="0"/>
              </a:spcBef>
              <a:spcAft>
                <a:spcPts val="0"/>
              </a:spcAft>
              <a:buClrTx/>
              <a:buSzTx/>
              <a:buFont typeface="Century Gothic" panose="020B0502020202020204" pitchFamily="34" charset="0"/>
              <a:buChar char="†"/>
              <a:tabLst/>
              <a:defRPr/>
            </a:pPr>
            <a:r>
              <a:rPr lang="en-MY" sz="1600" b="1" dirty="0">
                <a:solidFill>
                  <a:prstClr val="white"/>
                </a:solidFill>
                <a:latin typeface="Century Gothic" panose="020B0502020202020204" pitchFamily="34" charset="0"/>
              </a:rPr>
              <a:t>Technologies Used</a:t>
            </a:r>
          </a:p>
          <a:p>
            <a:pPr marL="285750" marR="0" lvl="0" indent="-285750" algn="l" defTabSz="914400" rtl="0" eaLnBrk="1" fontAlgn="auto" latinLnBrk="0" hangingPunct="1">
              <a:lnSpc>
                <a:spcPct val="100000"/>
              </a:lnSpc>
              <a:spcBef>
                <a:spcPts val="0"/>
              </a:spcBef>
              <a:spcAft>
                <a:spcPts val="0"/>
              </a:spcAft>
              <a:buClrTx/>
              <a:buSzTx/>
              <a:buFont typeface="Century Gothic" panose="020B0502020202020204" pitchFamily="34" charset="0"/>
              <a:buChar char="†"/>
              <a:tabLst/>
              <a:defRPr/>
            </a:pPr>
            <a:r>
              <a:rPr kumimoji="0" lang="en-MY" sz="16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Architecture Used</a:t>
            </a:r>
          </a:p>
          <a:p>
            <a:pPr marL="285750" marR="0" lvl="0" indent="-285750" algn="l" defTabSz="914400" rtl="0" eaLnBrk="1" fontAlgn="auto" latinLnBrk="0" hangingPunct="1">
              <a:lnSpc>
                <a:spcPct val="100000"/>
              </a:lnSpc>
              <a:spcBef>
                <a:spcPts val="0"/>
              </a:spcBef>
              <a:spcAft>
                <a:spcPts val="0"/>
              </a:spcAft>
              <a:buClrTx/>
              <a:buSzTx/>
              <a:buFont typeface="Century Gothic" panose="020B0502020202020204" pitchFamily="34" charset="0"/>
              <a:buChar char="†"/>
              <a:tabLst/>
              <a:defRPr/>
            </a:pPr>
            <a:r>
              <a:rPr kumimoji="0" lang="en-MY" sz="16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Key Components</a:t>
            </a:r>
          </a:p>
          <a:p>
            <a:pPr marL="285750" marR="0" lvl="0" indent="-285750" algn="l" defTabSz="914400" rtl="0" eaLnBrk="1" fontAlgn="auto" latinLnBrk="0" hangingPunct="1">
              <a:lnSpc>
                <a:spcPct val="100000"/>
              </a:lnSpc>
              <a:spcBef>
                <a:spcPts val="0"/>
              </a:spcBef>
              <a:spcAft>
                <a:spcPts val="0"/>
              </a:spcAft>
              <a:buClrTx/>
              <a:buSzTx/>
              <a:buFont typeface="Century Gothic" panose="020B0502020202020204" pitchFamily="34" charset="0"/>
              <a:buChar char="†"/>
              <a:tabLst/>
              <a:defRPr/>
            </a:pPr>
            <a:r>
              <a:rPr kumimoji="0" lang="en-MY" sz="16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E-R Module</a:t>
            </a:r>
          </a:p>
          <a:p>
            <a:pPr marL="285750" marR="0" lvl="0" indent="-285750" algn="l" defTabSz="914400" rtl="0" eaLnBrk="1" fontAlgn="auto" latinLnBrk="0" hangingPunct="1">
              <a:lnSpc>
                <a:spcPct val="100000"/>
              </a:lnSpc>
              <a:spcBef>
                <a:spcPts val="0"/>
              </a:spcBef>
              <a:spcAft>
                <a:spcPts val="0"/>
              </a:spcAft>
              <a:buClrTx/>
              <a:buSzTx/>
              <a:buFont typeface="Century Gothic" panose="020B0502020202020204" pitchFamily="34" charset="0"/>
              <a:buChar char="†"/>
              <a:tabLst/>
              <a:defRPr/>
            </a:pPr>
            <a:r>
              <a:rPr lang="en-MY" sz="1600" b="1" dirty="0">
                <a:solidFill>
                  <a:prstClr val="white"/>
                </a:solidFill>
                <a:latin typeface="Century Gothic" panose="020B0502020202020204" pitchFamily="34" charset="0"/>
              </a:rPr>
              <a:t>Database Relation Table</a:t>
            </a:r>
            <a:endParaRPr kumimoji="0" lang="en-MY" sz="16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pic>
        <p:nvPicPr>
          <p:cNvPr id="61" name="Picture 60">
            <a:extLst>
              <a:ext uri="{FF2B5EF4-FFF2-40B4-BE49-F238E27FC236}">
                <a16:creationId xmlns:a16="http://schemas.microsoft.com/office/drawing/2014/main" id="{5BA86A40-18CE-42EC-AD81-4A05821D684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23759" y="3509516"/>
            <a:ext cx="572825" cy="572825"/>
          </a:xfrm>
          <a:prstGeom prst="rect">
            <a:avLst/>
          </a:prstGeom>
        </p:spPr>
      </p:pic>
      <p:pic>
        <p:nvPicPr>
          <p:cNvPr id="62" name="Picture 61">
            <a:extLst>
              <a:ext uri="{FF2B5EF4-FFF2-40B4-BE49-F238E27FC236}">
                <a16:creationId xmlns:a16="http://schemas.microsoft.com/office/drawing/2014/main" id="{27F6497D-FBF1-4A61-9AF2-233D868A4BE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88230" y="3509516"/>
            <a:ext cx="560011" cy="560011"/>
          </a:xfrm>
          <a:prstGeom prst="rect">
            <a:avLst/>
          </a:prstGeom>
        </p:spPr>
      </p:pic>
      <p:pic>
        <p:nvPicPr>
          <p:cNvPr id="63" name="Picture 62">
            <a:extLst>
              <a:ext uri="{FF2B5EF4-FFF2-40B4-BE49-F238E27FC236}">
                <a16:creationId xmlns:a16="http://schemas.microsoft.com/office/drawing/2014/main" id="{FBA2EC96-D5AD-4E50-84C2-BAAA425994E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42289" y="3509516"/>
            <a:ext cx="590146" cy="590146"/>
          </a:xfrm>
          <a:prstGeom prst="rect">
            <a:avLst/>
          </a:prstGeom>
        </p:spPr>
      </p:pic>
      <p:pic>
        <p:nvPicPr>
          <p:cNvPr id="64" name="Picture 63">
            <a:extLst>
              <a:ext uri="{FF2B5EF4-FFF2-40B4-BE49-F238E27FC236}">
                <a16:creationId xmlns:a16="http://schemas.microsoft.com/office/drawing/2014/main" id="{0740FCD6-A340-462C-9E89-C3A2768FD5A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90317" y="3509516"/>
            <a:ext cx="590146" cy="590146"/>
          </a:xfrm>
          <a:prstGeom prst="rect">
            <a:avLst/>
          </a:prstGeom>
        </p:spPr>
      </p:pic>
      <p:pic>
        <p:nvPicPr>
          <p:cNvPr id="68" name="Picture 67" descr="Icon&#10;&#10;Description automatically generated">
            <a:extLst>
              <a:ext uri="{FF2B5EF4-FFF2-40B4-BE49-F238E27FC236}">
                <a16:creationId xmlns:a16="http://schemas.microsoft.com/office/drawing/2014/main" id="{0F4F5DAE-E464-4F62-B350-87111A82A25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374259" y="3518176"/>
            <a:ext cx="572826" cy="572826"/>
          </a:xfrm>
          <a:prstGeom prst="rect">
            <a:avLst/>
          </a:prstGeom>
        </p:spPr>
      </p:pic>
      <p:grpSp>
        <p:nvGrpSpPr>
          <p:cNvPr id="29" name="Group 28">
            <a:extLst>
              <a:ext uri="{FF2B5EF4-FFF2-40B4-BE49-F238E27FC236}">
                <a16:creationId xmlns:a16="http://schemas.microsoft.com/office/drawing/2014/main" id="{55E4323D-247B-411F-A013-2DB77AD4187E}"/>
              </a:ext>
            </a:extLst>
          </p:cNvPr>
          <p:cNvGrpSpPr/>
          <p:nvPr/>
        </p:nvGrpSpPr>
        <p:grpSpPr>
          <a:xfrm>
            <a:off x="9310370" y="5611741"/>
            <a:ext cx="1432560" cy="441960"/>
            <a:chOff x="1588770" y="5753100"/>
            <a:chExt cx="1432560" cy="441960"/>
          </a:xfrm>
          <a:gradFill>
            <a:gsLst>
              <a:gs pos="0">
                <a:srgbClr val="C570EC"/>
              </a:gs>
              <a:gs pos="50000">
                <a:srgbClr val="C371EB"/>
              </a:gs>
              <a:gs pos="100000">
                <a:srgbClr val="A577D7"/>
              </a:gs>
            </a:gsLst>
            <a:lin ang="10800000" scaled="1"/>
          </a:gradFill>
          <a:effectLst/>
        </p:grpSpPr>
        <p:sp>
          <p:nvSpPr>
            <p:cNvPr id="30" name="Rectangle: Rounded Corners 29">
              <a:extLst>
                <a:ext uri="{FF2B5EF4-FFF2-40B4-BE49-F238E27FC236}">
                  <a16:creationId xmlns:a16="http://schemas.microsoft.com/office/drawing/2014/main" id="{043C6556-1668-4531-A09F-0D3BCDF98110}"/>
                </a:ext>
              </a:extLst>
            </p:cNvPr>
            <p:cNvSpPr/>
            <p:nvPr/>
          </p:nvSpPr>
          <p:spPr>
            <a:xfrm>
              <a:off x="1588770" y="5753100"/>
              <a:ext cx="1432560" cy="441960"/>
            </a:xfrm>
            <a:prstGeom prst="roundRect">
              <a:avLst>
                <a:gd name="adj" fmla="val 4137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31" name="TextBox 30">
              <a:extLst>
                <a:ext uri="{FF2B5EF4-FFF2-40B4-BE49-F238E27FC236}">
                  <a16:creationId xmlns:a16="http://schemas.microsoft.com/office/drawing/2014/main" id="{524729FF-5C4E-4225-996B-384CF8B11A6E}"/>
                </a:ext>
              </a:extLst>
            </p:cNvPr>
            <p:cNvSpPr txBox="1"/>
            <p:nvPr/>
          </p:nvSpPr>
          <p:spPr>
            <a:xfrm>
              <a:off x="1978025" y="5789414"/>
              <a:ext cx="749300" cy="369332"/>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Start</a:t>
              </a: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38" name="Rectangle: Rounded Corners 37">
            <a:extLst>
              <a:ext uri="{FF2B5EF4-FFF2-40B4-BE49-F238E27FC236}">
                <a16:creationId xmlns:a16="http://schemas.microsoft.com/office/drawing/2014/main" id="{009B04E9-2F6F-4FA6-89CA-E824E5DEC9D0}"/>
              </a:ext>
            </a:extLst>
          </p:cNvPr>
          <p:cNvSpPr/>
          <p:nvPr/>
        </p:nvSpPr>
        <p:spPr>
          <a:xfrm>
            <a:off x="4447517" y="12548400"/>
            <a:ext cx="3851109" cy="1157430"/>
          </a:xfrm>
          <a:prstGeom prst="roundRect">
            <a:avLst>
              <a:gd name="adj" fmla="val 27580"/>
            </a:avLst>
          </a:prstGeom>
          <a:gradFill>
            <a:gsLst>
              <a:gs pos="0">
                <a:srgbClr val="C570EC"/>
              </a:gs>
              <a:gs pos="50000">
                <a:srgbClr val="C371EB"/>
              </a:gs>
              <a:gs pos="100000">
                <a:srgbClr val="A577D7"/>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Lately I really like to do this glass look. Matching modern UI look </a:t>
            </a:r>
          </a:p>
        </p:txBody>
      </p:sp>
      <p:sp>
        <p:nvSpPr>
          <p:cNvPr id="39" name="Rectangle: Rounded Corners 38">
            <a:extLst>
              <a:ext uri="{FF2B5EF4-FFF2-40B4-BE49-F238E27FC236}">
                <a16:creationId xmlns:a16="http://schemas.microsoft.com/office/drawing/2014/main" id="{5632A2E7-3938-4DF9-A687-28D04014359A}"/>
              </a:ext>
            </a:extLst>
          </p:cNvPr>
          <p:cNvSpPr/>
          <p:nvPr/>
        </p:nvSpPr>
        <p:spPr>
          <a:xfrm>
            <a:off x="4449952" y="17271234"/>
            <a:ext cx="3851109" cy="1157430"/>
          </a:xfrm>
          <a:prstGeom prst="roundRect">
            <a:avLst>
              <a:gd name="adj" fmla="val 27580"/>
            </a:avLst>
          </a:prstGeom>
          <a:gradFill>
            <a:gsLst>
              <a:gs pos="0">
                <a:srgbClr val="C570EC"/>
              </a:gs>
              <a:gs pos="50000">
                <a:srgbClr val="C371EB"/>
              </a:gs>
              <a:gs pos="100000">
                <a:srgbClr val="A577D7"/>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Lately I really like to do this glass look. Matching modern UI look </a:t>
            </a:r>
          </a:p>
        </p:txBody>
      </p:sp>
      <p:sp>
        <p:nvSpPr>
          <p:cNvPr id="40" name="Rectangle: Rounded Corners 39">
            <a:extLst>
              <a:ext uri="{FF2B5EF4-FFF2-40B4-BE49-F238E27FC236}">
                <a16:creationId xmlns:a16="http://schemas.microsoft.com/office/drawing/2014/main" id="{92A8E508-9BC4-4030-9F9D-E06070E1230F}"/>
              </a:ext>
            </a:extLst>
          </p:cNvPr>
          <p:cNvSpPr/>
          <p:nvPr/>
        </p:nvSpPr>
        <p:spPr>
          <a:xfrm>
            <a:off x="4447517" y="8621979"/>
            <a:ext cx="3851109" cy="1157430"/>
          </a:xfrm>
          <a:prstGeom prst="roundRect">
            <a:avLst>
              <a:gd name="adj" fmla="val 27580"/>
            </a:avLst>
          </a:prstGeom>
          <a:gradFill>
            <a:gsLst>
              <a:gs pos="0">
                <a:srgbClr val="C570EC"/>
              </a:gs>
              <a:gs pos="50000">
                <a:srgbClr val="C371EB"/>
              </a:gs>
              <a:gs pos="100000">
                <a:srgbClr val="A577D7"/>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Lately I really like to do this glass look. Matching modern UI look </a:t>
            </a:r>
          </a:p>
        </p:txBody>
      </p:sp>
      <p:sp>
        <p:nvSpPr>
          <p:cNvPr id="41" name="TextBox 40">
            <a:extLst>
              <a:ext uri="{FF2B5EF4-FFF2-40B4-BE49-F238E27FC236}">
                <a16:creationId xmlns:a16="http://schemas.microsoft.com/office/drawing/2014/main" id="{09B22B0A-386C-4A84-8AF7-7D8F7AF0403C}"/>
              </a:ext>
            </a:extLst>
          </p:cNvPr>
          <p:cNvSpPr txBox="1"/>
          <p:nvPr/>
        </p:nvSpPr>
        <p:spPr>
          <a:xfrm>
            <a:off x="4160784" y="1190513"/>
            <a:ext cx="158427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36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Think</a:t>
            </a:r>
          </a:p>
        </p:txBody>
      </p:sp>
      <p:sp>
        <p:nvSpPr>
          <p:cNvPr id="44" name="TextBox 43">
            <a:extLst>
              <a:ext uri="{FF2B5EF4-FFF2-40B4-BE49-F238E27FC236}">
                <a16:creationId xmlns:a16="http://schemas.microsoft.com/office/drawing/2014/main" id="{E83F6647-012D-4840-9418-6B0B970142DF}"/>
              </a:ext>
            </a:extLst>
          </p:cNvPr>
          <p:cNvSpPr txBox="1"/>
          <p:nvPr/>
        </p:nvSpPr>
        <p:spPr>
          <a:xfrm>
            <a:off x="4208363" y="2605914"/>
            <a:ext cx="270615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MY" sz="1200" dirty="0">
                <a:solidFill>
                  <a:prstClr val="black">
                    <a:lumMod val="50000"/>
                    <a:lumOff val="50000"/>
                  </a:prstClr>
                </a:solidFill>
                <a:latin typeface="Calibri Light" panose="020F0302020204030204"/>
              </a:rPr>
              <a:t>These three things are used to possible the project</a:t>
            </a:r>
            <a:endParaRPr kumimoji="0" lang="en-MY" sz="12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endParaRPr>
          </a:p>
        </p:txBody>
      </p:sp>
      <p:sp>
        <p:nvSpPr>
          <p:cNvPr id="45" name="TextBox 44">
            <a:extLst>
              <a:ext uri="{FF2B5EF4-FFF2-40B4-BE49-F238E27FC236}">
                <a16:creationId xmlns:a16="http://schemas.microsoft.com/office/drawing/2014/main" id="{A063AE86-C311-4E4B-BE46-C5D1D09FDDEA}"/>
              </a:ext>
            </a:extLst>
          </p:cNvPr>
          <p:cNvSpPr txBox="1"/>
          <p:nvPr/>
        </p:nvSpPr>
        <p:spPr>
          <a:xfrm>
            <a:off x="4153972" y="1649516"/>
            <a:ext cx="2115411"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36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Build</a:t>
            </a:r>
            <a:endParaRPr kumimoji="0" lang="en-MY"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TextBox 45">
            <a:extLst>
              <a:ext uri="{FF2B5EF4-FFF2-40B4-BE49-F238E27FC236}">
                <a16:creationId xmlns:a16="http://schemas.microsoft.com/office/drawing/2014/main" id="{0D1E3009-E2DC-4F91-B090-59A11F5E604B}"/>
              </a:ext>
            </a:extLst>
          </p:cNvPr>
          <p:cNvSpPr txBox="1"/>
          <p:nvPr/>
        </p:nvSpPr>
        <p:spPr>
          <a:xfrm>
            <a:off x="4198861" y="2084039"/>
            <a:ext cx="2936595"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36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Present</a:t>
            </a:r>
            <a:endParaRPr kumimoji="0" lang="en-MY"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Rectangle: Rounded Corners 46">
            <a:extLst>
              <a:ext uri="{FF2B5EF4-FFF2-40B4-BE49-F238E27FC236}">
                <a16:creationId xmlns:a16="http://schemas.microsoft.com/office/drawing/2014/main" id="{EF8A7AB2-47AE-446B-927C-E20763580EB5}"/>
              </a:ext>
            </a:extLst>
          </p:cNvPr>
          <p:cNvSpPr/>
          <p:nvPr/>
        </p:nvSpPr>
        <p:spPr>
          <a:xfrm>
            <a:off x="5848587" y="517356"/>
            <a:ext cx="678657" cy="73695"/>
          </a:xfrm>
          <a:prstGeom prst="roundRect">
            <a:avLst>
              <a:gd name="adj" fmla="val 50000"/>
            </a:avLst>
          </a:prstGeom>
          <a:solidFill>
            <a:srgbClr val="A776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Rectangle: Rounded Corners 42">
            <a:extLst>
              <a:ext uri="{FF2B5EF4-FFF2-40B4-BE49-F238E27FC236}">
                <a16:creationId xmlns:a16="http://schemas.microsoft.com/office/drawing/2014/main" id="{66B1B172-0B75-4DB3-9549-1209994A3257}"/>
              </a:ext>
            </a:extLst>
          </p:cNvPr>
          <p:cNvSpPr/>
          <p:nvPr/>
        </p:nvSpPr>
        <p:spPr>
          <a:xfrm>
            <a:off x="-543558" y="4655580"/>
            <a:ext cx="471367" cy="449125"/>
          </a:xfrm>
          <a:prstGeom prst="roundRect">
            <a:avLst>
              <a:gd name="adj" fmla="val 50000"/>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Rectangle: Rounded Corners 47">
            <a:extLst>
              <a:ext uri="{FF2B5EF4-FFF2-40B4-BE49-F238E27FC236}">
                <a16:creationId xmlns:a16="http://schemas.microsoft.com/office/drawing/2014/main" id="{538F4F76-9815-4DC1-BEFA-1BC1C1A48C6B}"/>
              </a:ext>
            </a:extLst>
          </p:cNvPr>
          <p:cNvSpPr/>
          <p:nvPr/>
        </p:nvSpPr>
        <p:spPr>
          <a:xfrm>
            <a:off x="-1087831" y="5320609"/>
            <a:ext cx="471367" cy="449125"/>
          </a:xfrm>
          <a:prstGeom prst="roundRect">
            <a:avLst>
              <a:gd name="adj" fmla="val 50000"/>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Rounded Corners 48">
            <a:extLst>
              <a:ext uri="{FF2B5EF4-FFF2-40B4-BE49-F238E27FC236}">
                <a16:creationId xmlns:a16="http://schemas.microsoft.com/office/drawing/2014/main" id="{F9A8CB86-7D28-474A-9A9A-FF22E8B275A7}"/>
              </a:ext>
            </a:extLst>
          </p:cNvPr>
          <p:cNvSpPr/>
          <p:nvPr/>
        </p:nvSpPr>
        <p:spPr>
          <a:xfrm>
            <a:off x="-1646055" y="6008790"/>
            <a:ext cx="471367" cy="449125"/>
          </a:xfrm>
          <a:prstGeom prst="roundRect">
            <a:avLst>
              <a:gd name="adj" fmla="val 50000"/>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0" name="Graphic 49" descr="Home with solid fill">
            <a:extLst>
              <a:ext uri="{FF2B5EF4-FFF2-40B4-BE49-F238E27FC236}">
                <a16:creationId xmlns:a16="http://schemas.microsoft.com/office/drawing/2014/main" id="{4BA21E83-C78E-448C-8F7F-AB4108A6704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70616" y="6053701"/>
            <a:ext cx="320489" cy="320489"/>
          </a:xfrm>
          <a:prstGeom prst="rect">
            <a:avLst/>
          </a:prstGeom>
        </p:spPr>
      </p:pic>
      <p:pic>
        <p:nvPicPr>
          <p:cNvPr id="51" name="Graphic 50" descr="Caret Up with solid fill">
            <a:extLst>
              <a:ext uri="{FF2B5EF4-FFF2-40B4-BE49-F238E27FC236}">
                <a16:creationId xmlns:a16="http://schemas.microsoft.com/office/drawing/2014/main" id="{330B6D3A-247C-4325-8AAA-09906665DC0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04045" y="4676085"/>
            <a:ext cx="392341" cy="392341"/>
          </a:xfrm>
          <a:prstGeom prst="rect">
            <a:avLst/>
          </a:prstGeom>
        </p:spPr>
      </p:pic>
      <p:pic>
        <p:nvPicPr>
          <p:cNvPr id="54" name="Graphic 53" descr="Caret Up with solid fill">
            <a:extLst>
              <a:ext uri="{FF2B5EF4-FFF2-40B4-BE49-F238E27FC236}">
                <a16:creationId xmlns:a16="http://schemas.microsoft.com/office/drawing/2014/main" id="{C3C6DF5A-C3EF-4188-BDF2-A3558721880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V="1">
            <a:off x="-1048318" y="5359905"/>
            <a:ext cx="392341" cy="392341"/>
          </a:xfrm>
          <a:prstGeom prst="rect">
            <a:avLst/>
          </a:prstGeom>
        </p:spPr>
      </p:pic>
    </p:spTree>
    <p:extLst>
      <p:ext uri="{BB962C8B-B14F-4D97-AF65-F5344CB8AC3E}">
        <p14:creationId xmlns:p14="http://schemas.microsoft.com/office/powerpoint/2010/main" val="11537665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gradFill>
          <a:gsLst>
            <a:gs pos="0">
              <a:schemeClr val="bg1"/>
            </a:gs>
            <a:gs pos="50000">
              <a:srgbClr val="C371EB"/>
            </a:gs>
            <a:gs pos="100000">
              <a:srgbClr val="A577D7"/>
            </a:gs>
          </a:gsLst>
          <a:lin ang="10800000" scaled="1"/>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E8B9359-5B8D-42D8-8D71-381018F24C77}"/>
              </a:ext>
            </a:extLst>
          </p:cNvPr>
          <p:cNvPicPr>
            <a:picLocks noChangeAspect="1"/>
          </p:cNvPicPr>
          <p:nvPr/>
        </p:nvPicPr>
        <p:blipFill rotWithShape="1">
          <a:blip r:embed="rId3"/>
          <a:srcRect l="4818" t="13929" r="11068" b="15870"/>
          <a:stretch/>
        </p:blipFill>
        <p:spPr>
          <a:xfrm>
            <a:off x="0" y="1"/>
            <a:ext cx="12192000" cy="6857999"/>
          </a:xfrm>
          <a:prstGeom prst="rect">
            <a:avLst/>
          </a:prstGeom>
        </p:spPr>
      </p:pic>
      <p:pic>
        <p:nvPicPr>
          <p:cNvPr id="5" name="Picture 4">
            <a:extLst>
              <a:ext uri="{FF2B5EF4-FFF2-40B4-BE49-F238E27FC236}">
                <a16:creationId xmlns:a16="http://schemas.microsoft.com/office/drawing/2014/main" id="{59EC0469-F0EB-4FA6-A663-0F1171475995}"/>
              </a:ext>
            </a:extLst>
          </p:cNvPr>
          <p:cNvPicPr>
            <a:picLocks noChangeAspect="1"/>
          </p:cNvPicPr>
          <p:nvPr/>
        </p:nvPicPr>
        <p:blipFill rotWithShape="1">
          <a:blip r:embed="rId4">
            <a:extLst>
              <a:ext uri="{BEBA8EAE-BF5A-486C-A8C5-ECC9F3942E4B}">
                <a14:imgProps xmlns:a14="http://schemas.microsoft.com/office/drawing/2010/main">
                  <a14:imgLayer r:embed="rId5">
                    <a14:imgEffect>
                      <a14:artisticBlur radius="100"/>
                    </a14:imgEffect>
                    <a14:imgEffect>
                      <a14:brightnessContrast contrast="40000"/>
                    </a14:imgEffect>
                  </a14:imgLayer>
                </a14:imgProps>
              </a:ext>
            </a:extLst>
          </a:blip>
          <a:srcRect l="-2967" t="2984" r="91086" b="2540"/>
          <a:stretch/>
        </p:blipFill>
        <p:spPr>
          <a:xfrm>
            <a:off x="-361968" y="204788"/>
            <a:ext cx="1448670" cy="6479042"/>
          </a:xfrm>
          <a:prstGeom prst="roundRect">
            <a:avLst>
              <a:gd name="adj" fmla="val 33164"/>
            </a:avLst>
          </a:prstGeom>
          <a:noFill/>
          <a:ln>
            <a:noFill/>
          </a:ln>
          <a:effectLst>
            <a:outerShdw blurRad="635000" dist="215900" dir="7200000" algn="ctr" rotWithShape="0">
              <a:schemeClr val="tx1">
                <a:lumMod val="50000"/>
                <a:lumOff val="50000"/>
                <a:alpha val="43000"/>
              </a:schemeClr>
            </a:outerShdw>
          </a:effectLst>
        </p:spPr>
      </p:pic>
      <p:sp>
        <p:nvSpPr>
          <p:cNvPr id="7" name="TextBox 6">
            <a:extLst>
              <a:ext uri="{FF2B5EF4-FFF2-40B4-BE49-F238E27FC236}">
                <a16:creationId xmlns:a16="http://schemas.microsoft.com/office/drawing/2014/main" id="{78290698-34CB-4705-B9AF-BB16F1EA9026}"/>
              </a:ext>
            </a:extLst>
          </p:cNvPr>
          <p:cNvSpPr txBox="1"/>
          <p:nvPr/>
        </p:nvSpPr>
        <p:spPr>
          <a:xfrm>
            <a:off x="-12575020" y="3698513"/>
            <a:ext cx="2984500" cy="184665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hmppt</a:t>
            </a:r>
            <a:r>
              <a:rPr kumimoji="0" lang="en-MY" sz="4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4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8" name="TextBox 7">
            <a:extLst>
              <a:ext uri="{FF2B5EF4-FFF2-40B4-BE49-F238E27FC236}">
                <a16:creationId xmlns:a16="http://schemas.microsoft.com/office/drawing/2014/main" id="{D6DD4C71-14E6-49ED-8568-B7921D041CD4}"/>
              </a:ext>
            </a:extLst>
          </p:cNvPr>
          <p:cNvSpPr txBox="1"/>
          <p:nvPr/>
        </p:nvSpPr>
        <p:spPr>
          <a:xfrm>
            <a:off x="-10409670" y="2973303"/>
            <a:ext cx="2984500"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7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Hello</a:t>
            </a:r>
            <a:r>
              <a:rPr kumimoji="0" lang="en-MY" sz="4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4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pSp>
        <p:nvGrpSpPr>
          <p:cNvPr id="13" name="Group 12">
            <a:extLst>
              <a:ext uri="{FF2B5EF4-FFF2-40B4-BE49-F238E27FC236}">
                <a16:creationId xmlns:a16="http://schemas.microsoft.com/office/drawing/2014/main" id="{E2ED9B0F-37B7-403E-8DA5-4C5F549FC7CB}"/>
              </a:ext>
            </a:extLst>
          </p:cNvPr>
          <p:cNvGrpSpPr/>
          <p:nvPr/>
        </p:nvGrpSpPr>
        <p:grpSpPr>
          <a:xfrm>
            <a:off x="-12218456" y="5753100"/>
            <a:ext cx="1432560" cy="441960"/>
            <a:chOff x="1588770" y="5753100"/>
            <a:chExt cx="1432560" cy="441960"/>
          </a:xfrm>
          <a:effectLst>
            <a:outerShdw blurRad="165100" dist="76200" dir="7200000" algn="t" rotWithShape="0">
              <a:prstClr val="black">
                <a:alpha val="40000"/>
              </a:prstClr>
            </a:outerShdw>
          </a:effectLst>
        </p:grpSpPr>
        <p:sp>
          <p:nvSpPr>
            <p:cNvPr id="6" name="Rectangle: Rounded Corners 5">
              <a:extLst>
                <a:ext uri="{FF2B5EF4-FFF2-40B4-BE49-F238E27FC236}">
                  <a16:creationId xmlns:a16="http://schemas.microsoft.com/office/drawing/2014/main" id="{7A9D66CD-933F-47F2-88AE-8A6390E5BD43}"/>
                </a:ext>
              </a:extLst>
            </p:cNvPr>
            <p:cNvSpPr/>
            <p:nvPr/>
          </p:nvSpPr>
          <p:spPr>
            <a:xfrm>
              <a:off x="1588770" y="5753100"/>
              <a:ext cx="1432560" cy="44196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12" name="TextBox 11">
              <a:extLst>
                <a:ext uri="{FF2B5EF4-FFF2-40B4-BE49-F238E27FC236}">
                  <a16:creationId xmlns:a16="http://schemas.microsoft.com/office/drawing/2014/main" id="{F43E55E4-DB0F-4412-9DAE-8E90604C281D}"/>
                </a:ext>
              </a:extLst>
            </p:cNvPr>
            <p:cNvSpPr txBox="1"/>
            <p:nvPr/>
          </p:nvSpPr>
          <p:spPr>
            <a:xfrm>
              <a:off x="1978025" y="5789414"/>
              <a:ext cx="7493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rPr>
                <a:t>Start</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9" name="TextBox 18">
            <a:extLst>
              <a:ext uri="{FF2B5EF4-FFF2-40B4-BE49-F238E27FC236}">
                <a16:creationId xmlns:a16="http://schemas.microsoft.com/office/drawing/2014/main" id="{E56AD6B4-1375-43DF-89AE-B8D7781E3496}"/>
              </a:ext>
            </a:extLst>
          </p:cNvPr>
          <p:cNvSpPr txBox="1"/>
          <p:nvPr/>
        </p:nvSpPr>
        <p:spPr>
          <a:xfrm>
            <a:off x="-11108792" y="4792813"/>
            <a:ext cx="2775137"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4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with custom layouts animation and many more…</a:t>
            </a:r>
          </a:p>
        </p:txBody>
      </p:sp>
      <p:pic>
        <p:nvPicPr>
          <p:cNvPr id="20" name="Picture 19">
            <a:extLst>
              <a:ext uri="{FF2B5EF4-FFF2-40B4-BE49-F238E27FC236}">
                <a16:creationId xmlns:a16="http://schemas.microsoft.com/office/drawing/2014/main" id="{D0FED786-578C-4F32-AB04-E8F9DEE89828}"/>
              </a:ext>
            </a:extLst>
          </p:cNvPr>
          <p:cNvPicPr>
            <a:picLocks noChangeAspect="1"/>
          </p:cNvPicPr>
          <p:nvPr/>
        </p:nvPicPr>
        <p:blipFill rotWithShape="1">
          <a:blip r:embed="rId4">
            <a:extLst>
              <a:ext uri="{BEBA8EAE-BF5A-486C-A8C5-ECC9F3942E4B}">
                <a14:imgProps xmlns:a14="http://schemas.microsoft.com/office/drawing/2010/main">
                  <a14:imgLayer r:embed="rId5">
                    <a14:imgEffect>
                      <a14:artisticBlur radius="100"/>
                    </a14:imgEffect>
                    <a14:imgEffect>
                      <a14:brightnessContrast contrast="40000"/>
                    </a14:imgEffect>
                  </a14:imgLayer>
                </a14:imgProps>
              </a:ext>
            </a:extLst>
          </a:blip>
          <a:srcRect l="101733" t="5925" r="-19626" b="7037"/>
          <a:stretch/>
        </p:blipFill>
        <p:spPr>
          <a:xfrm>
            <a:off x="12403579" y="406400"/>
            <a:ext cx="2181727" cy="5969000"/>
          </a:xfrm>
          <a:prstGeom prst="roundRect">
            <a:avLst>
              <a:gd name="adj" fmla="val 10284"/>
            </a:avLst>
          </a:prstGeom>
          <a:noFill/>
          <a:ln>
            <a:noFill/>
          </a:ln>
          <a:effectLst>
            <a:outerShdw blurRad="635000" dist="215900" dir="7200000" algn="ctr" rotWithShape="0">
              <a:schemeClr val="tx1">
                <a:lumMod val="50000"/>
                <a:lumOff val="50000"/>
                <a:alpha val="43000"/>
              </a:schemeClr>
            </a:outerShdw>
          </a:effectLst>
        </p:spPr>
      </p:pic>
      <p:pic>
        <p:nvPicPr>
          <p:cNvPr id="24" name="Picture 23" descr="A picture containing person, clothing, suit, dark&#10;&#10;Description automatically generated">
            <a:extLst>
              <a:ext uri="{FF2B5EF4-FFF2-40B4-BE49-F238E27FC236}">
                <a16:creationId xmlns:a16="http://schemas.microsoft.com/office/drawing/2014/main" id="{A6A16990-D52E-46CA-9182-6E88455B1B67}"/>
              </a:ext>
            </a:extLst>
          </p:cNvPr>
          <p:cNvPicPr>
            <a:picLocks noChangeAspect="1"/>
          </p:cNvPicPr>
          <p:nvPr/>
        </p:nvPicPr>
        <p:blipFill>
          <a:blip r:embed="rId6"/>
          <a:stretch>
            <a:fillRect/>
          </a:stretch>
        </p:blipFill>
        <p:spPr>
          <a:xfrm flipH="1">
            <a:off x="15513165" y="1777561"/>
            <a:ext cx="2740944" cy="3429000"/>
          </a:xfrm>
          <a:prstGeom prst="rect">
            <a:avLst/>
          </a:prstGeom>
        </p:spPr>
      </p:pic>
      <p:sp>
        <p:nvSpPr>
          <p:cNvPr id="28" name="TextBox 27">
            <a:extLst>
              <a:ext uri="{FF2B5EF4-FFF2-40B4-BE49-F238E27FC236}">
                <a16:creationId xmlns:a16="http://schemas.microsoft.com/office/drawing/2014/main" id="{FD389285-2F23-43D5-A207-1F5771A5B47B}"/>
              </a:ext>
            </a:extLst>
          </p:cNvPr>
          <p:cNvSpPr txBox="1"/>
          <p:nvPr/>
        </p:nvSpPr>
        <p:spPr>
          <a:xfrm>
            <a:off x="12744448" y="1151401"/>
            <a:ext cx="1075144"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3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3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Th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3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go</a:t>
            </a:r>
            <a:endParaRPr kumimoji="0" lang="en-MY"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Rectangle: Rounded Corners 31">
            <a:extLst>
              <a:ext uri="{FF2B5EF4-FFF2-40B4-BE49-F238E27FC236}">
                <a16:creationId xmlns:a16="http://schemas.microsoft.com/office/drawing/2014/main" id="{2339F55E-8271-44A8-9A4D-C147BF3DAAF7}"/>
              </a:ext>
            </a:extLst>
          </p:cNvPr>
          <p:cNvSpPr/>
          <p:nvPr/>
        </p:nvSpPr>
        <p:spPr>
          <a:xfrm>
            <a:off x="15001279" y="739604"/>
            <a:ext cx="435761" cy="85940"/>
          </a:xfrm>
          <a:prstGeom prst="roundRect">
            <a:avLst>
              <a:gd name="adj" fmla="val 50000"/>
            </a:avLst>
          </a:prstGeom>
          <a:solidFill>
            <a:srgbClr val="B499EB"/>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tangle: Rounded Corners 32">
            <a:extLst>
              <a:ext uri="{FF2B5EF4-FFF2-40B4-BE49-F238E27FC236}">
                <a16:creationId xmlns:a16="http://schemas.microsoft.com/office/drawing/2014/main" id="{C85AB455-ACDC-44AA-9323-422663851A56}"/>
              </a:ext>
            </a:extLst>
          </p:cNvPr>
          <p:cNvSpPr/>
          <p:nvPr/>
        </p:nvSpPr>
        <p:spPr>
          <a:xfrm>
            <a:off x="14459294" y="847434"/>
            <a:ext cx="363677" cy="85941"/>
          </a:xfrm>
          <a:prstGeom prst="roundRect">
            <a:avLst>
              <a:gd name="adj" fmla="val 50000"/>
            </a:avLst>
          </a:prstGeom>
          <a:solidFill>
            <a:srgbClr val="B499EB"/>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Rounded Corners 33">
            <a:extLst>
              <a:ext uri="{FF2B5EF4-FFF2-40B4-BE49-F238E27FC236}">
                <a16:creationId xmlns:a16="http://schemas.microsoft.com/office/drawing/2014/main" id="{729E52D0-2237-453D-986B-28EE69161E29}"/>
              </a:ext>
            </a:extLst>
          </p:cNvPr>
          <p:cNvSpPr/>
          <p:nvPr/>
        </p:nvSpPr>
        <p:spPr>
          <a:xfrm>
            <a:off x="13937872" y="955265"/>
            <a:ext cx="285465" cy="90169"/>
          </a:xfrm>
          <a:prstGeom prst="roundRect">
            <a:avLst>
              <a:gd name="adj" fmla="val 50000"/>
            </a:avLst>
          </a:prstGeom>
          <a:solidFill>
            <a:srgbClr val="B499EB"/>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D29B05FC-3B0E-41B6-87CA-9966D867AC78}"/>
              </a:ext>
            </a:extLst>
          </p:cNvPr>
          <p:cNvGrpSpPr/>
          <p:nvPr/>
        </p:nvGrpSpPr>
        <p:grpSpPr>
          <a:xfrm>
            <a:off x="13436397" y="3915917"/>
            <a:ext cx="2720976" cy="2333361"/>
            <a:chOff x="13436397" y="3915917"/>
            <a:chExt cx="2720976" cy="2333361"/>
          </a:xfrm>
        </p:grpSpPr>
        <p:sp>
          <p:nvSpPr>
            <p:cNvPr id="23" name="Rectangle: Rounded Corners 22">
              <a:extLst>
                <a:ext uri="{FF2B5EF4-FFF2-40B4-BE49-F238E27FC236}">
                  <a16:creationId xmlns:a16="http://schemas.microsoft.com/office/drawing/2014/main" id="{6E15B50A-84FB-434E-8B78-F13B832D2499}"/>
                </a:ext>
              </a:extLst>
            </p:cNvPr>
            <p:cNvSpPr/>
            <p:nvPr/>
          </p:nvSpPr>
          <p:spPr>
            <a:xfrm>
              <a:off x="13436397" y="3915917"/>
              <a:ext cx="2720976" cy="2333361"/>
            </a:xfrm>
            <a:prstGeom prst="roundRect">
              <a:avLst>
                <a:gd name="adj" fmla="val 106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C3750D43-7160-4C50-9C58-7CE5F605787C}"/>
                </a:ext>
              </a:extLst>
            </p:cNvPr>
            <p:cNvSpPr txBox="1"/>
            <p:nvPr/>
          </p:nvSpPr>
          <p:spPr>
            <a:xfrm>
              <a:off x="13603723" y="4555745"/>
              <a:ext cx="2386324"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MY"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Build an iOS app for the iOS 15 with custom layouts animation and many more…m</a:t>
              </a:r>
            </a:p>
          </p:txBody>
        </p:sp>
      </p:grpSp>
      <p:pic>
        <p:nvPicPr>
          <p:cNvPr id="37" name="Picture 36">
            <a:extLst>
              <a:ext uri="{FF2B5EF4-FFF2-40B4-BE49-F238E27FC236}">
                <a16:creationId xmlns:a16="http://schemas.microsoft.com/office/drawing/2014/main" id="{F4D43D9A-CA01-4EA3-9C34-9479F0A7004D}"/>
              </a:ext>
            </a:extLst>
          </p:cNvPr>
          <p:cNvPicPr>
            <a:picLocks noChangeAspect="1"/>
          </p:cNvPicPr>
          <p:nvPr/>
        </p:nvPicPr>
        <p:blipFill rotWithShape="1">
          <a:blip r:embed="rId4">
            <a:extLst>
              <a:ext uri="{BEBA8EAE-BF5A-486C-A8C5-ECC9F3942E4B}">
                <a14:imgProps xmlns:a14="http://schemas.microsoft.com/office/drawing/2010/main">
                  <a14:imgLayer r:embed="rId5">
                    <a14:imgEffect>
                      <a14:artisticBlur radius="100"/>
                    </a14:imgEffect>
                    <a14:imgEffect>
                      <a14:brightnessContrast contrast="40000"/>
                    </a14:imgEffect>
                  </a14:imgLayer>
                </a14:imgProps>
              </a:ext>
            </a:extLst>
          </a:blip>
          <a:srcRect l="33493" t="2981" r="-3966" b="2541"/>
          <a:stretch/>
        </p:blipFill>
        <p:spPr>
          <a:xfrm>
            <a:off x="4083528" y="204788"/>
            <a:ext cx="8592335" cy="6479042"/>
          </a:xfrm>
          <a:prstGeom prst="roundRect">
            <a:avLst>
              <a:gd name="adj" fmla="val 4648"/>
            </a:avLst>
          </a:prstGeom>
          <a:noFill/>
          <a:ln>
            <a:noFill/>
          </a:ln>
          <a:effectLst>
            <a:outerShdw blurRad="635000" dist="215900" dir="7200000" algn="ctr" rotWithShape="0">
              <a:schemeClr val="tx1">
                <a:lumMod val="50000"/>
                <a:lumOff val="50000"/>
                <a:alpha val="43000"/>
              </a:schemeClr>
            </a:outerShdw>
          </a:effectLst>
        </p:spPr>
      </p:pic>
      <p:sp>
        <p:nvSpPr>
          <p:cNvPr id="42" name="TextBox 41">
            <a:extLst>
              <a:ext uri="{FF2B5EF4-FFF2-40B4-BE49-F238E27FC236}">
                <a16:creationId xmlns:a16="http://schemas.microsoft.com/office/drawing/2014/main" id="{55394D7A-694C-49E5-90AE-A77F4B795C99}"/>
              </a:ext>
            </a:extLst>
          </p:cNvPr>
          <p:cNvSpPr txBox="1"/>
          <p:nvPr/>
        </p:nvSpPr>
        <p:spPr>
          <a:xfrm>
            <a:off x="4311049" y="1872272"/>
            <a:ext cx="5214787"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Technologies</a:t>
            </a:r>
          </a:p>
        </p:txBody>
      </p:sp>
      <p:sp>
        <p:nvSpPr>
          <p:cNvPr id="56" name="TextBox 55">
            <a:extLst>
              <a:ext uri="{FF2B5EF4-FFF2-40B4-BE49-F238E27FC236}">
                <a16:creationId xmlns:a16="http://schemas.microsoft.com/office/drawing/2014/main" id="{AE6A9755-4FAA-4021-8896-F5C28FD4AD62}"/>
              </a:ext>
            </a:extLst>
          </p:cNvPr>
          <p:cNvSpPr txBox="1"/>
          <p:nvPr/>
        </p:nvSpPr>
        <p:spPr>
          <a:xfrm>
            <a:off x="-10409670" y="278483"/>
            <a:ext cx="2660009"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4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About me                 </a:t>
            </a:r>
            <a:r>
              <a:rPr kumimoji="0" lang="en-MY" sz="44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 . .</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61" name="Picture 60">
            <a:extLst>
              <a:ext uri="{FF2B5EF4-FFF2-40B4-BE49-F238E27FC236}">
                <a16:creationId xmlns:a16="http://schemas.microsoft.com/office/drawing/2014/main" id="{5BA86A40-18CE-42EC-AD81-4A05821D684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29915" y="4750210"/>
            <a:ext cx="572825" cy="572825"/>
          </a:xfrm>
          <a:prstGeom prst="rect">
            <a:avLst/>
          </a:prstGeom>
        </p:spPr>
      </p:pic>
      <p:pic>
        <p:nvPicPr>
          <p:cNvPr id="62" name="Picture 61">
            <a:extLst>
              <a:ext uri="{FF2B5EF4-FFF2-40B4-BE49-F238E27FC236}">
                <a16:creationId xmlns:a16="http://schemas.microsoft.com/office/drawing/2014/main" id="{27F6497D-FBF1-4A61-9AF2-233D868A4BE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94386" y="4750210"/>
            <a:ext cx="560011" cy="560011"/>
          </a:xfrm>
          <a:prstGeom prst="rect">
            <a:avLst/>
          </a:prstGeom>
        </p:spPr>
      </p:pic>
      <p:pic>
        <p:nvPicPr>
          <p:cNvPr id="63" name="Picture 62">
            <a:extLst>
              <a:ext uri="{FF2B5EF4-FFF2-40B4-BE49-F238E27FC236}">
                <a16:creationId xmlns:a16="http://schemas.microsoft.com/office/drawing/2014/main" id="{FBA2EC96-D5AD-4E50-84C2-BAAA425994E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48445" y="4750210"/>
            <a:ext cx="590146" cy="590146"/>
          </a:xfrm>
          <a:prstGeom prst="rect">
            <a:avLst/>
          </a:prstGeom>
        </p:spPr>
      </p:pic>
      <p:pic>
        <p:nvPicPr>
          <p:cNvPr id="64" name="Picture 63">
            <a:extLst>
              <a:ext uri="{FF2B5EF4-FFF2-40B4-BE49-F238E27FC236}">
                <a16:creationId xmlns:a16="http://schemas.microsoft.com/office/drawing/2014/main" id="{0740FCD6-A340-462C-9E89-C3A2768FD5A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96473" y="4750210"/>
            <a:ext cx="590146" cy="590146"/>
          </a:xfrm>
          <a:prstGeom prst="rect">
            <a:avLst/>
          </a:prstGeom>
        </p:spPr>
      </p:pic>
      <p:pic>
        <p:nvPicPr>
          <p:cNvPr id="68" name="Picture 67" descr="Icon&#10;&#10;Description automatically generated">
            <a:extLst>
              <a:ext uri="{FF2B5EF4-FFF2-40B4-BE49-F238E27FC236}">
                <a16:creationId xmlns:a16="http://schemas.microsoft.com/office/drawing/2014/main" id="{0F4F5DAE-E464-4F62-B350-87111A82A25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990098" y="1081555"/>
            <a:ext cx="5007107" cy="5007107"/>
          </a:xfrm>
          <a:prstGeom prst="rect">
            <a:avLst/>
          </a:prstGeom>
        </p:spPr>
      </p:pic>
      <p:grpSp>
        <p:nvGrpSpPr>
          <p:cNvPr id="29" name="Group 28">
            <a:extLst>
              <a:ext uri="{FF2B5EF4-FFF2-40B4-BE49-F238E27FC236}">
                <a16:creationId xmlns:a16="http://schemas.microsoft.com/office/drawing/2014/main" id="{55E4323D-247B-411F-A013-2DB77AD4187E}"/>
              </a:ext>
            </a:extLst>
          </p:cNvPr>
          <p:cNvGrpSpPr/>
          <p:nvPr/>
        </p:nvGrpSpPr>
        <p:grpSpPr>
          <a:xfrm>
            <a:off x="14080605" y="5611741"/>
            <a:ext cx="1432560" cy="441960"/>
            <a:chOff x="1588770" y="5753100"/>
            <a:chExt cx="1432560" cy="441960"/>
          </a:xfrm>
          <a:gradFill>
            <a:gsLst>
              <a:gs pos="0">
                <a:srgbClr val="C570EC"/>
              </a:gs>
              <a:gs pos="50000">
                <a:srgbClr val="C371EB"/>
              </a:gs>
              <a:gs pos="100000">
                <a:srgbClr val="A577D7"/>
              </a:gs>
            </a:gsLst>
            <a:lin ang="10800000" scaled="1"/>
          </a:gradFill>
          <a:effectLst/>
        </p:grpSpPr>
        <p:sp>
          <p:nvSpPr>
            <p:cNvPr id="30" name="Rectangle: Rounded Corners 29">
              <a:extLst>
                <a:ext uri="{FF2B5EF4-FFF2-40B4-BE49-F238E27FC236}">
                  <a16:creationId xmlns:a16="http://schemas.microsoft.com/office/drawing/2014/main" id="{043C6556-1668-4531-A09F-0D3BCDF98110}"/>
                </a:ext>
              </a:extLst>
            </p:cNvPr>
            <p:cNvSpPr/>
            <p:nvPr/>
          </p:nvSpPr>
          <p:spPr>
            <a:xfrm>
              <a:off x="1588770" y="5753100"/>
              <a:ext cx="1432560" cy="441960"/>
            </a:xfrm>
            <a:prstGeom prst="roundRect">
              <a:avLst>
                <a:gd name="adj" fmla="val 4137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31" name="TextBox 30">
              <a:extLst>
                <a:ext uri="{FF2B5EF4-FFF2-40B4-BE49-F238E27FC236}">
                  <a16:creationId xmlns:a16="http://schemas.microsoft.com/office/drawing/2014/main" id="{524729FF-5C4E-4225-996B-384CF8B11A6E}"/>
                </a:ext>
              </a:extLst>
            </p:cNvPr>
            <p:cNvSpPr txBox="1"/>
            <p:nvPr/>
          </p:nvSpPr>
          <p:spPr>
            <a:xfrm>
              <a:off x="1978025" y="5789414"/>
              <a:ext cx="749300" cy="369332"/>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Start</a:t>
              </a:r>
              <a:endParaRPr kumimoji="0" lang="en-MY"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51" name="TextBox 50">
            <a:extLst>
              <a:ext uri="{FF2B5EF4-FFF2-40B4-BE49-F238E27FC236}">
                <a16:creationId xmlns:a16="http://schemas.microsoft.com/office/drawing/2014/main" id="{70DF611E-DC74-418B-B17F-81AD39CC02F1}"/>
              </a:ext>
            </a:extLst>
          </p:cNvPr>
          <p:cNvSpPr txBox="1"/>
          <p:nvPr/>
        </p:nvSpPr>
        <p:spPr>
          <a:xfrm>
            <a:off x="4348918" y="3755710"/>
            <a:ext cx="3024021"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Here, We discuss about which are the key technologies or framework are use in this project</a:t>
            </a:r>
          </a:p>
        </p:txBody>
      </p:sp>
      <p:sp>
        <p:nvSpPr>
          <p:cNvPr id="54" name="TextBox 53">
            <a:extLst>
              <a:ext uri="{FF2B5EF4-FFF2-40B4-BE49-F238E27FC236}">
                <a16:creationId xmlns:a16="http://schemas.microsoft.com/office/drawing/2014/main" id="{29B54383-2597-40B9-B80A-9986488CEA4A}"/>
              </a:ext>
            </a:extLst>
          </p:cNvPr>
          <p:cNvSpPr txBox="1"/>
          <p:nvPr/>
        </p:nvSpPr>
        <p:spPr>
          <a:xfrm rot="5400000">
            <a:off x="-386189" y="2364719"/>
            <a:ext cx="205617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800" b="1" i="0" u="none" strike="noStrike" kern="1200" cap="none" spc="0" normalizeH="0" baseline="0" noProof="0" dirty="0">
                <a:ln>
                  <a:noFill/>
                </a:ln>
                <a:solidFill>
                  <a:srgbClr val="A776D9"/>
                </a:solidFill>
                <a:effectLst/>
                <a:uLnTx/>
                <a:uFillTx/>
                <a:latin typeface="Century Gothic" panose="020B0502020202020204" pitchFamily="34" charset="0"/>
                <a:ea typeface="+mn-ea"/>
                <a:cs typeface="+mn-cs"/>
              </a:rPr>
              <a:t>Relax.</a:t>
            </a:r>
          </a:p>
        </p:txBody>
      </p:sp>
      <p:sp>
        <p:nvSpPr>
          <p:cNvPr id="59" name="TextBox 58">
            <a:extLst>
              <a:ext uri="{FF2B5EF4-FFF2-40B4-BE49-F238E27FC236}">
                <a16:creationId xmlns:a16="http://schemas.microsoft.com/office/drawing/2014/main" id="{4D2A0DD2-DB95-49AB-A250-70AF9BA15D04}"/>
              </a:ext>
            </a:extLst>
          </p:cNvPr>
          <p:cNvSpPr txBox="1"/>
          <p:nvPr/>
        </p:nvSpPr>
        <p:spPr>
          <a:xfrm>
            <a:off x="4309827" y="2626329"/>
            <a:ext cx="3527584"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Used</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Rectangle: Rounded Corners 13">
            <a:extLst>
              <a:ext uri="{FF2B5EF4-FFF2-40B4-BE49-F238E27FC236}">
                <a16:creationId xmlns:a16="http://schemas.microsoft.com/office/drawing/2014/main" id="{85D780CE-89AF-44B1-9DEC-DBEF3455E5F4}"/>
              </a:ext>
            </a:extLst>
          </p:cNvPr>
          <p:cNvSpPr/>
          <p:nvPr/>
        </p:nvSpPr>
        <p:spPr>
          <a:xfrm>
            <a:off x="8107260" y="327498"/>
            <a:ext cx="678657" cy="73695"/>
          </a:xfrm>
          <a:prstGeom prst="roundRect">
            <a:avLst>
              <a:gd name="adj" fmla="val 50000"/>
            </a:avLst>
          </a:prstGeom>
          <a:solidFill>
            <a:srgbClr val="A776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5927FD73-2A66-4DE1-9263-D6DEF7E0F084}"/>
              </a:ext>
            </a:extLst>
          </p:cNvPr>
          <p:cNvSpPr/>
          <p:nvPr/>
        </p:nvSpPr>
        <p:spPr>
          <a:xfrm>
            <a:off x="359404" y="4655580"/>
            <a:ext cx="471367" cy="449125"/>
          </a:xfrm>
          <a:prstGeom prst="roundRect">
            <a:avLst>
              <a:gd name="adj" fmla="val 50000"/>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Rectangle: Rounded Corners 57">
            <a:extLst>
              <a:ext uri="{FF2B5EF4-FFF2-40B4-BE49-F238E27FC236}">
                <a16:creationId xmlns:a16="http://schemas.microsoft.com/office/drawing/2014/main" id="{45F61CEA-2FC6-40F3-B2EC-7ABBC59E0DA2}"/>
              </a:ext>
            </a:extLst>
          </p:cNvPr>
          <p:cNvSpPr/>
          <p:nvPr/>
        </p:nvSpPr>
        <p:spPr>
          <a:xfrm>
            <a:off x="359404" y="5320609"/>
            <a:ext cx="471367" cy="449125"/>
          </a:xfrm>
          <a:prstGeom prst="roundRect">
            <a:avLst>
              <a:gd name="adj" fmla="val 50000"/>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Rectangle: Rounded Corners 59">
            <a:extLst>
              <a:ext uri="{FF2B5EF4-FFF2-40B4-BE49-F238E27FC236}">
                <a16:creationId xmlns:a16="http://schemas.microsoft.com/office/drawing/2014/main" id="{08202A30-EFC6-47E5-BC17-6643D2A86FB7}"/>
              </a:ext>
            </a:extLst>
          </p:cNvPr>
          <p:cNvSpPr/>
          <p:nvPr/>
        </p:nvSpPr>
        <p:spPr>
          <a:xfrm>
            <a:off x="355523" y="6008790"/>
            <a:ext cx="471367" cy="449125"/>
          </a:xfrm>
          <a:prstGeom prst="roundRect">
            <a:avLst>
              <a:gd name="adj" fmla="val 31620"/>
            </a:avLst>
          </a:prstGeom>
          <a:solidFill>
            <a:srgbClr val="A776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Graphic 9" descr="Home with solid fill">
            <a:extLst>
              <a:ext uri="{FF2B5EF4-FFF2-40B4-BE49-F238E27FC236}">
                <a16:creationId xmlns:a16="http://schemas.microsoft.com/office/drawing/2014/main" id="{D024AFBC-6F7D-466E-B71A-E6F32CFA991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30962" y="6053701"/>
            <a:ext cx="320489" cy="320489"/>
          </a:xfrm>
          <a:prstGeom prst="rect">
            <a:avLst/>
          </a:prstGeom>
        </p:spPr>
      </p:pic>
      <p:pic>
        <p:nvPicPr>
          <p:cNvPr id="9" name="Graphic 8" descr="Caret Up with solid fill">
            <a:extLst>
              <a:ext uri="{FF2B5EF4-FFF2-40B4-BE49-F238E27FC236}">
                <a16:creationId xmlns:a16="http://schemas.microsoft.com/office/drawing/2014/main" id="{C0CB79D1-07CC-4E7A-AADB-EA6AEE97FBE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98917" y="4676085"/>
            <a:ext cx="392341" cy="392341"/>
          </a:xfrm>
          <a:prstGeom prst="rect">
            <a:avLst/>
          </a:prstGeom>
        </p:spPr>
      </p:pic>
      <p:pic>
        <p:nvPicPr>
          <p:cNvPr id="53" name="Graphic 52" descr="Caret Up with solid fill">
            <a:extLst>
              <a:ext uri="{FF2B5EF4-FFF2-40B4-BE49-F238E27FC236}">
                <a16:creationId xmlns:a16="http://schemas.microsoft.com/office/drawing/2014/main" id="{F840A4FB-EE4D-4F98-8983-939384A70C9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flipV="1">
            <a:off x="398917" y="5359905"/>
            <a:ext cx="392341" cy="392341"/>
          </a:xfrm>
          <a:prstGeom prst="rect">
            <a:avLst/>
          </a:prstGeom>
        </p:spPr>
      </p:pic>
      <p:pic>
        <p:nvPicPr>
          <p:cNvPr id="46" name="oppo">
            <a:extLst>
              <a:ext uri="{FF2B5EF4-FFF2-40B4-BE49-F238E27FC236}">
                <a16:creationId xmlns:a16="http://schemas.microsoft.com/office/drawing/2014/main" id="{FE598963-CEA6-4836-9CCD-541E638E96D1}"/>
              </a:ext>
            </a:extLst>
          </p:cNvPr>
          <p:cNvPicPr>
            <a:picLocks noChangeAspect="1"/>
          </p:cNvPicPr>
          <p:nvPr/>
        </p:nvPicPr>
        <p:blipFill rotWithShape="1">
          <a:blip r:embed="rId4">
            <a:extLst>
              <a:ext uri="{BEBA8EAE-BF5A-486C-A8C5-ECC9F3942E4B}">
                <a14:imgProps xmlns:a14="http://schemas.microsoft.com/office/drawing/2010/main">
                  <a14:imgLayer r:embed="rId5">
                    <a14:imgEffect>
                      <a14:artisticBlur radius="100"/>
                    </a14:imgEffect>
                    <a14:imgEffect>
                      <a14:brightnessContrast contrast="40000"/>
                    </a14:imgEffect>
                  </a14:imgLayer>
                </a14:imgProps>
              </a:ext>
            </a:extLst>
          </a:blip>
          <a:srcRect l="65664" t="209845" r="14868" b="-205219"/>
          <a:stretch/>
        </p:blipFill>
        <p:spPr>
          <a:xfrm>
            <a:off x="7993273" y="14679541"/>
            <a:ext cx="2435336" cy="6709795"/>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pic>
        <p:nvPicPr>
          <p:cNvPr id="47" name="samsung">
            <a:extLst>
              <a:ext uri="{FF2B5EF4-FFF2-40B4-BE49-F238E27FC236}">
                <a16:creationId xmlns:a16="http://schemas.microsoft.com/office/drawing/2014/main" id="{CDB0B5AE-98F3-40F6-84FC-6A549676F8E2}"/>
              </a:ext>
            </a:extLst>
          </p:cNvPr>
          <p:cNvPicPr>
            <a:picLocks noChangeAspect="1"/>
          </p:cNvPicPr>
          <p:nvPr/>
        </p:nvPicPr>
        <p:blipFill rotWithShape="1">
          <a:blip r:embed="rId4">
            <a:extLst>
              <a:ext uri="{BEBA8EAE-BF5A-486C-A8C5-ECC9F3942E4B}">
                <a14:imgProps xmlns:a14="http://schemas.microsoft.com/office/drawing/2010/main">
                  <a14:imgLayer r:embed="rId5">
                    <a14:imgEffect>
                      <a14:artisticBlur radius="100"/>
                    </a14:imgEffect>
                    <a14:imgEffect>
                      <a14:brightnessContrast contrast="40000"/>
                    </a14:imgEffect>
                  </a14:imgLayer>
                </a14:imgProps>
              </a:ext>
            </a:extLst>
          </a:blip>
          <a:srcRect l="42898" t="159364" r="37057" b="-151724"/>
          <a:stretch/>
        </p:blipFill>
        <p:spPr>
          <a:xfrm>
            <a:off x="5229792" y="10929119"/>
            <a:ext cx="2444400" cy="6333780"/>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pic>
        <p:nvPicPr>
          <p:cNvPr id="49" name="Picture 48">
            <a:extLst>
              <a:ext uri="{FF2B5EF4-FFF2-40B4-BE49-F238E27FC236}">
                <a16:creationId xmlns:a16="http://schemas.microsoft.com/office/drawing/2014/main" id="{4D066834-435D-4B1E-858E-C46A4E662438}"/>
              </a:ext>
            </a:extLst>
          </p:cNvPr>
          <p:cNvPicPr>
            <a:picLocks noChangeAspect="1"/>
          </p:cNvPicPr>
          <p:nvPr/>
        </p:nvPicPr>
        <p:blipFill rotWithShape="1">
          <a:blip r:embed="rId4">
            <a:extLst>
              <a:ext uri="{BEBA8EAE-BF5A-486C-A8C5-ECC9F3942E4B}">
                <a14:imgProps xmlns:a14="http://schemas.microsoft.com/office/drawing/2010/main">
                  <a14:imgLayer r:embed="rId5">
                    <a14:imgEffect>
                      <a14:artisticBlur radius="100"/>
                    </a14:imgEffect>
                    <a14:imgEffect>
                      <a14:brightnessContrast contrast="40000"/>
                    </a14:imgEffect>
                  </a14:imgLayer>
                </a14:imgProps>
              </a:ext>
            </a:extLst>
          </a:blip>
          <a:srcRect l="20120" t="108990" r="59828" b="-106708"/>
          <a:stretch/>
        </p:blipFill>
        <p:spPr>
          <a:xfrm>
            <a:off x="2452241" y="7474547"/>
            <a:ext cx="2445074" cy="6701156"/>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sp>
        <p:nvSpPr>
          <p:cNvPr id="50" name="TextBox 49">
            <a:extLst>
              <a:ext uri="{FF2B5EF4-FFF2-40B4-BE49-F238E27FC236}">
                <a16:creationId xmlns:a16="http://schemas.microsoft.com/office/drawing/2014/main" id="{A94BC15B-AC96-44F3-82E6-08A23150C174}"/>
              </a:ext>
            </a:extLst>
          </p:cNvPr>
          <p:cNvSpPr txBox="1"/>
          <p:nvPr/>
        </p:nvSpPr>
        <p:spPr>
          <a:xfrm>
            <a:off x="5257119" y="15586636"/>
            <a:ext cx="2184559"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Drop</a:t>
            </a:r>
            <a:endParaRPr kumimoji="0" lang="en-MY"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TextBox 51">
            <a:extLst>
              <a:ext uri="{FF2B5EF4-FFF2-40B4-BE49-F238E27FC236}">
                <a16:creationId xmlns:a16="http://schemas.microsoft.com/office/drawing/2014/main" id="{3E6CEB04-F560-4384-BFEF-B86D76838187}"/>
              </a:ext>
            </a:extLst>
          </p:cNvPr>
          <p:cNvSpPr txBox="1"/>
          <p:nvPr/>
        </p:nvSpPr>
        <p:spPr>
          <a:xfrm>
            <a:off x="5288797" y="16296301"/>
            <a:ext cx="2152881"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Some money</a:t>
            </a:r>
            <a:endParaRPr kumimoji="0" lang="en-MY" sz="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TextBox 54">
            <a:extLst>
              <a:ext uri="{FF2B5EF4-FFF2-40B4-BE49-F238E27FC236}">
                <a16:creationId xmlns:a16="http://schemas.microsoft.com/office/drawing/2014/main" id="{41C9F5E6-7979-41BE-8BB7-9FD0520DE0A6}"/>
              </a:ext>
            </a:extLst>
          </p:cNvPr>
          <p:cNvSpPr txBox="1"/>
          <p:nvPr/>
        </p:nvSpPr>
        <p:spPr>
          <a:xfrm>
            <a:off x="5264932" y="16614238"/>
            <a:ext cx="2294642"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Lalisa</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in the house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yooooo</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Drop some money, dropping some money yeah…</a:t>
            </a:r>
          </a:p>
        </p:txBody>
      </p:sp>
      <p:sp>
        <p:nvSpPr>
          <p:cNvPr id="57" name="TextBox 56">
            <a:extLst>
              <a:ext uri="{FF2B5EF4-FFF2-40B4-BE49-F238E27FC236}">
                <a16:creationId xmlns:a16="http://schemas.microsoft.com/office/drawing/2014/main" id="{FF9672A6-4836-440A-9F51-84AED9D8B9AC}"/>
              </a:ext>
            </a:extLst>
          </p:cNvPr>
          <p:cNvSpPr txBox="1"/>
          <p:nvPr/>
        </p:nvSpPr>
        <p:spPr>
          <a:xfrm>
            <a:off x="13801848" y="4332185"/>
            <a:ext cx="244440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36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Game On</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TextBox 69">
            <a:extLst>
              <a:ext uri="{FF2B5EF4-FFF2-40B4-BE49-F238E27FC236}">
                <a16:creationId xmlns:a16="http://schemas.microsoft.com/office/drawing/2014/main" id="{819EAC1E-86D9-402F-98CE-0F8236F9A13A}"/>
              </a:ext>
            </a:extLst>
          </p:cNvPr>
          <p:cNvSpPr txBox="1"/>
          <p:nvPr/>
        </p:nvSpPr>
        <p:spPr>
          <a:xfrm>
            <a:off x="14737824" y="4782939"/>
            <a:ext cx="263447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Glassmorphism</a:t>
            </a:r>
            <a:endParaRPr kumimoji="0" lang="en-MY"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TextBox 70">
            <a:extLst>
              <a:ext uri="{FF2B5EF4-FFF2-40B4-BE49-F238E27FC236}">
                <a16:creationId xmlns:a16="http://schemas.microsoft.com/office/drawing/2014/main" id="{5DA38A2A-569E-4963-A93F-0352AC1C896F}"/>
              </a:ext>
            </a:extLst>
          </p:cNvPr>
          <p:cNvSpPr txBox="1"/>
          <p:nvPr/>
        </p:nvSpPr>
        <p:spPr>
          <a:xfrm>
            <a:off x="14760187" y="5086379"/>
            <a:ext cx="2294642"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Saya suka ikan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masin</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sekian</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terima</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kasih</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a:t>
            </a:r>
          </a:p>
        </p:txBody>
      </p:sp>
      <p:grpSp>
        <p:nvGrpSpPr>
          <p:cNvPr id="72" name="Group 71">
            <a:extLst>
              <a:ext uri="{FF2B5EF4-FFF2-40B4-BE49-F238E27FC236}">
                <a16:creationId xmlns:a16="http://schemas.microsoft.com/office/drawing/2014/main" id="{B4D2A103-B119-4040-A66F-8F755432009C}"/>
              </a:ext>
            </a:extLst>
          </p:cNvPr>
          <p:cNvGrpSpPr/>
          <p:nvPr/>
        </p:nvGrpSpPr>
        <p:grpSpPr>
          <a:xfrm>
            <a:off x="5504255" y="17641988"/>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73" name="Rectangle: Rounded Corners 72">
              <a:extLst>
                <a:ext uri="{FF2B5EF4-FFF2-40B4-BE49-F238E27FC236}">
                  <a16:creationId xmlns:a16="http://schemas.microsoft.com/office/drawing/2014/main" id="{4CD77F92-BD0D-482F-9445-0246BFA144E8}"/>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74" name="TextBox 73">
              <a:extLst>
                <a:ext uri="{FF2B5EF4-FFF2-40B4-BE49-F238E27FC236}">
                  <a16:creationId xmlns:a16="http://schemas.microsoft.com/office/drawing/2014/main" id="{D7994892-20BB-4D06-A413-FBA24DDF1F5D}"/>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75" name="Group 74">
            <a:extLst>
              <a:ext uri="{FF2B5EF4-FFF2-40B4-BE49-F238E27FC236}">
                <a16:creationId xmlns:a16="http://schemas.microsoft.com/office/drawing/2014/main" id="{69F98155-1C29-47CE-B368-74EA57B46B9E}"/>
              </a:ext>
            </a:extLst>
          </p:cNvPr>
          <p:cNvGrpSpPr/>
          <p:nvPr/>
        </p:nvGrpSpPr>
        <p:grpSpPr>
          <a:xfrm>
            <a:off x="16185807" y="5847538"/>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76" name="Rectangle: Rounded Corners 75">
              <a:extLst>
                <a:ext uri="{FF2B5EF4-FFF2-40B4-BE49-F238E27FC236}">
                  <a16:creationId xmlns:a16="http://schemas.microsoft.com/office/drawing/2014/main" id="{D67B7930-06F5-411E-BC1B-887A5C3EFC02}"/>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77" name="TextBox 76">
              <a:extLst>
                <a:ext uri="{FF2B5EF4-FFF2-40B4-BE49-F238E27FC236}">
                  <a16:creationId xmlns:a16="http://schemas.microsoft.com/office/drawing/2014/main" id="{FA013253-8612-44D7-8D37-88928C6FB04A}"/>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78" name="TextBox 77">
            <a:extLst>
              <a:ext uri="{FF2B5EF4-FFF2-40B4-BE49-F238E27FC236}">
                <a16:creationId xmlns:a16="http://schemas.microsoft.com/office/drawing/2014/main" id="{BB9DAF15-5806-4EB0-A52D-E53BDD912B14}"/>
              </a:ext>
            </a:extLst>
          </p:cNvPr>
          <p:cNvSpPr txBox="1"/>
          <p:nvPr/>
        </p:nvSpPr>
        <p:spPr>
          <a:xfrm>
            <a:off x="2532617" y="11601904"/>
            <a:ext cx="2184559"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3600" b="1" i="0" u="none" strike="noStrike" kern="1200" cap="none" spc="0" normalizeH="0" baseline="0" noProof="0" dirty="0" err="1">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Emohi</a:t>
            </a:r>
            <a:r>
              <a:rPr kumimoji="0" lang="en-MY" sz="36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 </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TextBox 78">
            <a:extLst>
              <a:ext uri="{FF2B5EF4-FFF2-40B4-BE49-F238E27FC236}">
                <a16:creationId xmlns:a16="http://schemas.microsoft.com/office/drawing/2014/main" id="{57678F5D-D153-461A-AB91-D22659F86238}"/>
              </a:ext>
            </a:extLst>
          </p:cNvPr>
          <p:cNvSpPr txBox="1"/>
          <p:nvPr/>
        </p:nvSpPr>
        <p:spPr>
          <a:xfrm>
            <a:off x="2548452" y="12471390"/>
            <a:ext cx="2240671"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fluent and fresh</a:t>
            </a:r>
            <a:endParaRPr kumimoji="0" lang="en-MY" sz="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TextBox 79">
            <a:extLst>
              <a:ext uri="{FF2B5EF4-FFF2-40B4-BE49-F238E27FC236}">
                <a16:creationId xmlns:a16="http://schemas.microsoft.com/office/drawing/2014/main" id="{EDFFBCF5-3CCB-4D3E-A943-032B58D23C80}"/>
              </a:ext>
            </a:extLst>
          </p:cNvPr>
          <p:cNvSpPr txBox="1"/>
          <p:nvPr/>
        </p:nvSpPr>
        <p:spPr>
          <a:xfrm>
            <a:off x="2527457" y="12788798"/>
            <a:ext cx="2294642"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I don’t know what to write here, so let just say I like chicken. </a:t>
            </a:r>
          </a:p>
        </p:txBody>
      </p:sp>
      <p:grpSp>
        <p:nvGrpSpPr>
          <p:cNvPr id="81" name="Group 80">
            <a:extLst>
              <a:ext uri="{FF2B5EF4-FFF2-40B4-BE49-F238E27FC236}">
                <a16:creationId xmlns:a16="http://schemas.microsoft.com/office/drawing/2014/main" id="{FAE34D65-F049-4DF1-9F2C-59492A66F339}"/>
              </a:ext>
            </a:extLst>
          </p:cNvPr>
          <p:cNvGrpSpPr/>
          <p:nvPr/>
        </p:nvGrpSpPr>
        <p:grpSpPr>
          <a:xfrm>
            <a:off x="2727041" y="13790408"/>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82" name="Rectangle: Rounded Corners 81">
              <a:extLst>
                <a:ext uri="{FF2B5EF4-FFF2-40B4-BE49-F238E27FC236}">
                  <a16:creationId xmlns:a16="http://schemas.microsoft.com/office/drawing/2014/main" id="{8334CA07-6FFF-43F6-9BE0-CD78704B1FA5}"/>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83" name="TextBox 82">
              <a:extLst>
                <a:ext uri="{FF2B5EF4-FFF2-40B4-BE49-F238E27FC236}">
                  <a16:creationId xmlns:a16="http://schemas.microsoft.com/office/drawing/2014/main" id="{8E9C0FEE-26E3-4FE4-8F4D-B6BDA365677B}"/>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84" name="Rectangle: Rounded Corners 83">
            <a:extLst>
              <a:ext uri="{FF2B5EF4-FFF2-40B4-BE49-F238E27FC236}">
                <a16:creationId xmlns:a16="http://schemas.microsoft.com/office/drawing/2014/main" id="{5AEEC992-0795-4DF1-BCA1-A6AA8F172E43}"/>
              </a:ext>
            </a:extLst>
          </p:cNvPr>
          <p:cNvSpPr/>
          <p:nvPr/>
        </p:nvSpPr>
        <p:spPr>
          <a:xfrm>
            <a:off x="15425248" y="323326"/>
            <a:ext cx="964520" cy="94179"/>
          </a:xfrm>
          <a:prstGeom prst="roundRect">
            <a:avLst>
              <a:gd name="adj" fmla="val 50000"/>
            </a:avLst>
          </a:prstGeom>
          <a:solidFill>
            <a:srgbClr val="B499EB"/>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Rectangle: Rounded Corners 84">
            <a:extLst>
              <a:ext uri="{FF2B5EF4-FFF2-40B4-BE49-F238E27FC236}">
                <a16:creationId xmlns:a16="http://schemas.microsoft.com/office/drawing/2014/main" id="{A7C91F3B-880D-431A-92F6-D909BB05C7E6}"/>
              </a:ext>
            </a:extLst>
          </p:cNvPr>
          <p:cNvSpPr/>
          <p:nvPr/>
        </p:nvSpPr>
        <p:spPr>
          <a:xfrm>
            <a:off x="5969732" y="11854993"/>
            <a:ext cx="964520" cy="94179"/>
          </a:xfrm>
          <a:prstGeom prst="roundRect">
            <a:avLst>
              <a:gd name="adj" fmla="val 50000"/>
            </a:avLst>
          </a:prstGeom>
          <a:solidFill>
            <a:srgbClr val="CA9DF5"/>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Rectangle: Rounded Corners 85">
            <a:extLst>
              <a:ext uri="{FF2B5EF4-FFF2-40B4-BE49-F238E27FC236}">
                <a16:creationId xmlns:a16="http://schemas.microsoft.com/office/drawing/2014/main" id="{6B3B0671-43F3-48B3-93A8-38D49DCD2E6D}"/>
              </a:ext>
            </a:extLst>
          </p:cNvPr>
          <p:cNvSpPr/>
          <p:nvPr/>
        </p:nvSpPr>
        <p:spPr>
          <a:xfrm>
            <a:off x="3192518" y="8029550"/>
            <a:ext cx="964520" cy="94179"/>
          </a:xfrm>
          <a:prstGeom prst="roundRect">
            <a:avLst>
              <a:gd name="adj" fmla="val 50000"/>
            </a:avLst>
          </a:prstGeom>
          <a:solidFill>
            <a:srgbClr val="CA9DF5"/>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7" name="Picture 86">
            <a:extLst>
              <a:ext uri="{FF2B5EF4-FFF2-40B4-BE49-F238E27FC236}">
                <a16:creationId xmlns:a16="http://schemas.microsoft.com/office/drawing/2014/main" id="{96A94D47-54B6-4CC8-8376-A68B427974EC}"/>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rot="1924428">
            <a:off x="15392566" y="-356775"/>
            <a:ext cx="6745287" cy="5443985"/>
          </a:xfrm>
          <a:prstGeom prst="rect">
            <a:avLst/>
          </a:prstGeom>
        </p:spPr>
      </p:pic>
      <p:pic>
        <p:nvPicPr>
          <p:cNvPr id="88" name="Picture 87">
            <a:extLst>
              <a:ext uri="{FF2B5EF4-FFF2-40B4-BE49-F238E27FC236}">
                <a16:creationId xmlns:a16="http://schemas.microsoft.com/office/drawing/2014/main" id="{D45349B1-55E7-4E9F-BCEF-5075C85B4D6B}"/>
              </a:ext>
            </a:extLst>
          </p:cNvPr>
          <p:cNvPicPr>
            <a:picLocks noChangeAspect="1"/>
          </p:cNvPicPr>
          <p:nvPr/>
        </p:nvPicPr>
        <p:blipFill>
          <a:blip r:embed="rId17"/>
          <a:stretch>
            <a:fillRect/>
          </a:stretch>
        </p:blipFill>
        <p:spPr>
          <a:xfrm rot="5400000">
            <a:off x="13900076" y="1777561"/>
            <a:ext cx="1907520" cy="1907520"/>
          </a:xfrm>
          <a:prstGeom prst="rect">
            <a:avLst/>
          </a:prstGeom>
        </p:spPr>
      </p:pic>
      <p:pic>
        <p:nvPicPr>
          <p:cNvPr id="89" name="Picture 88">
            <a:extLst>
              <a:ext uri="{FF2B5EF4-FFF2-40B4-BE49-F238E27FC236}">
                <a16:creationId xmlns:a16="http://schemas.microsoft.com/office/drawing/2014/main" id="{F8B919CC-6D82-4047-86C7-EE57A0A1AB95}"/>
              </a:ext>
            </a:extLst>
          </p:cNvPr>
          <p:cNvPicPr>
            <a:picLocks noChangeAspect="1"/>
          </p:cNvPicPr>
          <p:nvPr/>
        </p:nvPicPr>
        <p:blipFill>
          <a:blip r:embed="rId18"/>
          <a:stretch>
            <a:fillRect/>
          </a:stretch>
        </p:blipFill>
        <p:spPr>
          <a:xfrm rot="3600000" flipH="1">
            <a:off x="4467139" y="11586269"/>
            <a:ext cx="1608632" cy="1608632"/>
          </a:xfrm>
          <a:prstGeom prst="rect">
            <a:avLst/>
          </a:prstGeom>
        </p:spPr>
      </p:pic>
      <p:sp>
        <p:nvSpPr>
          <p:cNvPr id="90" name="Freeform: Shape 89">
            <a:extLst>
              <a:ext uri="{FF2B5EF4-FFF2-40B4-BE49-F238E27FC236}">
                <a16:creationId xmlns:a16="http://schemas.microsoft.com/office/drawing/2014/main" id="{E8C5690F-CEE9-4033-947B-72CC6A2655A1}"/>
              </a:ext>
            </a:extLst>
          </p:cNvPr>
          <p:cNvSpPr/>
          <p:nvPr/>
        </p:nvSpPr>
        <p:spPr>
          <a:xfrm rot="20700000">
            <a:off x="3340406" y="10981290"/>
            <a:ext cx="1441662" cy="2489971"/>
          </a:xfrm>
          <a:custGeom>
            <a:avLst/>
            <a:gdLst>
              <a:gd name="connsiteX0" fmla="*/ 2298694 w 2462684"/>
              <a:gd name="connsiteY0" fmla="*/ 4048436 h 4051070"/>
              <a:gd name="connsiteX1" fmla="*/ 2251069 w 2462684"/>
              <a:gd name="connsiteY1" fmla="*/ 3248336 h 4051070"/>
              <a:gd name="connsiteX2" fmla="*/ 1231894 w 2462684"/>
              <a:gd name="connsiteY2" fmla="*/ 2876861 h 4051070"/>
              <a:gd name="connsiteX3" fmla="*/ 822319 w 2462684"/>
              <a:gd name="connsiteY3" fmla="*/ 1914836 h 4051070"/>
              <a:gd name="connsiteX4" fmla="*/ 136519 w 2462684"/>
              <a:gd name="connsiteY4" fmla="*/ 1057586 h 4051070"/>
              <a:gd name="connsiteX5" fmla="*/ 22219 w 2462684"/>
              <a:gd name="connsiteY5" fmla="*/ 419411 h 4051070"/>
              <a:gd name="connsiteX6" fmla="*/ 431794 w 2462684"/>
              <a:gd name="connsiteY6" fmla="*/ 9836 h 4051070"/>
              <a:gd name="connsiteX7" fmla="*/ 1212844 w 2462684"/>
              <a:gd name="connsiteY7" fmla="*/ 828986 h 4051070"/>
              <a:gd name="connsiteX8" fmla="*/ 1460494 w 2462684"/>
              <a:gd name="connsiteY8" fmla="*/ 1933886 h 4051070"/>
              <a:gd name="connsiteX9" fmla="*/ 1536694 w 2462684"/>
              <a:gd name="connsiteY9" fmla="*/ 2543486 h 4051070"/>
              <a:gd name="connsiteX10" fmla="*/ 2422519 w 2462684"/>
              <a:gd name="connsiteY10" fmla="*/ 2953061 h 4051070"/>
              <a:gd name="connsiteX11" fmla="*/ 2298694 w 2462684"/>
              <a:gd name="connsiteY11" fmla="*/ 4048436 h 405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62684" h="4051070">
                <a:moveTo>
                  <a:pt x="2298694" y="4048436"/>
                </a:moveTo>
                <a:cubicBezTo>
                  <a:pt x="2270119" y="4097649"/>
                  <a:pt x="2428869" y="3443598"/>
                  <a:pt x="2251069" y="3248336"/>
                </a:cubicBezTo>
                <a:cubicBezTo>
                  <a:pt x="2073269" y="3053074"/>
                  <a:pt x="1470019" y="3099111"/>
                  <a:pt x="1231894" y="2876861"/>
                </a:cubicBezTo>
                <a:cubicBezTo>
                  <a:pt x="993769" y="2654611"/>
                  <a:pt x="1004881" y="2218048"/>
                  <a:pt x="822319" y="1914836"/>
                </a:cubicBezTo>
                <a:cubicBezTo>
                  <a:pt x="639757" y="1611624"/>
                  <a:pt x="269869" y="1306823"/>
                  <a:pt x="136519" y="1057586"/>
                </a:cubicBezTo>
                <a:cubicBezTo>
                  <a:pt x="3169" y="808349"/>
                  <a:pt x="-26994" y="594036"/>
                  <a:pt x="22219" y="419411"/>
                </a:cubicBezTo>
                <a:cubicBezTo>
                  <a:pt x="71431" y="244786"/>
                  <a:pt x="233357" y="-58426"/>
                  <a:pt x="431794" y="9836"/>
                </a:cubicBezTo>
                <a:cubicBezTo>
                  <a:pt x="630231" y="78098"/>
                  <a:pt x="1041394" y="508311"/>
                  <a:pt x="1212844" y="828986"/>
                </a:cubicBezTo>
                <a:cubicBezTo>
                  <a:pt x="1384294" y="1149661"/>
                  <a:pt x="1406519" y="1648136"/>
                  <a:pt x="1460494" y="1933886"/>
                </a:cubicBezTo>
                <a:cubicBezTo>
                  <a:pt x="1514469" y="2219636"/>
                  <a:pt x="1376357" y="2373624"/>
                  <a:pt x="1536694" y="2543486"/>
                </a:cubicBezTo>
                <a:cubicBezTo>
                  <a:pt x="1697031" y="2713348"/>
                  <a:pt x="2292344" y="2703823"/>
                  <a:pt x="2422519" y="2953061"/>
                </a:cubicBezTo>
                <a:cubicBezTo>
                  <a:pt x="2552694" y="3202298"/>
                  <a:pt x="2327269" y="3999223"/>
                  <a:pt x="2298694" y="4048436"/>
                </a:cubicBezTo>
                <a:close/>
              </a:path>
            </a:pathLst>
          </a:custGeom>
          <a:gradFill flip="none" rotWithShape="1">
            <a:gsLst>
              <a:gs pos="0">
                <a:srgbClr val="F5736A"/>
              </a:gs>
              <a:gs pos="50000">
                <a:srgbClr val="FF9C5A"/>
              </a:gs>
              <a:gs pos="100000">
                <a:srgbClr val="FFCF38"/>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Freeform: Shape 90">
            <a:extLst>
              <a:ext uri="{FF2B5EF4-FFF2-40B4-BE49-F238E27FC236}">
                <a16:creationId xmlns:a16="http://schemas.microsoft.com/office/drawing/2014/main" id="{B0EDD270-FD33-4FFC-932E-2BCD6E217194}"/>
              </a:ext>
            </a:extLst>
          </p:cNvPr>
          <p:cNvSpPr/>
          <p:nvPr/>
        </p:nvSpPr>
        <p:spPr>
          <a:xfrm rot="19800000">
            <a:off x="5572416" y="10571336"/>
            <a:ext cx="1150511" cy="2114395"/>
          </a:xfrm>
          <a:custGeom>
            <a:avLst/>
            <a:gdLst>
              <a:gd name="connsiteX0" fmla="*/ 590747 w 1999863"/>
              <a:gd name="connsiteY0" fmla="*/ 3569683 h 3675326"/>
              <a:gd name="connsiteX1" fmla="*/ 197 w 1999863"/>
              <a:gd name="connsiteY1" fmla="*/ 2931508 h 3675326"/>
              <a:gd name="connsiteX2" fmla="*/ 524072 w 1999863"/>
              <a:gd name="connsiteY2" fmla="*/ 2007583 h 3675326"/>
              <a:gd name="connsiteX3" fmla="*/ 447872 w 1999863"/>
              <a:gd name="connsiteY3" fmla="*/ 1321783 h 3675326"/>
              <a:gd name="connsiteX4" fmla="*/ 1286072 w 1999863"/>
              <a:gd name="connsiteY4" fmla="*/ 7333 h 3675326"/>
              <a:gd name="connsiteX5" fmla="*/ 1924247 w 1999863"/>
              <a:gd name="connsiteY5" fmla="*/ 893158 h 3675326"/>
              <a:gd name="connsiteX6" fmla="*/ 1943297 w 1999863"/>
              <a:gd name="connsiteY6" fmla="*/ 2979133 h 3675326"/>
              <a:gd name="connsiteX7" fmla="*/ 1524197 w 1999863"/>
              <a:gd name="connsiteY7" fmla="*/ 3617308 h 3675326"/>
              <a:gd name="connsiteX8" fmla="*/ 590747 w 1999863"/>
              <a:gd name="connsiteY8" fmla="*/ 3569683 h 3675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9863" h="3675326">
                <a:moveTo>
                  <a:pt x="590747" y="3569683"/>
                </a:moveTo>
                <a:cubicBezTo>
                  <a:pt x="336747" y="3455383"/>
                  <a:pt x="11309" y="3191858"/>
                  <a:pt x="197" y="2931508"/>
                </a:cubicBezTo>
                <a:cubicBezTo>
                  <a:pt x="-10915" y="2671158"/>
                  <a:pt x="449459" y="2275871"/>
                  <a:pt x="524072" y="2007583"/>
                </a:cubicBezTo>
                <a:cubicBezTo>
                  <a:pt x="598685" y="1739295"/>
                  <a:pt x="320872" y="1655158"/>
                  <a:pt x="447872" y="1321783"/>
                </a:cubicBezTo>
                <a:cubicBezTo>
                  <a:pt x="574872" y="988408"/>
                  <a:pt x="1040010" y="78770"/>
                  <a:pt x="1286072" y="7333"/>
                </a:cubicBezTo>
                <a:cubicBezTo>
                  <a:pt x="1532135" y="-64105"/>
                  <a:pt x="1814710" y="397858"/>
                  <a:pt x="1924247" y="893158"/>
                </a:cubicBezTo>
                <a:cubicBezTo>
                  <a:pt x="2033784" y="1388458"/>
                  <a:pt x="2009972" y="2525108"/>
                  <a:pt x="1943297" y="2979133"/>
                </a:cubicBezTo>
                <a:cubicBezTo>
                  <a:pt x="1876622" y="3433158"/>
                  <a:pt x="1752797" y="3520470"/>
                  <a:pt x="1524197" y="3617308"/>
                </a:cubicBezTo>
                <a:cubicBezTo>
                  <a:pt x="1295597" y="3714146"/>
                  <a:pt x="844747" y="3683983"/>
                  <a:pt x="590747" y="3569683"/>
                </a:cubicBezTo>
                <a:close/>
              </a:path>
            </a:pathLst>
          </a:custGeom>
          <a:gradFill flip="none" rotWithShape="1">
            <a:gsLst>
              <a:gs pos="0">
                <a:srgbClr val="C8A7F1"/>
              </a:gs>
              <a:gs pos="35000">
                <a:srgbClr val="C7ACF1"/>
              </a:gs>
              <a:gs pos="100000">
                <a:srgbClr val="D99FC6"/>
              </a:gs>
            </a:gsLst>
            <a:path path="circle">
              <a:fillToRect l="50000" t="-80000" r="50000" b="18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2" name="Picture 91">
            <a:extLst>
              <a:ext uri="{FF2B5EF4-FFF2-40B4-BE49-F238E27FC236}">
                <a16:creationId xmlns:a16="http://schemas.microsoft.com/office/drawing/2014/main" id="{ADC66458-B6AE-484B-B975-C6539ECBC286}"/>
              </a:ext>
            </a:extLst>
          </p:cNvPr>
          <p:cNvPicPr>
            <a:picLocks noChangeAspect="1"/>
          </p:cNvPicPr>
          <p:nvPr/>
        </p:nvPicPr>
        <p:blipFill>
          <a:blip r:embed="rId19"/>
          <a:stretch>
            <a:fillRect/>
          </a:stretch>
        </p:blipFill>
        <p:spPr>
          <a:xfrm rot="1800000">
            <a:off x="5597648" y="11760262"/>
            <a:ext cx="1036478" cy="705046"/>
          </a:xfrm>
          <a:prstGeom prst="rect">
            <a:avLst/>
          </a:prstGeom>
          <a:effectLst>
            <a:outerShdw blurRad="50800" dist="38100" dir="8100000" algn="tr" rotWithShape="0">
              <a:prstClr val="black">
                <a:alpha val="40000"/>
              </a:prstClr>
            </a:outerShdw>
          </a:effectLst>
        </p:spPr>
      </p:pic>
      <p:pic>
        <p:nvPicPr>
          <p:cNvPr id="93" name="Picture 92">
            <a:extLst>
              <a:ext uri="{FF2B5EF4-FFF2-40B4-BE49-F238E27FC236}">
                <a16:creationId xmlns:a16="http://schemas.microsoft.com/office/drawing/2014/main" id="{077F70D6-94F5-44AC-B7B6-B27AD125E9FA}"/>
              </a:ext>
            </a:extLst>
          </p:cNvPr>
          <p:cNvPicPr>
            <a:picLocks noChangeAspect="1"/>
          </p:cNvPicPr>
          <p:nvPr/>
        </p:nvPicPr>
        <p:blipFill>
          <a:blip r:embed="rId20"/>
          <a:stretch>
            <a:fillRect/>
          </a:stretch>
        </p:blipFill>
        <p:spPr>
          <a:xfrm rot="19800000">
            <a:off x="4458273" y="13978308"/>
            <a:ext cx="3771314" cy="2545636"/>
          </a:xfrm>
          <a:prstGeom prst="rect">
            <a:avLst/>
          </a:prstGeom>
          <a:effectLst>
            <a:outerShdw blurRad="50800" dist="38100" dir="8100000" algn="tr" rotWithShape="0">
              <a:prstClr val="black">
                <a:alpha val="40000"/>
              </a:prstClr>
            </a:outerShdw>
          </a:effectLst>
        </p:spPr>
      </p:pic>
      <p:pic>
        <p:nvPicPr>
          <p:cNvPr id="94" name="Picture 93">
            <a:extLst>
              <a:ext uri="{FF2B5EF4-FFF2-40B4-BE49-F238E27FC236}">
                <a16:creationId xmlns:a16="http://schemas.microsoft.com/office/drawing/2014/main" id="{D87AE15C-6914-4016-A530-7F2705B2B6F8}"/>
              </a:ext>
            </a:extLst>
          </p:cNvPr>
          <p:cNvPicPr>
            <a:picLocks noChangeAspect="1"/>
          </p:cNvPicPr>
          <p:nvPr/>
        </p:nvPicPr>
        <p:blipFill>
          <a:blip r:embed="rId18"/>
          <a:stretch>
            <a:fillRect/>
          </a:stretch>
        </p:blipFill>
        <p:spPr>
          <a:xfrm rot="18000000">
            <a:off x="6420982" y="13713268"/>
            <a:ext cx="1245442" cy="1245442"/>
          </a:xfrm>
          <a:prstGeom prst="rect">
            <a:avLst/>
          </a:prstGeom>
        </p:spPr>
      </p:pic>
      <p:pic>
        <p:nvPicPr>
          <p:cNvPr id="95" name="Picture 94">
            <a:extLst>
              <a:ext uri="{FF2B5EF4-FFF2-40B4-BE49-F238E27FC236}">
                <a16:creationId xmlns:a16="http://schemas.microsoft.com/office/drawing/2014/main" id="{88626F20-CF1D-478F-8355-4B8DC99D2440}"/>
              </a:ext>
            </a:extLst>
          </p:cNvPr>
          <p:cNvPicPr>
            <a:picLocks noChangeAspect="1"/>
          </p:cNvPicPr>
          <p:nvPr/>
        </p:nvPicPr>
        <p:blipFill>
          <a:blip r:embed="rId21"/>
          <a:stretch>
            <a:fillRect/>
          </a:stretch>
        </p:blipFill>
        <p:spPr>
          <a:xfrm rot="9900000">
            <a:off x="3953476" y="9377257"/>
            <a:ext cx="1891575" cy="1891575"/>
          </a:xfrm>
          <a:prstGeom prst="rect">
            <a:avLst/>
          </a:prstGeom>
        </p:spPr>
      </p:pic>
      <p:pic>
        <p:nvPicPr>
          <p:cNvPr id="96" name="Picture 95">
            <a:extLst>
              <a:ext uri="{FF2B5EF4-FFF2-40B4-BE49-F238E27FC236}">
                <a16:creationId xmlns:a16="http://schemas.microsoft.com/office/drawing/2014/main" id="{F847CE3A-6B3C-4AB6-B8E4-2E9BCF2534D4}"/>
              </a:ext>
            </a:extLst>
          </p:cNvPr>
          <p:cNvPicPr>
            <a:picLocks noChangeAspect="1"/>
          </p:cNvPicPr>
          <p:nvPr/>
        </p:nvPicPr>
        <p:blipFill>
          <a:blip r:embed="rId22"/>
          <a:stretch>
            <a:fillRect/>
          </a:stretch>
        </p:blipFill>
        <p:spPr>
          <a:xfrm rot="9900000">
            <a:off x="550615" y="11562671"/>
            <a:ext cx="2063398" cy="2063398"/>
          </a:xfrm>
          <a:prstGeom prst="rect">
            <a:avLst/>
          </a:prstGeom>
        </p:spPr>
      </p:pic>
      <p:pic>
        <p:nvPicPr>
          <p:cNvPr id="97" name="Picture 96">
            <a:extLst>
              <a:ext uri="{FF2B5EF4-FFF2-40B4-BE49-F238E27FC236}">
                <a16:creationId xmlns:a16="http://schemas.microsoft.com/office/drawing/2014/main" id="{5C7DF200-AB79-4028-AF79-730CC55E2AE3}"/>
              </a:ext>
            </a:extLst>
          </p:cNvPr>
          <p:cNvPicPr>
            <a:picLocks noChangeAspect="1"/>
          </p:cNvPicPr>
          <p:nvPr/>
        </p:nvPicPr>
        <p:blipFill>
          <a:blip r:embed="rId23"/>
          <a:stretch>
            <a:fillRect/>
          </a:stretch>
        </p:blipFill>
        <p:spPr>
          <a:xfrm rot="9900000">
            <a:off x="3147952" y="8668524"/>
            <a:ext cx="925705" cy="925705"/>
          </a:xfrm>
          <a:prstGeom prst="rect">
            <a:avLst/>
          </a:prstGeom>
        </p:spPr>
      </p:pic>
    </p:spTree>
    <p:extLst>
      <p:ext uri="{BB962C8B-B14F-4D97-AF65-F5344CB8AC3E}">
        <p14:creationId xmlns:p14="http://schemas.microsoft.com/office/powerpoint/2010/main" val="20584351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0">
              <a:schemeClr val="bg1"/>
            </a:gs>
            <a:gs pos="50000">
              <a:srgbClr val="C371EB"/>
            </a:gs>
            <a:gs pos="100000">
              <a:srgbClr val="A577D7"/>
            </a:gs>
          </a:gsLst>
          <a:lin ang="10800000" scaled="1"/>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E8B9359-5B8D-42D8-8D71-381018F24C77}"/>
              </a:ext>
            </a:extLst>
          </p:cNvPr>
          <p:cNvPicPr>
            <a:picLocks noChangeAspect="1"/>
          </p:cNvPicPr>
          <p:nvPr/>
        </p:nvPicPr>
        <p:blipFill rotWithShape="1">
          <a:blip r:embed="rId2"/>
          <a:srcRect l="4818" t="13929" r="11068" b="15870"/>
          <a:stretch/>
        </p:blipFill>
        <p:spPr>
          <a:xfrm>
            <a:off x="0" y="1"/>
            <a:ext cx="12192000" cy="6857999"/>
          </a:xfrm>
          <a:prstGeom prst="rect">
            <a:avLst/>
          </a:prstGeom>
        </p:spPr>
      </p:pic>
      <p:sp>
        <p:nvSpPr>
          <p:cNvPr id="75" name="TextBox 74">
            <a:extLst>
              <a:ext uri="{FF2B5EF4-FFF2-40B4-BE49-F238E27FC236}">
                <a16:creationId xmlns:a16="http://schemas.microsoft.com/office/drawing/2014/main" id="{41B47E12-308B-480D-BB8F-4FB2CD8CED76}"/>
              </a:ext>
            </a:extLst>
          </p:cNvPr>
          <p:cNvSpPr txBox="1"/>
          <p:nvPr/>
        </p:nvSpPr>
        <p:spPr>
          <a:xfrm>
            <a:off x="6024203" y="8996260"/>
            <a:ext cx="7601964" cy="3154710"/>
          </a:xfrm>
          <a:prstGeom prst="rect">
            <a:avLst/>
          </a:prstGeom>
          <a:noFill/>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9900" b="1" i="0" u="none" strike="noStrike" kern="1200" cap="none" spc="0" normalizeH="0" baseline="0" noProof="0" dirty="0">
                <a:ln>
                  <a:noFill/>
                </a:ln>
                <a:solidFill>
                  <a:srgbClr val="A776D9"/>
                </a:solidFill>
                <a:effectLst/>
                <a:uLnTx/>
                <a:uFillTx/>
                <a:latin typeface="Century Gothic" panose="020B0502020202020204" pitchFamily="34" charset="0"/>
                <a:ea typeface="+mn-ea"/>
                <a:cs typeface="+mn-cs"/>
              </a:rPr>
              <a:t>BLUR</a:t>
            </a:r>
            <a:endParaRPr kumimoji="0" lang="en-MY" sz="1800" b="0" i="0" u="none" strike="noStrike" kern="1200" cap="none" spc="0" normalizeH="0" baseline="0" noProof="0" dirty="0">
              <a:ln>
                <a:noFill/>
              </a:ln>
              <a:solidFill>
                <a:srgbClr val="A776D9"/>
              </a:solidFill>
              <a:effectLst/>
              <a:uLnTx/>
              <a:uFillTx/>
              <a:latin typeface="Calibri" panose="020F0502020204030204"/>
              <a:ea typeface="+mn-ea"/>
              <a:cs typeface="+mn-cs"/>
            </a:endParaRPr>
          </a:p>
        </p:txBody>
      </p:sp>
      <p:sp>
        <p:nvSpPr>
          <p:cNvPr id="79" name="TextBox 78">
            <a:extLst>
              <a:ext uri="{FF2B5EF4-FFF2-40B4-BE49-F238E27FC236}">
                <a16:creationId xmlns:a16="http://schemas.microsoft.com/office/drawing/2014/main" id="{79E89506-1CBD-4E16-9F74-6A235509CAFB}"/>
              </a:ext>
            </a:extLst>
          </p:cNvPr>
          <p:cNvSpPr txBox="1"/>
          <p:nvPr/>
        </p:nvSpPr>
        <p:spPr>
          <a:xfrm>
            <a:off x="6122038" y="15895843"/>
            <a:ext cx="7601964" cy="1446550"/>
          </a:xfrm>
          <a:prstGeom prst="rect">
            <a:avLst/>
          </a:prstGeom>
          <a:noFill/>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8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GRADIENT</a:t>
            </a:r>
            <a:endParaRPr kumimoji="0" lang="en-MY"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7" name="Picture 36">
            <a:extLst>
              <a:ext uri="{FF2B5EF4-FFF2-40B4-BE49-F238E27FC236}">
                <a16:creationId xmlns:a16="http://schemas.microsoft.com/office/drawing/2014/main" id="{F4D43D9A-CA01-4EA3-9C34-9479F0A7004D}"/>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33493" t="-192131" r="-3966" b="151980"/>
          <a:stretch/>
        </p:blipFill>
        <p:spPr>
          <a:xfrm>
            <a:off x="4083528" y="-13175513"/>
            <a:ext cx="8592335" cy="9610969"/>
          </a:xfrm>
          <a:prstGeom prst="roundRect">
            <a:avLst>
              <a:gd name="adj" fmla="val 4648"/>
            </a:avLst>
          </a:prstGeom>
          <a:noFill/>
          <a:ln>
            <a:noFill/>
          </a:ln>
          <a:effectLst>
            <a:outerShdw blurRad="635000" dist="215900" dir="7200000" algn="ctr" rotWithShape="0">
              <a:schemeClr val="tx1">
                <a:lumMod val="50000"/>
                <a:lumOff val="50000"/>
                <a:alpha val="43000"/>
              </a:schemeClr>
            </a:outerShdw>
          </a:effectLst>
        </p:spPr>
      </p:pic>
      <p:pic>
        <p:nvPicPr>
          <p:cNvPr id="5" name="Picture 4">
            <a:extLst>
              <a:ext uri="{FF2B5EF4-FFF2-40B4-BE49-F238E27FC236}">
                <a16:creationId xmlns:a16="http://schemas.microsoft.com/office/drawing/2014/main" id="{59EC0469-F0EB-4FA6-A663-0F1171475995}"/>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1110" t="1548" r="91086" b="2540"/>
          <a:stretch/>
        </p:blipFill>
        <p:spPr>
          <a:xfrm>
            <a:off x="135166" y="106342"/>
            <a:ext cx="951535" cy="6577488"/>
          </a:xfrm>
          <a:prstGeom prst="roundRect">
            <a:avLst>
              <a:gd name="adj" fmla="val 33164"/>
            </a:avLst>
          </a:prstGeom>
          <a:noFill/>
          <a:ln>
            <a:noFill/>
          </a:ln>
          <a:effectLst>
            <a:outerShdw blurRad="635000" dist="215900" dir="7200000" algn="ctr" rotWithShape="0">
              <a:schemeClr val="tx1">
                <a:lumMod val="50000"/>
                <a:lumOff val="50000"/>
                <a:alpha val="43000"/>
              </a:schemeClr>
            </a:outerShdw>
          </a:effectLst>
        </p:spPr>
      </p:pic>
      <p:sp>
        <p:nvSpPr>
          <p:cNvPr id="7" name="TextBox 6">
            <a:extLst>
              <a:ext uri="{FF2B5EF4-FFF2-40B4-BE49-F238E27FC236}">
                <a16:creationId xmlns:a16="http://schemas.microsoft.com/office/drawing/2014/main" id="{78290698-34CB-4705-B9AF-BB16F1EA9026}"/>
              </a:ext>
            </a:extLst>
          </p:cNvPr>
          <p:cNvSpPr txBox="1"/>
          <p:nvPr/>
        </p:nvSpPr>
        <p:spPr>
          <a:xfrm>
            <a:off x="-12575020" y="3698513"/>
            <a:ext cx="2984500" cy="184665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hmppt</a:t>
            </a:r>
            <a:r>
              <a:rPr kumimoji="0" lang="en-MY" sz="4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4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8" name="TextBox 7">
            <a:extLst>
              <a:ext uri="{FF2B5EF4-FFF2-40B4-BE49-F238E27FC236}">
                <a16:creationId xmlns:a16="http://schemas.microsoft.com/office/drawing/2014/main" id="{D6DD4C71-14E6-49ED-8568-B7921D041CD4}"/>
              </a:ext>
            </a:extLst>
          </p:cNvPr>
          <p:cNvSpPr txBox="1"/>
          <p:nvPr/>
        </p:nvSpPr>
        <p:spPr>
          <a:xfrm>
            <a:off x="-10409670" y="2973303"/>
            <a:ext cx="2984500"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7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Hello</a:t>
            </a:r>
            <a:r>
              <a:rPr kumimoji="0" lang="en-MY" sz="4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4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pSp>
        <p:nvGrpSpPr>
          <p:cNvPr id="13" name="Group 12">
            <a:extLst>
              <a:ext uri="{FF2B5EF4-FFF2-40B4-BE49-F238E27FC236}">
                <a16:creationId xmlns:a16="http://schemas.microsoft.com/office/drawing/2014/main" id="{E2ED9B0F-37B7-403E-8DA5-4C5F549FC7CB}"/>
              </a:ext>
            </a:extLst>
          </p:cNvPr>
          <p:cNvGrpSpPr/>
          <p:nvPr/>
        </p:nvGrpSpPr>
        <p:grpSpPr>
          <a:xfrm>
            <a:off x="-12218456" y="5753100"/>
            <a:ext cx="1432560" cy="441960"/>
            <a:chOff x="1588770" y="5753100"/>
            <a:chExt cx="1432560" cy="441960"/>
          </a:xfrm>
          <a:effectLst>
            <a:outerShdw blurRad="165100" dist="76200" dir="7200000" algn="t" rotWithShape="0">
              <a:prstClr val="black">
                <a:alpha val="40000"/>
              </a:prstClr>
            </a:outerShdw>
          </a:effectLst>
        </p:grpSpPr>
        <p:sp>
          <p:nvSpPr>
            <p:cNvPr id="6" name="Rectangle: Rounded Corners 5">
              <a:extLst>
                <a:ext uri="{FF2B5EF4-FFF2-40B4-BE49-F238E27FC236}">
                  <a16:creationId xmlns:a16="http://schemas.microsoft.com/office/drawing/2014/main" id="{7A9D66CD-933F-47F2-88AE-8A6390E5BD43}"/>
                </a:ext>
              </a:extLst>
            </p:cNvPr>
            <p:cNvSpPr/>
            <p:nvPr/>
          </p:nvSpPr>
          <p:spPr>
            <a:xfrm>
              <a:off x="1588770" y="5753100"/>
              <a:ext cx="1432560" cy="44196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12" name="TextBox 11">
              <a:extLst>
                <a:ext uri="{FF2B5EF4-FFF2-40B4-BE49-F238E27FC236}">
                  <a16:creationId xmlns:a16="http://schemas.microsoft.com/office/drawing/2014/main" id="{F43E55E4-DB0F-4412-9DAE-8E90604C281D}"/>
                </a:ext>
              </a:extLst>
            </p:cNvPr>
            <p:cNvSpPr txBox="1"/>
            <p:nvPr/>
          </p:nvSpPr>
          <p:spPr>
            <a:xfrm>
              <a:off x="1978025" y="5789414"/>
              <a:ext cx="7493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rPr>
                <a:t>Start</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9" name="TextBox 18">
            <a:extLst>
              <a:ext uri="{FF2B5EF4-FFF2-40B4-BE49-F238E27FC236}">
                <a16:creationId xmlns:a16="http://schemas.microsoft.com/office/drawing/2014/main" id="{E56AD6B4-1375-43DF-89AE-B8D7781E3496}"/>
              </a:ext>
            </a:extLst>
          </p:cNvPr>
          <p:cNvSpPr txBox="1"/>
          <p:nvPr/>
        </p:nvSpPr>
        <p:spPr>
          <a:xfrm>
            <a:off x="-11108792" y="4792813"/>
            <a:ext cx="2775137"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4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with custom layouts animation and many more…</a:t>
            </a:r>
          </a:p>
        </p:txBody>
      </p:sp>
      <p:sp>
        <p:nvSpPr>
          <p:cNvPr id="43" name="TextBox 42">
            <a:extLst>
              <a:ext uri="{FF2B5EF4-FFF2-40B4-BE49-F238E27FC236}">
                <a16:creationId xmlns:a16="http://schemas.microsoft.com/office/drawing/2014/main" id="{EEBFCA88-B9B7-4337-B1DE-E458FB10229A}"/>
              </a:ext>
            </a:extLst>
          </p:cNvPr>
          <p:cNvSpPr txBox="1"/>
          <p:nvPr/>
        </p:nvSpPr>
        <p:spPr>
          <a:xfrm>
            <a:off x="7741816" y="-17966407"/>
            <a:ext cx="2557110" cy="15081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Gla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4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42" name="TextBox 41">
            <a:extLst>
              <a:ext uri="{FF2B5EF4-FFF2-40B4-BE49-F238E27FC236}">
                <a16:creationId xmlns:a16="http://schemas.microsoft.com/office/drawing/2014/main" id="{55394D7A-694C-49E5-90AE-A77F4B795C99}"/>
              </a:ext>
            </a:extLst>
          </p:cNvPr>
          <p:cNvSpPr txBox="1"/>
          <p:nvPr/>
        </p:nvSpPr>
        <p:spPr>
          <a:xfrm>
            <a:off x="4237438" y="-16894215"/>
            <a:ext cx="449025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Build</a:t>
            </a:r>
          </a:p>
        </p:txBody>
      </p:sp>
      <p:sp>
        <p:nvSpPr>
          <p:cNvPr id="56" name="TextBox 55">
            <a:extLst>
              <a:ext uri="{FF2B5EF4-FFF2-40B4-BE49-F238E27FC236}">
                <a16:creationId xmlns:a16="http://schemas.microsoft.com/office/drawing/2014/main" id="{AE6A9755-4FAA-4021-8896-F5C28FD4AD62}"/>
              </a:ext>
            </a:extLst>
          </p:cNvPr>
          <p:cNvSpPr txBox="1"/>
          <p:nvPr/>
        </p:nvSpPr>
        <p:spPr>
          <a:xfrm>
            <a:off x="-10409670" y="278483"/>
            <a:ext cx="2660009"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4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About me                 </a:t>
            </a:r>
            <a:r>
              <a:rPr kumimoji="0" lang="en-MY" sz="44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 . .</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TextBox 57">
            <a:extLst>
              <a:ext uri="{FF2B5EF4-FFF2-40B4-BE49-F238E27FC236}">
                <a16:creationId xmlns:a16="http://schemas.microsoft.com/office/drawing/2014/main" id="{CBE1F75E-37B9-426A-BCDF-AF68B0DB20CB}"/>
              </a:ext>
            </a:extLst>
          </p:cNvPr>
          <p:cNvSpPr txBox="1"/>
          <p:nvPr/>
        </p:nvSpPr>
        <p:spPr>
          <a:xfrm>
            <a:off x="8406071" y="-17020662"/>
            <a:ext cx="255711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morphism</a:t>
            </a:r>
            <a:endParaRPr kumimoji="0" lang="en-MY" sz="18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11946AE7-72A0-456F-881A-6887EEC193B8}"/>
              </a:ext>
            </a:extLst>
          </p:cNvPr>
          <p:cNvSpPr txBox="1"/>
          <p:nvPr/>
        </p:nvSpPr>
        <p:spPr>
          <a:xfrm>
            <a:off x="7299536" y="-17961658"/>
            <a:ext cx="69056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prstClr val="white">
                    <a:lumMod val="65000"/>
                  </a:prstClr>
                </a:solidFill>
                <a:effectLst/>
                <a:uLnTx/>
                <a:uFillTx/>
                <a:latin typeface="Century Gothic" panose="020B0502020202020204" pitchFamily="34" charset="0"/>
                <a:ea typeface="+mn-ea"/>
                <a:cs typeface="+mn-cs"/>
              </a:rPr>
              <a:t>The</a:t>
            </a:r>
            <a:endParaRPr kumimoji="0" lang="en-MY" sz="18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endParaRPr>
          </a:p>
        </p:txBody>
      </p:sp>
      <p:pic>
        <p:nvPicPr>
          <p:cNvPr id="61" name="Picture 60">
            <a:extLst>
              <a:ext uri="{FF2B5EF4-FFF2-40B4-BE49-F238E27FC236}">
                <a16:creationId xmlns:a16="http://schemas.microsoft.com/office/drawing/2014/main" id="{5BA86A40-18CE-42EC-AD81-4A05821D684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70880" y="-3999321"/>
            <a:ext cx="572825" cy="572825"/>
          </a:xfrm>
          <a:prstGeom prst="rect">
            <a:avLst/>
          </a:prstGeom>
        </p:spPr>
      </p:pic>
      <p:pic>
        <p:nvPicPr>
          <p:cNvPr id="62" name="Picture 61">
            <a:extLst>
              <a:ext uri="{FF2B5EF4-FFF2-40B4-BE49-F238E27FC236}">
                <a16:creationId xmlns:a16="http://schemas.microsoft.com/office/drawing/2014/main" id="{27F6497D-FBF1-4A61-9AF2-233D868A4BE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35351" y="-4685067"/>
            <a:ext cx="560011" cy="560011"/>
          </a:xfrm>
          <a:prstGeom prst="rect">
            <a:avLst/>
          </a:prstGeom>
        </p:spPr>
      </p:pic>
      <p:pic>
        <p:nvPicPr>
          <p:cNvPr id="63" name="Picture 62">
            <a:extLst>
              <a:ext uri="{FF2B5EF4-FFF2-40B4-BE49-F238E27FC236}">
                <a16:creationId xmlns:a16="http://schemas.microsoft.com/office/drawing/2014/main" id="{FBA2EC96-D5AD-4E50-84C2-BAAA425994E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89410" y="-5378279"/>
            <a:ext cx="590146" cy="590146"/>
          </a:xfrm>
          <a:prstGeom prst="rect">
            <a:avLst/>
          </a:prstGeom>
        </p:spPr>
      </p:pic>
      <p:pic>
        <p:nvPicPr>
          <p:cNvPr id="64" name="Picture 63">
            <a:extLst>
              <a:ext uri="{FF2B5EF4-FFF2-40B4-BE49-F238E27FC236}">
                <a16:creationId xmlns:a16="http://schemas.microsoft.com/office/drawing/2014/main" id="{0740FCD6-A340-462C-9E89-C3A2768FD5A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37438" y="-6063431"/>
            <a:ext cx="590146" cy="590146"/>
          </a:xfrm>
          <a:prstGeom prst="rect">
            <a:avLst/>
          </a:prstGeom>
        </p:spPr>
      </p:pic>
      <p:pic>
        <p:nvPicPr>
          <p:cNvPr id="68" name="Picture 67" descr="Icon&#10;&#10;Description automatically generated">
            <a:extLst>
              <a:ext uri="{FF2B5EF4-FFF2-40B4-BE49-F238E27FC236}">
                <a16:creationId xmlns:a16="http://schemas.microsoft.com/office/drawing/2014/main" id="{0F4F5DAE-E464-4F62-B350-87111A82A25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7100000">
            <a:off x="7916487" y="-7410221"/>
            <a:ext cx="2465296" cy="2465296"/>
          </a:xfrm>
          <a:prstGeom prst="rect">
            <a:avLst/>
          </a:prstGeom>
        </p:spPr>
      </p:pic>
      <p:sp>
        <p:nvSpPr>
          <p:cNvPr id="51" name="TextBox 50">
            <a:extLst>
              <a:ext uri="{FF2B5EF4-FFF2-40B4-BE49-F238E27FC236}">
                <a16:creationId xmlns:a16="http://schemas.microsoft.com/office/drawing/2014/main" id="{70DF611E-DC74-418B-B17F-81AD39CC02F1}"/>
              </a:ext>
            </a:extLst>
          </p:cNvPr>
          <p:cNvSpPr txBox="1"/>
          <p:nvPr/>
        </p:nvSpPr>
        <p:spPr>
          <a:xfrm>
            <a:off x="4275514" y="-7408646"/>
            <a:ext cx="3024021"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Lately I really like to do this glass look. Matching modern UI look..</a:t>
            </a:r>
          </a:p>
        </p:txBody>
      </p:sp>
      <p:sp>
        <p:nvSpPr>
          <p:cNvPr id="54" name="TextBox 53">
            <a:extLst>
              <a:ext uri="{FF2B5EF4-FFF2-40B4-BE49-F238E27FC236}">
                <a16:creationId xmlns:a16="http://schemas.microsoft.com/office/drawing/2014/main" id="{29B54383-2597-40B9-B80A-9986488CEA4A}"/>
              </a:ext>
            </a:extLst>
          </p:cNvPr>
          <p:cNvSpPr txBox="1"/>
          <p:nvPr/>
        </p:nvSpPr>
        <p:spPr>
          <a:xfrm rot="5400000">
            <a:off x="-394831" y="2307600"/>
            <a:ext cx="205617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800" b="1" i="0" u="none" strike="noStrike" kern="1200" cap="none" spc="0" normalizeH="0" baseline="0" noProof="0" dirty="0">
                <a:ln>
                  <a:noFill/>
                </a:ln>
                <a:solidFill>
                  <a:srgbClr val="A776D9"/>
                </a:solidFill>
                <a:effectLst/>
                <a:uLnTx/>
                <a:uFillTx/>
                <a:latin typeface="Century Gothic" panose="020B0502020202020204" pitchFamily="34" charset="0"/>
                <a:ea typeface="+mn-ea"/>
                <a:cs typeface="+mn-cs"/>
              </a:rPr>
              <a:t>Relax. </a:t>
            </a:r>
          </a:p>
        </p:txBody>
      </p:sp>
      <p:sp>
        <p:nvSpPr>
          <p:cNvPr id="59" name="TextBox 58">
            <a:extLst>
              <a:ext uri="{FF2B5EF4-FFF2-40B4-BE49-F238E27FC236}">
                <a16:creationId xmlns:a16="http://schemas.microsoft.com/office/drawing/2014/main" id="{4D2A0DD2-DB95-49AB-A250-70AF9BA15D04}"/>
              </a:ext>
            </a:extLst>
          </p:cNvPr>
          <p:cNvSpPr txBox="1"/>
          <p:nvPr/>
        </p:nvSpPr>
        <p:spPr>
          <a:xfrm>
            <a:off x="4236215" y="-13173867"/>
            <a:ext cx="3527584"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R</a:t>
            </a:r>
            <a:r>
              <a:rPr kumimoji="0" lang="en-MY" sz="6000" b="1" i="0" u="none" strike="noStrike" kern="1200" cap="none" spc="0" normalizeH="0" baseline="0" noProof="0" dirty="0" err="1">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ecords</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TextBox 64">
            <a:extLst>
              <a:ext uri="{FF2B5EF4-FFF2-40B4-BE49-F238E27FC236}">
                <a16:creationId xmlns:a16="http://schemas.microsoft.com/office/drawing/2014/main" id="{1E583B80-6FD4-4009-A8F6-2A7A9C0687E9}"/>
              </a:ext>
            </a:extLst>
          </p:cNvPr>
          <p:cNvSpPr txBox="1"/>
          <p:nvPr/>
        </p:nvSpPr>
        <p:spPr>
          <a:xfrm>
            <a:off x="4275515" y="-10462313"/>
            <a:ext cx="4497809"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6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more easily </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Rectangle: Rounded Corners 52">
            <a:extLst>
              <a:ext uri="{FF2B5EF4-FFF2-40B4-BE49-F238E27FC236}">
                <a16:creationId xmlns:a16="http://schemas.microsoft.com/office/drawing/2014/main" id="{FFB135C8-D5F0-49A8-A0F9-48F7E92A346F}"/>
              </a:ext>
            </a:extLst>
          </p:cNvPr>
          <p:cNvSpPr/>
          <p:nvPr/>
        </p:nvSpPr>
        <p:spPr>
          <a:xfrm>
            <a:off x="8107260" y="-20615547"/>
            <a:ext cx="678657" cy="73695"/>
          </a:xfrm>
          <a:prstGeom prst="roundRect">
            <a:avLst>
              <a:gd name="adj" fmla="val 50000"/>
            </a:avLst>
          </a:prstGeom>
          <a:solidFill>
            <a:srgbClr val="A776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6" name="oppo">
            <a:extLst>
              <a:ext uri="{FF2B5EF4-FFF2-40B4-BE49-F238E27FC236}">
                <a16:creationId xmlns:a16="http://schemas.microsoft.com/office/drawing/2014/main" id="{B346AF4A-3381-4BD7-9BDB-7032FEB6E9EA}"/>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65664" t="6551" r="14868" b="6987"/>
          <a:stretch/>
        </p:blipFill>
        <p:spPr>
          <a:xfrm>
            <a:off x="7993273" y="377318"/>
            <a:ext cx="2435336" cy="6082834"/>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pic>
        <p:nvPicPr>
          <p:cNvPr id="45" name="samsung">
            <a:extLst>
              <a:ext uri="{FF2B5EF4-FFF2-40B4-BE49-F238E27FC236}">
                <a16:creationId xmlns:a16="http://schemas.microsoft.com/office/drawing/2014/main" id="{B361528D-29D6-42DE-BA45-22F10A33F8B0}"/>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42898" t="5498" r="37057" b="5802"/>
          <a:stretch/>
        </p:blipFill>
        <p:spPr>
          <a:xfrm>
            <a:off x="5229792" y="377317"/>
            <a:ext cx="2444400" cy="6082835"/>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pic>
        <p:nvPicPr>
          <p:cNvPr id="71" name="Picture 70">
            <a:extLst>
              <a:ext uri="{FF2B5EF4-FFF2-40B4-BE49-F238E27FC236}">
                <a16:creationId xmlns:a16="http://schemas.microsoft.com/office/drawing/2014/main" id="{75CF27DD-3E20-45B8-A828-9CE14A072F53}"/>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Blur radius="100"/>
                    </a14:imgEffect>
                    <a14:imgEffect>
                      <a14:brightnessContrast contrast="40000"/>
                    </a14:imgEffect>
                  </a14:imgLayer>
                </a14:imgProps>
              </a:ext>
            </a:extLst>
          </a:blip>
          <a:srcRect l="20120" t="5497" r="59828" b="5802"/>
          <a:stretch/>
        </p:blipFill>
        <p:spPr>
          <a:xfrm>
            <a:off x="2452241" y="377317"/>
            <a:ext cx="2445074" cy="6082836"/>
          </a:xfrm>
          <a:prstGeom prst="roundRect">
            <a:avLst>
              <a:gd name="adj" fmla="val 12318"/>
            </a:avLst>
          </a:prstGeom>
          <a:noFill/>
          <a:ln>
            <a:noFill/>
          </a:ln>
          <a:effectLst>
            <a:outerShdw blurRad="635000" dist="215900" dir="7200000" algn="ctr" rotWithShape="0">
              <a:schemeClr val="tx1">
                <a:lumMod val="50000"/>
                <a:lumOff val="50000"/>
                <a:alpha val="43000"/>
              </a:schemeClr>
            </a:outerShdw>
          </a:effectLst>
        </p:spPr>
      </p:pic>
      <p:sp>
        <p:nvSpPr>
          <p:cNvPr id="67" name="TextBox 66">
            <a:extLst>
              <a:ext uri="{FF2B5EF4-FFF2-40B4-BE49-F238E27FC236}">
                <a16:creationId xmlns:a16="http://schemas.microsoft.com/office/drawing/2014/main" id="{6949D7E2-6FF0-4F2A-A0CC-32AF305940B8}"/>
              </a:ext>
            </a:extLst>
          </p:cNvPr>
          <p:cNvSpPr txBox="1"/>
          <p:nvPr/>
        </p:nvSpPr>
        <p:spPr>
          <a:xfrm>
            <a:off x="5257119" y="4377658"/>
            <a:ext cx="2184559"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4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MySQL</a:t>
            </a:r>
            <a:endParaRPr kumimoji="0" lang="en-MY"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TextBox 68">
            <a:extLst>
              <a:ext uri="{FF2B5EF4-FFF2-40B4-BE49-F238E27FC236}">
                <a16:creationId xmlns:a16="http://schemas.microsoft.com/office/drawing/2014/main" id="{CF847EF9-1789-4C48-99AE-3A58281E6F8C}"/>
              </a:ext>
            </a:extLst>
          </p:cNvPr>
          <p:cNvSpPr txBox="1"/>
          <p:nvPr/>
        </p:nvSpPr>
        <p:spPr>
          <a:xfrm>
            <a:off x="5288797" y="4910216"/>
            <a:ext cx="2244515"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Database Driver</a:t>
            </a:r>
            <a:endParaRPr kumimoji="0" lang="en-MY" sz="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TextBox 69">
            <a:extLst>
              <a:ext uri="{FF2B5EF4-FFF2-40B4-BE49-F238E27FC236}">
                <a16:creationId xmlns:a16="http://schemas.microsoft.com/office/drawing/2014/main" id="{9A079DBA-C4FC-43E7-B4DB-B9BF2C6715EE}"/>
              </a:ext>
            </a:extLst>
          </p:cNvPr>
          <p:cNvSpPr txBox="1"/>
          <p:nvPr/>
        </p:nvSpPr>
        <p:spPr>
          <a:xfrm>
            <a:off x="5264932" y="5228153"/>
            <a:ext cx="2294642"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MysSQL</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is a database driver for storing the data and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ru</a:t>
            </a:r>
            <a:r>
              <a:rPr lang="en-MY" sz="1100" dirty="0">
                <a:solidFill>
                  <a:prstClr val="black">
                    <a:lumMod val="50000"/>
                    <a:lumOff val="50000"/>
                  </a:prstClr>
                </a:solidFill>
                <a:latin typeface="Calibri Light" panose="020F0302020204030204"/>
              </a:rPr>
              <a:t>n on web-server.</a:t>
            </a:r>
            <a:endPar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endParaRPr>
          </a:p>
        </p:txBody>
      </p:sp>
      <p:sp>
        <p:nvSpPr>
          <p:cNvPr id="72" name="TextBox 71">
            <a:extLst>
              <a:ext uri="{FF2B5EF4-FFF2-40B4-BE49-F238E27FC236}">
                <a16:creationId xmlns:a16="http://schemas.microsoft.com/office/drawing/2014/main" id="{722DC1A7-94D5-4F66-B387-D765AFC82A68}"/>
              </a:ext>
            </a:extLst>
          </p:cNvPr>
          <p:cNvSpPr txBox="1"/>
          <p:nvPr/>
        </p:nvSpPr>
        <p:spPr>
          <a:xfrm>
            <a:off x="7988741" y="4474851"/>
            <a:ext cx="2444400"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MY" sz="3300" b="1" dirty="0" err="1">
                <a:solidFill>
                  <a:prstClr val="black">
                    <a:lumMod val="75000"/>
                    <a:lumOff val="25000"/>
                  </a:prstClr>
                </a:solidFill>
                <a:effectLst>
                  <a:outerShdw blurRad="50800" dist="38100" dir="5400000" algn="t" rotWithShape="0">
                    <a:prstClr val="black">
                      <a:alpha val="40000"/>
                    </a:prstClr>
                  </a:outerShdw>
                </a:effectLst>
                <a:latin typeface="Century Gothic" panose="020B0502020202020204" pitchFamily="34" charset="0"/>
              </a:rPr>
              <a:t>Tailwindcss</a:t>
            </a:r>
            <a:endParaRPr kumimoji="0" lang="en-MY" sz="3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TextBox 72">
            <a:extLst>
              <a:ext uri="{FF2B5EF4-FFF2-40B4-BE49-F238E27FC236}">
                <a16:creationId xmlns:a16="http://schemas.microsoft.com/office/drawing/2014/main" id="{B21CF52B-E9F7-45B2-A896-9E8A7852CA7B}"/>
              </a:ext>
            </a:extLst>
          </p:cNvPr>
          <p:cNvSpPr txBox="1"/>
          <p:nvPr/>
        </p:nvSpPr>
        <p:spPr>
          <a:xfrm>
            <a:off x="8041257" y="4925605"/>
            <a:ext cx="263447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CSS Utility</a:t>
            </a:r>
            <a:endParaRPr kumimoji="0" lang="en-MY"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TextBox 73">
            <a:extLst>
              <a:ext uri="{FF2B5EF4-FFF2-40B4-BE49-F238E27FC236}">
                <a16:creationId xmlns:a16="http://schemas.microsoft.com/office/drawing/2014/main" id="{349DD8A8-CE49-4389-9560-82F5328D35D9}"/>
              </a:ext>
            </a:extLst>
          </p:cNvPr>
          <p:cNvSpPr txBox="1"/>
          <p:nvPr/>
        </p:nvSpPr>
        <p:spPr>
          <a:xfrm>
            <a:off x="8063620" y="5229045"/>
            <a:ext cx="2294642"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Tailwindcss</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is a </a:t>
            </a:r>
            <a:r>
              <a:rPr kumimoji="0" lang="en-MY" sz="1100" b="0" i="0" u="none" strike="noStrike" kern="1200" cap="none" spc="0" normalizeH="0" baseline="0" noProof="0" dirty="0" err="1">
                <a:ln>
                  <a:noFill/>
                </a:ln>
                <a:solidFill>
                  <a:prstClr val="black">
                    <a:lumMod val="50000"/>
                    <a:lumOff val="50000"/>
                  </a:prstClr>
                </a:solidFill>
                <a:effectLst/>
                <a:uLnTx/>
                <a:uFillTx/>
                <a:latin typeface="Calibri Light" panose="020F0302020204030204"/>
                <a:ea typeface="+mn-ea"/>
                <a:cs typeface="+mn-cs"/>
              </a:rPr>
              <a:t>css</a:t>
            </a:r>
            <a:r>
              <a:rPr kumimoji="0" lang="en-MY"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utility framework which has so many classes and attribute to make designing easy.</a:t>
            </a:r>
          </a:p>
        </p:txBody>
      </p:sp>
      <p:grpSp>
        <p:nvGrpSpPr>
          <p:cNvPr id="83" name="Group 82">
            <a:extLst>
              <a:ext uri="{FF2B5EF4-FFF2-40B4-BE49-F238E27FC236}">
                <a16:creationId xmlns:a16="http://schemas.microsoft.com/office/drawing/2014/main" id="{D4531BAF-8C94-4D9A-9C18-9C68761E7D75}"/>
              </a:ext>
            </a:extLst>
          </p:cNvPr>
          <p:cNvGrpSpPr/>
          <p:nvPr/>
        </p:nvGrpSpPr>
        <p:grpSpPr>
          <a:xfrm>
            <a:off x="5504255" y="5990204"/>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84" name="Rectangle: Rounded Corners 83">
              <a:extLst>
                <a:ext uri="{FF2B5EF4-FFF2-40B4-BE49-F238E27FC236}">
                  <a16:creationId xmlns:a16="http://schemas.microsoft.com/office/drawing/2014/main" id="{440C12BD-E605-43AF-8A3E-DED7A83F41F6}"/>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85" name="TextBox 84">
              <a:extLst>
                <a:ext uri="{FF2B5EF4-FFF2-40B4-BE49-F238E27FC236}">
                  <a16:creationId xmlns:a16="http://schemas.microsoft.com/office/drawing/2014/main" id="{308E08D7-0733-4FFF-AFF5-57A21B159451}"/>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86" name="Group 85">
            <a:extLst>
              <a:ext uri="{FF2B5EF4-FFF2-40B4-BE49-F238E27FC236}">
                <a16:creationId xmlns:a16="http://schemas.microsoft.com/office/drawing/2014/main" id="{1902AA37-DF08-4C67-8A1E-7261EA62742F}"/>
              </a:ext>
            </a:extLst>
          </p:cNvPr>
          <p:cNvGrpSpPr/>
          <p:nvPr/>
        </p:nvGrpSpPr>
        <p:grpSpPr>
          <a:xfrm>
            <a:off x="8263204" y="5990204"/>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87" name="Rectangle: Rounded Corners 86">
              <a:extLst>
                <a:ext uri="{FF2B5EF4-FFF2-40B4-BE49-F238E27FC236}">
                  <a16:creationId xmlns:a16="http://schemas.microsoft.com/office/drawing/2014/main" id="{A366AE2D-371B-4717-9F22-845F46BA1426}"/>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88" name="TextBox 87">
              <a:extLst>
                <a:ext uri="{FF2B5EF4-FFF2-40B4-BE49-F238E27FC236}">
                  <a16:creationId xmlns:a16="http://schemas.microsoft.com/office/drawing/2014/main" id="{5EC4DBBD-84FD-413F-BB9A-B226CC352BD5}"/>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50" name="TextBox 49">
            <a:extLst>
              <a:ext uri="{FF2B5EF4-FFF2-40B4-BE49-F238E27FC236}">
                <a16:creationId xmlns:a16="http://schemas.microsoft.com/office/drawing/2014/main" id="{4AE84F63-2E09-4BA3-8452-32B260CAF7FB}"/>
              </a:ext>
            </a:extLst>
          </p:cNvPr>
          <p:cNvSpPr txBox="1"/>
          <p:nvPr/>
        </p:nvSpPr>
        <p:spPr>
          <a:xfrm>
            <a:off x="2532617" y="4463940"/>
            <a:ext cx="2184559"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36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Laravel </a:t>
            </a:r>
            <a:endParaRPr kumimoji="0" lang="en-MY"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TextBox 51">
            <a:extLst>
              <a:ext uri="{FF2B5EF4-FFF2-40B4-BE49-F238E27FC236}">
                <a16:creationId xmlns:a16="http://schemas.microsoft.com/office/drawing/2014/main" id="{E5BDFD78-2F93-4419-9F7B-845A4431D4BB}"/>
              </a:ext>
            </a:extLst>
          </p:cNvPr>
          <p:cNvSpPr txBox="1"/>
          <p:nvPr/>
        </p:nvSpPr>
        <p:spPr>
          <a:xfrm>
            <a:off x="2548452" y="4915456"/>
            <a:ext cx="2240671"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2000" b="1" i="0" u="none" strike="noStrike" kern="1200" cap="none" spc="0" normalizeH="0" baseline="0" noProof="0" dirty="0">
                <a:ln>
                  <a:noFill/>
                </a:ln>
                <a:solidFill>
                  <a:prstClr val="black">
                    <a:lumMod val="75000"/>
                    <a:lumOff val="25000"/>
                  </a:prstClr>
                </a:solidFill>
                <a:effectLst>
                  <a:outerShdw blurRad="50800" dist="38100" dir="5400000" algn="t" rotWithShape="0">
                    <a:prstClr val="black">
                      <a:alpha val="40000"/>
                    </a:prstClr>
                  </a:outerShdw>
                </a:effectLst>
                <a:uLnTx/>
                <a:uFillTx/>
                <a:latin typeface="Century Gothic" panose="020B0502020202020204" pitchFamily="34" charset="0"/>
                <a:ea typeface="+mn-ea"/>
                <a:cs typeface="+mn-cs"/>
              </a:rPr>
              <a:t>PHP Framework</a:t>
            </a:r>
            <a:endParaRPr kumimoji="0" lang="en-MY" sz="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TextBox 65">
            <a:extLst>
              <a:ext uri="{FF2B5EF4-FFF2-40B4-BE49-F238E27FC236}">
                <a16:creationId xmlns:a16="http://schemas.microsoft.com/office/drawing/2014/main" id="{0576673A-6031-4FAF-9899-FD6B6CF3F52D}"/>
              </a:ext>
            </a:extLst>
          </p:cNvPr>
          <p:cNvSpPr txBox="1"/>
          <p:nvPr/>
        </p:nvSpPr>
        <p:spPr>
          <a:xfrm>
            <a:off x="2527458" y="5232864"/>
            <a:ext cx="2095058"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Laravel is a PHP based backend framework. It based on MVC.</a:t>
            </a:r>
          </a:p>
        </p:txBody>
      </p:sp>
      <p:grpSp>
        <p:nvGrpSpPr>
          <p:cNvPr id="80" name="Group 79">
            <a:extLst>
              <a:ext uri="{FF2B5EF4-FFF2-40B4-BE49-F238E27FC236}">
                <a16:creationId xmlns:a16="http://schemas.microsoft.com/office/drawing/2014/main" id="{DEE947F0-A076-48AA-BC32-D455DE7B36BA}"/>
              </a:ext>
            </a:extLst>
          </p:cNvPr>
          <p:cNvGrpSpPr/>
          <p:nvPr/>
        </p:nvGrpSpPr>
        <p:grpSpPr>
          <a:xfrm>
            <a:off x="2727041" y="5968775"/>
            <a:ext cx="1895474" cy="335864"/>
            <a:chOff x="1647263" y="5753100"/>
            <a:chExt cx="1703376" cy="441960"/>
          </a:xfrm>
          <a:gradFill>
            <a:gsLst>
              <a:gs pos="0">
                <a:srgbClr val="C570EC"/>
              </a:gs>
              <a:gs pos="50000">
                <a:srgbClr val="C371EB"/>
              </a:gs>
              <a:gs pos="100000">
                <a:srgbClr val="A577D7"/>
              </a:gs>
            </a:gsLst>
            <a:lin ang="10800000" scaled="1"/>
          </a:gradFill>
          <a:effectLst/>
        </p:grpSpPr>
        <p:sp>
          <p:nvSpPr>
            <p:cNvPr id="81" name="Rectangle: Rounded Corners 80">
              <a:extLst>
                <a:ext uri="{FF2B5EF4-FFF2-40B4-BE49-F238E27FC236}">
                  <a16:creationId xmlns:a16="http://schemas.microsoft.com/office/drawing/2014/main" id="{0274C5AA-9F89-4B8A-81E7-CD0CF52CDCB7}"/>
                </a:ext>
              </a:extLst>
            </p:cNvPr>
            <p:cNvSpPr/>
            <p:nvPr/>
          </p:nvSpPr>
          <p:spPr>
            <a:xfrm>
              <a:off x="1647263" y="5753100"/>
              <a:ext cx="1703376" cy="441960"/>
            </a:xfrm>
            <a:prstGeom prst="roundRect">
              <a:avLst>
                <a:gd name="adj" fmla="val 41492"/>
              </a:avLst>
            </a:prstGeom>
            <a:solidFill>
              <a:srgbClr val="4B4A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
          <p:nvSpPr>
            <p:cNvPr id="82" name="TextBox 81">
              <a:extLst>
                <a:ext uri="{FF2B5EF4-FFF2-40B4-BE49-F238E27FC236}">
                  <a16:creationId xmlns:a16="http://schemas.microsoft.com/office/drawing/2014/main" id="{593FA130-E895-471C-9534-7A2041ABB43B}"/>
                </a:ext>
              </a:extLst>
            </p:cNvPr>
            <p:cNvSpPr txBox="1"/>
            <p:nvPr/>
          </p:nvSpPr>
          <p:spPr>
            <a:xfrm>
              <a:off x="2242265" y="5793400"/>
              <a:ext cx="529706" cy="3645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ore</a:t>
              </a:r>
              <a:endParaRPr kumimoji="0" lang="en-MY"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93" name="Rectangle: Rounded Corners 92">
            <a:extLst>
              <a:ext uri="{FF2B5EF4-FFF2-40B4-BE49-F238E27FC236}">
                <a16:creationId xmlns:a16="http://schemas.microsoft.com/office/drawing/2014/main" id="{17F12720-6762-45C2-B94D-35A720133112}"/>
              </a:ext>
            </a:extLst>
          </p:cNvPr>
          <p:cNvSpPr/>
          <p:nvPr/>
        </p:nvSpPr>
        <p:spPr>
          <a:xfrm>
            <a:off x="8728681" y="465992"/>
            <a:ext cx="964520" cy="94179"/>
          </a:xfrm>
          <a:prstGeom prst="roundRect">
            <a:avLst>
              <a:gd name="adj" fmla="val 50000"/>
            </a:avLst>
          </a:prstGeom>
          <a:solidFill>
            <a:srgbClr val="B499EB"/>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Rectangle: Rounded Corners 93">
            <a:extLst>
              <a:ext uri="{FF2B5EF4-FFF2-40B4-BE49-F238E27FC236}">
                <a16:creationId xmlns:a16="http://schemas.microsoft.com/office/drawing/2014/main" id="{34630F59-9129-4383-B5FB-032087DCEC36}"/>
              </a:ext>
            </a:extLst>
          </p:cNvPr>
          <p:cNvSpPr/>
          <p:nvPr/>
        </p:nvSpPr>
        <p:spPr>
          <a:xfrm>
            <a:off x="5969732" y="468908"/>
            <a:ext cx="964520" cy="94179"/>
          </a:xfrm>
          <a:prstGeom prst="roundRect">
            <a:avLst>
              <a:gd name="adj" fmla="val 50000"/>
            </a:avLst>
          </a:prstGeom>
          <a:solidFill>
            <a:srgbClr val="CA9DF5"/>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Rectangle: Rounded Corners 94">
            <a:extLst>
              <a:ext uri="{FF2B5EF4-FFF2-40B4-BE49-F238E27FC236}">
                <a16:creationId xmlns:a16="http://schemas.microsoft.com/office/drawing/2014/main" id="{3ADBE372-F0C1-45A2-81D9-EB621E963F7B}"/>
              </a:ext>
            </a:extLst>
          </p:cNvPr>
          <p:cNvSpPr/>
          <p:nvPr/>
        </p:nvSpPr>
        <p:spPr>
          <a:xfrm>
            <a:off x="3192518" y="473616"/>
            <a:ext cx="964520" cy="94179"/>
          </a:xfrm>
          <a:prstGeom prst="roundRect">
            <a:avLst>
              <a:gd name="adj" fmla="val 50000"/>
            </a:avLst>
          </a:prstGeom>
          <a:solidFill>
            <a:srgbClr val="CA9DF5"/>
          </a:solidFill>
          <a:ln>
            <a:noFill/>
          </a:ln>
          <a:effectLst>
            <a:outerShdw blurRad="50800" dist="38100" dir="5400000" algn="ctr" rotWithShape="0">
              <a:schemeClr val="tx1">
                <a:lumMod val="50000"/>
                <a:lumOff val="50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 name="Picture 28">
            <a:extLst>
              <a:ext uri="{FF2B5EF4-FFF2-40B4-BE49-F238E27FC236}">
                <a16:creationId xmlns:a16="http://schemas.microsoft.com/office/drawing/2014/main" id="{AF9F9A33-2BB3-4D07-92A8-53BD666EB60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924428">
            <a:off x="7990098" y="1434355"/>
            <a:ext cx="3310844" cy="2672115"/>
          </a:xfrm>
          <a:prstGeom prst="rect">
            <a:avLst/>
          </a:prstGeom>
        </p:spPr>
      </p:pic>
      <p:pic>
        <p:nvPicPr>
          <p:cNvPr id="27" name="Picture 26">
            <a:extLst>
              <a:ext uri="{FF2B5EF4-FFF2-40B4-BE49-F238E27FC236}">
                <a16:creationId xmlns:a16="http://schemas.microsoft.com/office/drawing/2014/main" id="{C346F3FA-722A-4C2B-A0BD-468AA10D0B0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8055278" y="1853460"/>
            <a:ext cx="2450839" cy="1497734"/>
          </a:xfrm>
          <a:prstGeom prst="rect">
            <a:avLst/>
          </a:prstGeom>
        </p:spPr>
      </p:pic>
      <p:pic>
        <p:nvPicPr>
          <p:cNvPr id="104" name="Picture 103">
            <a:extLst>
              <a:ext uri="{FF2B5EF4-FFF2-40B4-BE49-F238E27FC236}">
                <a16:creationId xmlns:a16="http://schemas.microsoft.com/office/drawing/2014/main" id="{670918A6-9276-4A05-9DA1-8F2D3F9B2727}"/>
              </a:ext>
            </a:extLst>
          </p:cNvPr>
          <p:cNvPicPr>
            <a:picLocks noChangeAspect="1"/>
          </p:cNvPicPr>
          <p:nvPr/>
        </p:nvPicPr>
        <p:blipFill>
          <a:blip r:embed="rId13"/>
          <a:stretch>
            <a:fillRect/>
          </a:stretch>
        </p:blipFill>
        <p:spPr>
          <a:xfrm rot="19733165" flipH="1">
            <a:off x="5387952" y="719948"/>
            <a:ext cx="832518" cy="832518"/>
          </a:xfrm>
          <a:prstGeom prst="rect">
            <a:avLst/>
          </a:prstGeom>
        </p:spPr>
      </p:pic>
      <p:sp>
        <p:nvSpPr>
          <p:cNvPr id="108" name="Freeform: Shape 107">
            <a:extLst>
              <a:ext uri="{FF2B5EF4-FFF2-40B4-BE49-F238E27FC236}">
                <a16:creationId xmlns:a16="http://schemas.microsoft.com/office/drawing/2014/main" id="{FE044538-E8D8-4CC0-B54E-B8952C2B12A3}"/>
              </a:ext>
            </a:extLst>
          </p:cNvPr>
          <p:cNvSpPr/>
          <p:nvPr/>
        </p:nvSpPr>
        <p:spPr>
          <a:xfrm rot="20700000">
            <a:off x="2007522" y="841391"/>
            <a:ext cx="2546439" cy="4398090"/>
          </a:xfrm>
          <a:custGeom>
            <a:avLst/>
            <a:gdLst>
              <a:gd name="connsiteX0" fmla="*/ 2298694 w 2462684"/>
              <a:gd name="connsiteY0" fmla="*/ 4048436 h 4051070"/>
              <a:gd name="connsiteX1" fmla="*/ 2251069 w 2462684"/>
              <a:gd name="connsiteY1" fmla="*/ 3248336 h 4051070"/>
              <a:gd name="connsiteX2" fmla="*/ 1231894 w 2462684"/>
              <a:gd name="connsiteY2" fmla="*/ 2876861 h 4051070"/>
              <a:gd name="connsiteX3" fmla="*/ 822319 w 2462684"/>
              <a:gd name="connsiteY3" fmla="*/ 1914836 h 4051070"/>
              <a:gd name="connsiteX4" fmla="*/ 136519 w 2462684"/>
              <a:gd name="connsiteY4" fmla="*/ 1057586 h 4051070"/>
              <a:gd name="connsiteX5" fmla="*/ 22219 w 2462684"/>
              <a:gd name="connsiteY5" fmla="*/ 419411 h 4051070"/>
              <a:gd name="connsiteX6" fmla="*/ 431794 w 2462684"/>
              <a:gd name="connsiteY6" fmla="*/ 9836 h 4051070"/>
              <a:gd name="connsiteX7" fmla="*/ 1212844 w 2462684"/>
              <a:gd name="connsiteY7" fmla="*/ 828986 h 4051070"/>
              <a:gd name="connsiteX8" fmla="*/ 1460494 w 2462684"/>
              <a:gd name="connsiteY8" fmla="*/ 1933886 h 4051070"/>
              <a:gd name="connsiteX9" fmla="*/ 1536694 w 2462684"/>
              <a:gd name="connsiteY9" fmla="*/ 2543486 h 4051070"/>
              <a:gd name="connsiteX10" fmla="*/ 2422519 w 2462684"/>
              <a:gd name="connsiteY10" fmla="*/ 2953061 h 4051070"/>
              <a:gd name="connsiteX11" fmla="*/ 2298694 w 2462684"/>
              <a:gd name="connsiteY11" fmla="*/ 4048436 h 405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62684" h="4051070">
                <a:moveTo>
                  <a:pt x="2298694" y="4048436"/>
                </a:moveTo>
                <a:cubicBezTo>
                  <a:pt x="2270119" y="4097649"/>
                  <a:pt x="2428869" y="3443598"/>
                  <a:pt x="2251069" y="3248336"/>
                </a:cubicBezTo>
                <a:cubicBezTo>
                  <a:pt x="2073269" y="3053074"/>
                  <a:pt x="1470019" y="3099111"/>
                  <a:pt x="1231894" y="2876861"/>
                </a:cubicBezTo>
                <a:cubicBezTo>
                  <a:pt x="993769" y="2654611"/>
                  <a:pt x="1004881" y="2218048"/>
                  <a:pt x="822319" y="1914836"/>
                </a:cubicBezTo>
                <a:cubicBezTo>
                  <a:pt x="639757" y="1611624"/>
                  <a:pt x="269869" y="1306823"/>
                  <a:pt x="136519" y="1057586"/>
                </a:cubicBezTo>
                <a:cubicBezTo>
                  <a:pt x="3169" y="808349"/>
                  <a:pt x="-26994" y="594036"/>
                  <a:pt x="22219" y="419411"/>
                </a:cubicBezTo>
                <a:cubicBezTo>
                  <a:pt x="71431" y="244786"/>
                  <a:pt x="233357" y="-58426"/>
                  <a:pt x="431794" y="9836"/>
                </a:cubicBezTo>
                <a:cubicBezTo>
                  <a:pt x="630231" y="78098"/>
                  <a:pt x="1041394" y="508311"/>
                  <a:pt x="1212844" y="828986"/>
                </a:cubicBezTo>
                <a:cubicBezTo>
                  <a:pt x="1384294" y="1149661"/>
                  <a:pt x="1406519" y="1648136"/>
                  <a:pt x="1460494" y="1933886"/>
                </a:cubicBezTo>
                <a:cubicBezTo>
                  <a:pt x="1514469" y="2219636"/>
                  <a:pt x="1376357" y="2373624"/>
                  <a:pt x="1536694" y="2543486"/>
                </a:cubicBezTo>
                <a:cubicBezTo>
                  <a:pt x="1697031" y="2713348"/>
                  <a:pt x="2292344" y="2703823"/>
                  <a:pt x="2422519" y="2953061"/>
                </a:cubicBezTo>
                <a:cubicBezTo>
                  <a:pt x="2552694" y="3202298"/>
                  <a:pt x="2327269" y="3999223"/>
                  <a:pt x="2298694" y="4048436"/>
                </a:cubicBezTo>
                <a:close/>
              </a:path>
            </a:pathLst>
          </a:custGeom>
          <a:gradFill flip="none" rotWithShape="1">
            <a:gsLst>
              <a:gs pos="0">
                <a:srgbClr val="F5736A"/>
              </a:gs>
              <a:gs pos="50000">
                <a:srgbClr val="FF9C5A"/>
              </a:gs>
              <a:gs pos="100000">
                <a:srgbClr val="FFCF38"/>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Freeform: Shape 109">
            <a:extLst>
              <a:ext uri="{FF2B5EF4-FFF2-40B4-BE49-F238E27FC236}">
                <a16:creationId xmlns:a16="http://schemas.microsoft.com/office/drawing/2014/main" id="{C4D704E5-9BEF-45F4-B0B8-8EE183968BE0}"/>
              </a:ext>
            </a:extLst>
          </p:cNvPr>
          <p:cNvSpPr/>
          <p:nvPr/>
        </p:nvSpPr>
        <p:spPr>
          <a:xfrm rot="225839">
            <a:off x="5558764" y="783867"/>
            <a:ext cx="1999863" cy="3675326"/>
          </a:xfrm>
          <a:custGeom>
            <a:avLst/>
            <a:gdLst>
              <a:gd name="connsiteX0" fmla="*/ 590747 w 1999863"/>
              <a:gd name="connsiteY0" fmla="*/ 3569683 h 3675326"/>
              <a:gd name="connsiteX1" fmla="*/ 197 w 1999863"/>
              <a:gd name="connsiteY1" fmla="*/ 2931508 h 3675326"/>
              <a:gd name="connsiteX2" fmla="*/ 524072 w 1999863"/>
              <a:gd name="connsiteY2" fmla="*/ 2007583 h 3675326"/>
              <a:gd name="connsiteX3" fmla="*/ 447872 w 1999863"/>
              <a:gd name="connsiteY3" fmla="*/ 1321783 h 3675326"/>
              <a:gd name="connsiteX4" fmla="*/ 1286072 w 1999863"/>
              <a:gd name="connsiteY4" fmla="*/ 7333 h 3675326"/>
              <a:gd name="connsiteX5" fmla="*/ 1924247 w 1999863"/>
              <a:gd name="connsiteY5" fmla="*/ 893158 h 3675326"/>
              <a:gd name="connsiteX6" fmla="*/ 1943297 w 1999863"/>
              <a:gd name="connsiteY6" fmla="*/ 2979133 h 3675326"/>
              <a:gd name="connsiteX7" fmla="*/ 1524197 w 1999863"/>
              <a:gd name="connsiteY7" fmla="*/ 3617308 h 3675326"/>
              <a:gd name="connsiteX8" fmla="*/ 590747 w 1999863"/>
              <a:gd name="connsiteY8" fmla="*/ 3569683 h 3675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9863" h="3675326">
                <a:moveTo>
                  <a:pt x="590747" y="3569683"/>
                </a:moveTo>
                <a:cubicBezTo>
                  <a:pt x="336747" y="3455383"/>
                  <a:pt x="11309" y="3191858"/>
                  <a:pt x="197" y="2931508"/>
                </a:cubicBezTo>
                <a:cubicBezTo>
                  <a:pt x="-10915" y="2671158"/>
                  <a:pt x="449459" y="2275871"/>
                  <a:pt x="524072" y="2007583"/>
                </a:cubicBezTo>
                <a:cubicBezTo>
                  <a:pt x="598685" y="1739295"/>
                  <a:pt x="320872" y="1655158"/>
                  <a:pt x="447872" y="1321783"/>
                </a:cubicBezTo>
                <a:cubicBezTo>
                  <a:pt x="574872" y="988408"/>
                  <a:pt x="1040010" y="78770"/>
                  <a:pt x="1286072" y="7333"/>
                </a:cubicBezTo>
                <a:cubicBezTo>
                  <a:pt x="1532135" y="-64105"/>
                  <a:pt x="1814710" y="397858"/>
                  <a:pt x="1924247" y="893158"/>
                </a:cubicBezTo>
                <a:cubicBezTo>
                  <a:pt x="2033784" y="1388458"/>
                  <a:pt x="2009972" y="2525108"/>
                  <a:pt x="1943297" y="2979133"/>
                </a:cubicBezTo>
                <a:cubicBezTo>
                  <a:pt x="1876622" y="3433158"/>
                  <a:pt x="1752797" y="3520470"/>
                  <a:pt x="1524197" y="3617308"/>
                </a:cubicBezTo>
                <a:cubicBezTo>
                  <a:pt x="1295597" y="3714146"/>
                  <a:pt x="844747" y="3683983"/>
                  <a:pt x="590747" y="3569683"/>
                </a:cubicBezTo>
                <a:close/>
              </a:path>
            </a:pathLst>
          </a:custGeom>
          <a:gradFill flip="none" rotWithShape="1">
            <a:gsLst>
              <a:gs pos="0">
                <a:srgbClr val="C8A7F1"/>
              </a:gs>
              <a:gs pos="35000">
                <a:srgbClr val="C7ACF1"/>
              </a:gs>
              <a:gs pos="100000">
                <a:srgbClr val="D99FC6"/>
              </a:gs>
            </a:gsLst>
            <a:path path="circle">
              <a:fillToRect l="50000" t="-80000" r="50000" b="18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6" name="Picture 35">
            <a:extLst>
              <a:ext uri="{FF2B5EF4-FFF2-40B4-BE49-F238E27FC236}">
                <a16:creationId xmlns:a16="http://schemas.microsoft.com/office/drawing/2014/main" id="{E48A735C-6406-43F1-A57C-64F3141639C4}"/>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rot="1427628">
            <a:off x="5735324" y="1490395"/>
            <a:ext cx="1823403" cy="1823403"/>
          </a:xfrm>
          <a:prstGeom prst="rect">
            <a:avLst/>
          </a:prstGeom>
          <a:effectLst>
            <a:outerShdw blurRad="50800" dist="38100" dir="8100000" algn="tr" rotWithShape="0">
              <a:prstClr val="black">
                <a:alpha val="40000"/>
              </a:prstClr>
            </a:outerShdw>
          </a:effectLst>
        </p:spPr>
      </p:pic>
      <p:pic>
        <p:nvPicPr>
          <p:cNvPr id="33" name="Picture 32">
            <a:extLst>
              <a:ext uri="{FF2B5EF4-FFF2-40B4-BE49-F238E27FC236}">
                <a16:creationId xmlns:a16="http://schemas.microsoft.com/office/drawing/2014/main" id="{3E17733C-4F88-4C3B-A4EC-91D09014AAD4}"/>
              </a:ext>
            </a:extLst>
          </p:cNvPr>
          <p:cNvPicPr>
            <a:picLocks noChangeAspect="1"/>
          </p:cNvPicPr>
          <p:nvPr/>
        </p:nvPicPr>
        <p:blipFill>
          <a:blip r:embed="rId13"/>
          <a:stretch>
            <a:fillRect/>
          </a:stretch>
        </p:blipFill>
        <p:spPr>
          <a:xfrm rot="1044862">
            <a:off x="6420984" y="3393700"/>
            <a:ext cx="1245442" cy="1245442"/>
          </a:xfrm>
          <a:prstGeom prst="rect">
            <a:avLst/>
          </a:prstGeom>
        </p:spPr>
      </p:pic>
      <p:sp>
        <p:nvSpPr>
          <p:cNvPr id="112" name="Rectangle: Rounded Corners 111">
            <a:extLst>
              <a:ext uri="{FF2B5EF4-FFF2-40B4-BE49-F238E27FC236}">
                <a16:creationId xmlns:a16="http://schemas.microsoft.com/office/drawing/2014/main" id="{E23BAAC4-8054-4F35-9F15-A815F1A05132}"/>
              </a:ext>
            </a:extLst>
          </p:cNvPr>
          <p:cNvSpPr/>
          <p:nvPr/>
        </p:nvSpPr>
        <p:spPr>
          <a:xfrm>
            <a:off x="359404" y="4350975"/>
            <a:ext cx="471367" cy="449125"/>
          </a:xfrm>
          <a:prstGeom prst="roundRect">
            <a:avLst>
              <a:gd name="adj" fmla="val 50000"/>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Rectangle: Rounded Corners 112">
            <a:extLst>
              <a:ext uri="{FF2B5EF4-FFF2-40B4-BE49-F238E27FC236}">
                <a16:creationId xmlns:a16="http://schemas.microsoft.com/office/drawing/2014/main" id="{089C133F-FC53-4196-A648-EBC70B672CC1}"/>
              </a:ext>
            </a:extLst>
          </p:cNvPr>
          <p:cNvSpPr/>
          <p:nvPr/>
        </p:nvSpPr>
        <p:spPr>
          <a:xfrm>
            <a:off x="359404" y="5016004"/>
            <a:ext cx="471367" cy="449125"/>
          </a:xfrm>
          <a:prstGeom prst="roundRect">
            <a:avLst>
              <a:gd name="adj" fmla="val 50000"/>
            </a:avLst>
          </a:prstGeom>
          <a:solidFill>
            <a:srgbClr val="E7D6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Rectangle: Rounded Corners 113">
            <a:extLst>
              <a:ext uri="{FF2B5EF4-FFF2-40B4-BE49-F238E27FC236}">
                <a16:creationId xmlns:a16="http://schemas.microsoft.com/office/drawing/2014/main" id="{DCC282A2-C224-4775-A850-BED7A03FBAF5}"/>
              </a:ext>
            </a:extLst>
          </p:cNvPr>
          <p:cNvSpPr/>
          <p:nvPr/>
        </p:nvSpPr>
        <p:spPr>
          <a:xfrm>
            <a:off x="355523" y="5659932"/>
            <a:ext cx="471367" cy="797983"/>
          </a:xfrm>
          <a:prstGeom prst="roundRect">
            <a:avLst>
              <a:gd name="adj" fmla="val 34094"/>
            </a:avLst>
          </a:prstGeom>
          <a:solidFill>
            <a:srgbClr val="A776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5" name="Graphic 114" descr="Home with solid fill">
            <a:extLst>
              <a:ext uri="{FF2B5EF4-FFF2-40B4-BE49-F238E27FC236}">
                <a16:creationId xmlns:a16="http://schemas.microsoft.com/office/drawing/2014/main" id="{75BE31BD-D8B3-479E-8E39-A104CDA6FE0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30962" y="6053701"/>
            <a:ext cx="320489" cy="320489"/>
          </a:xfrm>
          <a:prstGeom prst="rect">
            <a:avLst/>
          </a:prstGeom>
        </p:spPr>
      </p:pic>
      <p:pic>
        <p:nvPicPr>
          <p:cNvPr id="116" name="Graphic 115" descr="Caret Up with solid fill">
            <a:extLst>
              <a:ext uri="{FF2B5EF4-FFF2-40B4-BE49-F238E27FC236}">
                <a16:creationId xmlns:a16="http://schemas.microsoft.com/office/drawing/2014/main" id="{70BAFC51-902A-4E7D-B2C3-2CB0B32889D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98917" y="4371480"/>
            <a:ext cx="392341" cy="392341"/>
          </a:xfrm>
          <a:prstGeom prst="rect">
            <a:avLst/>
          </a:prstGeom>
        </p:spPr>
      </p:pic>
      <p:pic>
        <p:nvPicPr>
          <p:cNvPr id="117" name="Graphic 116" descr="Caret Up with solid fill">
            <a:extLst>
              <a:ext uri="{FF2B5EF4-FFF2-40B4-BE49-F238E27FC236}">
                <a16:creationId xmlns:a16="http://schemas.microsoft.com/office/drawing/2014/main" id="{D08D556C-ABC4-4606-B93C-2D6E2ECA01A2}"/>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flipV="1">
            <a:off x="398917" y="5055300"/>
            <a:ext cx="392341" cy="392341"/>
          </a:xfrm>
          <a:prstGeom prst="rect">
            <a:avLst/>
          </a:prstGeom>
        </p:spPr>
      </p:pic>
      <p:pic>
        <p:nvPicPr>
          <p:cNvPr id="78" name="Picture 77">
            <a:extLst>
              <a:ext uri="{FF2B5EF4-FFF2-40B4-BE49-F238E27FC236}">
                <a16:creationId xmlns:a16="http://schemas.microsoft.com/office/drawing/2014/main" id="{E1F13F60-5EA2-4167-80BE-C378C44D76F7}"/>
              </a:ext>
            </a:extLst>
          </p:cNvPr>
          <p:cNvPicPr>
            <a:picLocks noChangeAspect="1"/>
          </p:cNvPicPr>
          <p:nvPr/>
        </p:nvPicPr>
        <p:blipFill>
          <a:blip r:embed="rId19">
            <a:extLst>
              <a:ext uri="{28A0092B-C50C-407E-A947-70E740481C1C}">
                <a14:useLocalDpi xmlns:a14="http://schemas.microsoft.com/office/drawing/2010/main" val="0"/>
              </a:ext>
            </a:extLst>
          </a:blip>
          <a:srcRect/>
          <a:stretch/>
        </p:blipFill>
        <p:spPr>
          <a:xfrm rot="20700000">
            <a:off x="2641407" y="1430369"/>
            <a:ext cx="2099885" cy="2091074"/>
          </a:xfrm>
          <a:prstGeom prst="rect">
            <a:avLst/>
          </a:prstGeom>
        </p:spPr>
      </p:pic>
    </p:spTree>
    <p:extLst>
      <p:ext uri="{BB962C8B-B14F-4D97-AF65-F5344CB8AC3E}">
        <p14:creationId xmlns:p14="http://schemas.microsoft.com/office/powerpoint/2010/main" val="17996147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4E9794B-24A2-4FC3-90CA-DABDED4FD0CD}"/>
              </a:ext>
            </a:extLst>
          </p:cNvPr>
          <p:cNvSpPr txBox="1"/>
          <p:nvPr/>
        </p:nvSpPr>
        <p:spPr>
          <a:xfrm>
            <a:off x="4556695" y="931442"/>
            <a:ext cx="4766048" cy="3693319"/>
          </a:xfrm>
          <a:prstGeom prst="rect">
            <a:avLst/>
          </a:prstGeom>
          <a:noFill/>
        </p:spPr>
        <p:txBody>
          <a:bodyPr wrap="none" rtlCol="0">
            <a:spAutoFit/>
          </a:bodyPr>
          <a:lstStyle/>
          <a:p>
            <a:r>
              <a:rPr lang="en-MY" sz="9600" b="1" dirty="0">
                <a:solidFill>
                  <a:schemeClr val="bg1"/>
                </a:solidFill>
                <a:latin typeface="Century Gothic" panose="020B0502020202020204" pitchFamily="34" charset="0"/>
              </a:rPr>
              <a:t>Queries</a:t>
            </a:r>
          </a:p>
          <a:p>
            <a:endParaRPr lang="en-MY" sz="13800" b="1" dirty="0">
              <a:solidFill>
                <a:schemeClr val="bg1"/>
              </a:solidFill>
              <a:latin typeface="Century Gothic" panose="020B0502020202020204" pitchFamily="34" charset="0"/>
            </a:endParaRPr>
          </a:p>
        </p:txBody>
      </p:sp>
      <p:sp>
        <p:nvSpPr>
          <p:cNvPr id="3" name="TextBox 2">
            <a:extLst>
              <a:ext uri="{FF2B5EF4-FFF2-40B4-BE49-F238E27FC236}">
                <a16:creationId xmlns:a16="http://schemas.microsoft.com/office/drawing/2014/main" id="{75605782-AB2A-451C-A902-7380508B8752}"/>
              </a:ext>
            </a:extLst>
          </p:cNvPr>
          <p:cNvSpPr txBox="1"/>
          <p:nvPr/>
        </p:nvSpPr>
        <p:spPr>
          <a:xfrm>
            <a:off x="4868601" y="3021875"/>
            <a:ext cx="6117770" cy="1631216"/>
          </a:xfrm>
          <a:prstGeom prst="rect">
            <a:avLst/>
          </a:prstGeom>
          <a:noFill/>
        </p:spPr>
        <p:txBody>
          <a:bodyPr wrap="square">
            <a:spAutoFit/>
          </a:bodyPr>
          <a:lstStyle/>
          <a:p>
            <a:pPr algn="just"/>
            <a:r>
              <a:rPr lang="en-MY" sz="2000" dirty="0">
                <a:solidFill>
                  <a:schemeClr val="accent3">
                    <a:lumMod val="50000"/>
                  </a:schemeClr>
                </a:solidFill>
              </a:rPr>
              <a:t>Lorem ipsum </a:t>
            </a:r>
            <a:r>
              <a:rPr lang="en-MY" sz="2000" dirty="0" err="1">
                <a:solidFill>
                  <a:schemeClr val="accent3">
                    <a:lumMod val="50000"/>
                  </a:schemeClr>
                </a:solidFill>
              </a:rPr>
              <a:t>dolor</a:t>
            </a:r>
            <a:r>
              <a:rPr lang="en-MY" sz="2000" dirty="0">
                <a:solidFill>
                  <a:schemeClr val="accent3">
                    <a:lumMod val="50000"/>
                  </a:schemeClr>
                </a:solidFill>
              </a:rPr>
              <a:t> sit </a:t>
            </a:r>
            <a:r>
              <a:rPr lang="en-MY" sz="2000" dirty="0" err="1">
                <a:solidFill>
                  <a:schemeClr val="accent3">
                    <a:lumMod val="50000"/>
                  </a:schemeClr>
                </a:solidFill>
              </a:rPr>
              <a:t>amet</a:t>
            </a:r>
            <a:r>
              <a:rPr lang="en-MY" sz="2000" dirty="0">
                <a:solidFill>
                  <a:schemeClr val="accent3">
                    <a:lumMod val="50000"/>
                  </a:schemeClr>
                </a:solidFill>
              </a:rPr>
              <a:t>, </a:t>
            </a:r>
            <a:r>
              <a:rPr lang="en-MY" sz="2000" dirty="0" err="1">
                <a:solidFill>
                  <a:schemeClr val="accent3">
                    <a:lumMod val="50000"/>
                  </a:schemeClr>
                </a:solidFill>
              </a:rPr>
              <a:t>consectetur</a:t>
            </a:r>
            <a:r>
              <a:rPr lang="en-MY" sz="2000" dirty="0">
                <a:solidFill>
                  <a:schemeClr val="accent3">
                    <a:lumMod val="50000"/>
                  </a:schemeClr>
                </a:solidFill>
              </a:rPr>
              <a:t> </a:t>
            </a:r>
            <a:r>
              <a:rPr lang="en-MY" sz="2000" dirty="0" err="1">
                <a:solidFill>
                  <a:schemeClr val="accent3">
                    <a:lumMod val="50000"/>
                  </a:schemeClr>
                </a:solidFill>
              </a:rPr>
              <a:t>adipiscing</a:t>
            </a:r>
            <a:r>
              <a:rPr lang="en-MY" sz="2000" dirty="0">
                <a:solidFill>
                  <a:schemeClr val="accent3">
                    <a:lumMod val="50000"/>
                  </a:schemeClr>
                </a:solidFill>
              </a:rPr>
              <a:t> </a:t>
            </a:r>
            <a:r>
              <a:rPr lang="en-MY" sz="2000" dirty="0" err="1">
                <a:solidFill>
                  <a:schemeClr val="accent3">
                    <a:lumMod val="50000"/>
                  </a:schemeClr>
                </a:solidFill>
              </a:rPr>
              <a:t>elit</a:t>
            </a:r>
            <a:r>
              <a:rPr lang="en-MY" sz="2000" dirty="0">
                <a:solidFill>
                  <a:schemeClr val="accent3">
                    <a:lumMod val="50000"/>
                  </a:schemeClr>
                </a:solidFill>
              </a:rPr>
              <a:t>, </a:t>
            </a:r>
            <a:r>
              <a:rPr lang="en-MY" sz="2000" dirty="0" err="1">
                <a:solidFill>
                  <a:schemeClr val="accent3">
                    <a:lumMod val="50000"/>
                  </a:schemeClr>
                </a:solidFill>
              </a:rPr>
              <a:t>sed</a:t>
            </a:r>
            <a:r>
              <a:rPr lang="en-MY" sz="2000" dirty="0">
                <a:solidFill>
                  <a:schemeClr val="accent3">
                    <a:lumMod val="50000"/>
                  </a:schemeClr>
                </a:solidFill>
              </a:rPr>
              <a:t> do </a:t>
            </a:r>
            <a:r>
              <a:rPr lang="en-MY" sz="2000" dirty="0" err="1">
                <a:solidFill>
                  <a:schemeClr val="accent3">
                    <a:lumMod val="50000"/>
                  </a:schemeClr>
                </a:solidFill>
              </a:rPr>
              <a:t>eiusmod</a:t>
            </a:r>
            <a:r>
              <a:rPr lang="en-MY" sz="2000" dirty="0">
                <a:solidFill>
                  <a:schemeClr val="accent3">
                    <a:lumMod val="50000"/>
                  </a:schemeClr>
                </a:solidFill>
              </a:rPr>
              <a:t> </a:t>
            </a:r>
            <a:r>
              <a:rPr lang="en-MY" sz="2000" dirty="0" err="1">
                <a:solidFill>
                  <a:schemeClr val="accent3">
                    <a:lumMod val="50000"/>
                  </a:schemeClr>
                </a:solidFill>
                <a:latin typeface="Century" panose="02040604050505020304" pitchFamily="18" charset="0"/>
              </a:rPr>
              <a:t>tempor</a:t>
            </a:r>
            <a:r>
              <a:rPr lang="en-MY" sz="2000" dirty="0">
                <a:solidFill>
                  <a:schemeClr val="accent3">
                    <a:lumMod val="50000"/>
                  </a:schemeClr>
                </a:solidFill>
              </a:rPr>
              <a:t> </a:t>
            </a:r>
            <a:r>
              <a:rPr lang="en-MY" sz="2000" dirty="0" err="1">
                <a:solidFill>
                  <a:schemeClr val="accent3">
                    <a:lumMod val="50000"/>
                  </a:schemeClr>
                </a:solidFill>
              </a:rPr>
              <a:t>incididunt</a:t>
            </a:r>
            <a:r>
              <a:rPr lang="en-MY" sz="2000" dirty="0">
                <a:solidFill>
                  <a:schemeClr val="accent3">
                    <a:lumMod val="50000"/>
                  </a:schemeClr>
                </a:solidFill>
              </a:rPr>
              <a:t> </a:t>
            </a:r>
            <a:r>
              <a:rPr lang="en-MY" sz="2000" dirty="0" err="1">
                <a:solidFill>
                  <a:schemeClr val="accent3">
                    <a:lumMod val="50000"/>
                  </a:schemeClr>
                </a:solidFill>
              </a:rPr>
              <a:t>ut</a:t>
            </a:r>
            <a:r>
              <a:rPr lang="en-MY" sz="2000" dirty="0">
                <a:solidFill>
                  <a:schemeClr val="accent3">
                    <a:lumMod val="50000"/>
                  </a:schemeClr>
                </a:solidFill>
              </a:rPr>
              <a:t> labore et dolore magna </a:t>
            </a:r>
            <a:r>
              <a:rPr lang="en-MY" sz="2000" dirty="0" err="1">
                <a:solidFill>
                  <a:schemeClr val="accent3">
                    <a:lumMod val="50000"/>
                  </a:schemeClr>
                </a:solidFill>
              </a:rPr>
              <a:t>aliqua</a:t>
            </a:r>
            <a:r>
              <a:rPr lang="en-MY" sz="2000" dirty="0">
                <a:solidFill>
                  <a:schemeClr val="accent3">
                    <a:lumMod val="50000"/>
                  </a:schemeClr>
                </a:solidFill>
              </a:rPr>
              <a:t>. Ut </a:t>
            </a:r>
            <a:r>
              <a:rPr lang="en-MY" sz="2000" dirty="0" err="1">
                <a:solidFill>
                  <a:schemeClr val="accent3">
                    <a:lumMod val="50000"/>
                  </a:schemeClr>
                </a:solidFill>
              </a:rPr>
              <a:t>enim</a:t>
            </a:r>
            <a:r>
              <a:rPr lang="en-MY" sz="2000" dirty="0">
                <a:solidFill>
                  <a:schemeClr val="accent3">
                    <a:lumMod val="50000"/>
                  </a:schemeClr>
                </a:solidFill>
              </a:rPr>
              <a:t> ad minim </a:t>
            </a:r>
            <a:r>
              <a:rPr lang="en-MY" sz="2000" dirty="0" err="1">
                <a:solidFill>
                  <a:schemeClr val="accent3">
                    <a:lumMod val="50000"/>
                  </a:schemeClr>
                </a:solidFill>
              </a:rPr>
              <a:t>veniam</a:t>
            </a:r>
            <a:r>
              <a:rPr lang="en-MY" sz="2000" dirty="0">
                <a:solidFill>
                  <a:schemeClr val="accent3">
                    <a:lumMod val="50000"/>
                  </a:schemeClr>
                </a:solidFill>
              </a:rPr>
              <a:t>, </a:t>
            </a:r>
            <a:r>
              <a:rPr lang="en-MY" sz="2000" dirty="0" err="1">
                <a:solidFill>
                  <a:schemeClr val="accent3">
                    <a:lumMod val="50000"/>
                  </a:schemeClr>
                </a:solidFill>
              </a:rPr>
              <a:t>quis</a:t>
            </a:r>
            <a:r>
              <a:rPr lang="en-MY" sz="2000" dirty="0">
                <a:solidFill>
                  <a:schemeClr val="accent3">
                    <a:lumMod val="50000"/>
                  </a:schemeClr>
                </a:solidFill>
              </a:rPr>
              <a:t> </a:t>
            </a:r>
            <a:r>
              <a:rPr lang="en-MY" sz="2000" dirty="0" err="1">
                <a:solidFill>
                  <a:schemeClr val="accent3">
                    <a:lumMod val="50000"/>
                  </a:schemeClr>
                </a:solidFill>
              </a:rPr>
              <a:t>nostrud</a:t>
            </a:r>
            <a:r>
              <a:rPr lang="en-MY" sz="2000" dirty="0">
                <a:solidFill>
                  <a:schemeClr val="accent3">
                    <a:lumMod val="50000"/>
                  </a:schemeClr>
                </a:solidFill>
              </a:rPr>
              <a:t> exercitation </a:t>
            </a:r>
            <a:r>
              <a:rPr lang="en-MY" sz="2000" dirty="0" err="1">
                <a:solidFill>
                  <a:schemeClr val="accent3">
                    <a:lumMod val="50000"/>
                  </a:schemeClr>
                </a:solidFill>
              </a:rPr>
              <a:t>ullamco</a:t>
            </a:r>
            <a:r>
              <a:rPr lang="en-MY" sz="2000" dirty="0">
                <a:solidFill>
                  <a:schemeClr val="accent3">
                    <a:lumMod val="50000"/>
                  </a:schemeClr>
                </a:solidFill>
              </a:rPr>
              <a:t> </a:t>
            </a:r>
            <a:r>
              <a:rPr lang="en-MY" sz="2000" dirty="0" err="1">
                <a:solidFill>
                  <a:schemeClr val="accent3">
                    <a:lumMod val="50000"/>
                  </a:schemeClr>
                </a:solidFill>
              </a:rPr>
              <a:t>laboris</a:t>
            </a:r>
            <a:r>
              <a:rPr lang="en-MY" sz="2000" dirty="0">
                <a:solidFill>
                  <a:schemeClr val="accent3">
                    <a:lumMod val="50000"/>
                  </a:schemeClr>
                </a:solidFill>
              </a:rPr>
              <a:t> nisi </a:t>
            </a:r>
            <a:r>
              <a:rPr lang="en-MY" sz="2000" dirty="0" err="1">
                <a:solidFill>
                  <a:schemeClr val="accent3">
                    <a:lumMod val="50000"/>
                  </a:schemeClr>
                </a:solidFill>
              </a:rPr>
              <a:t>ut</a:t>
            </a:r>
            <a:r>
              <a:rPr lang="en-MY" sz="2000" dirty="0">
                <a:solidFill>
                  <a:schemeClr val="accent3">
                    <a:lumMod val="50000"/>
                  </a:schemeClr>
                </a:solidFill>
              </a:rPr>
              <a:t> </a:t>
            </a:r>
            <a:r>
              <a:rPr lang="en-MY" sz="2000" dirty="0" err="1">
                <a:solidFill>
                  <a:schemeClr val="accent3">
                    <a:lumMod val="50000"/>
                  </a:schemeClr>
                </a:solidFill>
              </a:rPr>
              <a:t>aliquip</a:t>
            </a:r>
            <a:r>
              <a:rPr lang="en-MY" sz="2000" dirty="0">
                <a:solidFill>
                  <a:schemeClr val="accent3">
                    <a:lumMod val="50000"/>
                  </a:schemeClr>
                </a:solidFill>
              </a:rPr>
              <a:t> ex </a:t>
            </a:r>
            <a:r>
              <a:rPr lang="en-MY" sz="2000" dirty="0" err="1">
                <a:solidFill>
                  <a:schemeClr val="accent3">
                    <a:lumMod val="50000"/>
                  </a:schemeClr>
                </a:solidFill>
              </a:rPr>
              <a:t>ea</a:t>
            </a:r>
            <a:r>
              <a:rPr lang="en-MY" sz="2000" dirty="0">
                <a:solidFill>
                  <a:schemeClr val="accent3">
                    <a:lumMod val="50000"/>
                  </a:schemeClr>
                </a:solidFill>
              </a:rPr>
              <a:t> </a:t>
            </a:r>
            <a:r>
              <a:rPr lang="en-MY" sz="2000" dirty="0" err="1">
                <a:solidFill>
                  <a:schemeClr val="accent3">
                    <a:lumMod val="50000"/>
                  </a:schemeClr>
                </a:solidFill>
              </a:rPr>
              <a:t>commodo</a:t>
            </a:r>
            <a:r>
              <a:rPr lang="en-MY" sz="2000" dirty="0">
                <a:solidFill>
                  <a:schemeClr val="accent3">
                    <a:lumMod val="50000"/>
                  </a:schemeClr>
                </a:solidFill>
              </a:rPr>
              <a:t> </a:t>
            </a:r>
            <a:r>
              <a:rPr lang="en-MY" sz="2000" dirty="0" err="1">
                <a:solidFill>
                  <a:schemeClr val="accent3">
                    <a:lumMod val="50000"/>
                  </a:schemeClr>
                </a:solidFill>
              </a:rPr>
              <a:t>consequat</a:t>
            </a:r>
            <a:r>
              <a:rPr lang="en-MY" sz="2000" dirty="0">
                <a:solidFill>
                  <a:schemeClr val="accent3">
                    <a:lumMod val="50000"/>
                  </a:schemeClr>
                </a:solidFill>
              </a:rPr>
              <a:t>. </a:t>
            </a:r>
          </a:p>
        </p:txBody>
      </p:sp>
      <p:pic>
        <p:nvPicPr>
          <p:cNvPr id="5" name="Picture 4">
            <a:extLst>
              <a:ext uri="{FF2B5EF4-FFF2-40B4-BE49-F238E27FC236}">
                <a16:creationId xmlns:a16="http://schemas.microsoft.com/office/drawing/2014/main" id="{20EEF7C8-0E14-4B9B-ABCF-58D80935300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72981" y="-163219"/>
            <a:ext cx="6429676" cy="6858000"/>
          </a:xfrm>
          <a:prstGeom prst="rect">
            <a:avLst/>
          </a:prstGeom>
        </p:spPr>
      </p:pic>
      <p:grpSp>
        <p:nvGrpSpPr>
          <p:cNvPr id="6" name="Group 5">
            <a:extLst>
              <a:ext uri="{FF2B5EF4-FFF2-40B4-BE49-F238E27FC236}">
                <a16:creationId xmlns:a16="http://schemas.microsoft.com/office/drawing/2014/main" id="{4BDE04C8-C3BE-130B-043E-F706986D7FC0}"/>
              </a:ext>
            </a:extLst>
          </p:cNvPr>
          <p:cNvGrpSpPr/>
          <p:nvPr/>
        </p:nvGrpSpPr>
        <p:grpSpPr>
          <a:xfrm>
            <a:off x="16597284" y="2547262"/>
            <a:ext cx="1714343" cy="2209664"/>
            <a:chOff x="5728041" y="4010797"/>
            <a:chExt cx="1714343" cy="2209664"/>
          </a:xfrm>
        </p:grpSpPr>
        <p:sp>
          <p:nvSpPr>
            <p:cNvPr id="7" name="TextBox 6">
              <a:extLst>
                <a:ext uri="{FF2B5EF4-FFF2-40B4-BE49-F238E27FC236}">
                  <a16:creationId xmlns:a16="http://schemas.microsoft.com/office/drawing/2014/main" id="{9F1B4165-FFC7-7F76-E89B-BF7C0FE7C7CE}"/>
                </a:ext>
              </a:extLst>
            </p:cNvPr>
            <p:cNvSpPr txBox="1"/>
            <p:nvPr/>
          </p:nvSpPr>
          <p:spPr>
            <a:xfrm>
              <a:off x="5728041" y="4650801"/>
              <a:ext cx="1509342" cy="1569660"/>
            </a:xfrm>
            <a:prstGeom prst="rect">
              <a:avLst/>
            </a:prstGeom>
            <a:noFill/>
          </p:spPr>
          <p:txBody>
            <a:bodyPr wrap="square" rtlCol="0">
              <a:spAutoFit/>
            </a:bodyPr>
            <a:lstStyle/>
            <a:p>
              <a:pPr marL="171450" indent="-171450">
                <a:buFont typeface="Arial" panose="020B0604020202020204" pitchFamily="34" charset="0"/>
                <a:buChar char="•"/>
              </a:pPr>
              <a:r>
                <a:rPr lang="en-MY" sz="1200" dirty="0">
                  <a:solidFill>
                    <a:schemeClr val="bg1">
                      <a:lumMod val="65000"/>
                    </a:schemeClr>
                  </a:solidFill>
                  <a:latin typeface="Century Gothic" panose="020B0502020202020204" pitchFamily="34" charset="0"/>
                </a:rPr>
                <a:t>Tengok teaser Genshin impact </a:t>
              </a:r>
              <a:r>
                <a:rPr lang="en-MY" sz="1200" dirty="0" err="1">
                  <a:solidFill>
                    <a:schemeClr val="bg1">
                      <a:lumMod val="65000"/>
                    </a:schemeClr>
                  </a:solidFill>
                  <a:latin typeface="Century Gothic" panose="020B0502020202020204" pitchFamily="34" charset="0"/>
                </a:rPr>
                <a:t>Teyvat</a:t>
              </a:r>
              <a:r>
                <a:rPr lang="en-MY" sz="1200" dirty="0">
                  <a:solidFill>
                    <a:schemeClr val="bg1">
                      <a:lumMod val="65000"/>
                    </a:schemeClr>
                  </a:solidFill>
                  <a:latin typeface="Century Gothic" panose="020B0502020202020204" pitchFamily="34" charset="0"/>
                </a:rPr>
                <a:t> style dengan music </a:t>
              </a:r>
              <a:r>
                <a:rPr lang="en-MY" sz="1200" dirty="0" err="1">
                  <a:solidFill>
                    <a:schemeClr val="bg1">
                      <a:lumMod val="65000"/>
                    </a:schemeClr>
                  </a:solidFill>
                  <a:latin typeface="Century Gothic" panose="020B0502020202020204" pitchFamily="34" charset="0"/>
                </a:rPr>
                <a:t>dia</a:t>
              </a:r>
              <a:r>
                <a:rPr lang="en-MY" sz="1200" dirty="0">
                  <a:solidFill>
                    <a:schemeClr val="bg1">
                      <a:lumMod val="65000"/>
                    </a:schemeClr>
                  </a:solidFill>
                  <a:latin typeface="Century Gothic" panose="020B0502020202020204" pitchFamily="34" charset="0"/>
                </a:rPr>
                <a:t> </a:t>
              </a:r>
              <a:r>
                <a:rPr lang="en-MY" sz="1200" dirty="0" err="1">
                  <a:solidFill>
                    <a:schemeClr val="bg1">
                      <a:lumMod val="65000"/>
                    </a:schemeClr>
                  </a:solidFill>
                  <a:latin typeface="Century Gothic" panose="020B0502020202020204" pitchFamily="34" charset="0"/>
                </a:rPr>
                <a:t>terus</a:t>
              </a:r>
              <a:r>
                <a:rPr lang="en-MY" sz="1200" dirty="0">
                  <a:solidFill>
                    <a:schemeClr val="bg1">
                      <a:lumMod val="65000"/>
                    </a:schemeClr>
                  </a:solidFill>
                  <a:latin typeface="Century Gothic" panose="020B0502020202020204" pitchFamily="34" charset="0"/>
                </a:rPr>
                <a:t> inspired untuk buat style macam </a:t>
              </a:r>
              <a:r>
                <a:rPr lang="en-MY" sz="1200" dirty="0" err="1">
                  <a:solidFill>
                    <a:schemeClr val="bg1">
                      <a:lumMod val="65000"/>
                    </a:schemeClr>
                  </a:solidFill>
                  <a:latin typeface="Century Gothic" panose="020B0502020202020204" pitchFamily="34" charset="0"/>
                </a:rPr>
                <a:t>ni</a:t>
              </a:r>
              <a:r>
                <a:rPr lang="en-MY" sz="1200" dirty="0">
                  <a:solidFill>
                    <a:schemeClr val="bg1">
                      <a:lumMod val="65000"/>
                    </a:schemeClr>
                  </a:solidFill>
                  <a:latin typeface="Century Gothic" panose="020B0502020202020204" pitchFamily="34" charset="0"/>
                </a:rPr>
                <a:t>.</a:t>
              </a:r>
              <a:endParaRPr lang="en-MY" sz="1600" dirty="0">
                <a:solidFill>
                  <a:schemeClr val="bg1">
                    <a:lumMod val="65000"/>
                  </a:schemeClr>
                </a:solidFill>
                <a:latin typeface="Century Gothic" panose="020B0502020202020204" pitchFamily="34" charset="0"/>
              </a:endParaRPr>
            </a:p>
          </p:txBody>
        </p:sp>
        <p:sp>
          <p:nvSpPr>
            <p:cNvPr id="8" name="TextBox 7">
              <a:extLst>
                <a:ext uri="{FF2B5EF4-FFF2-40B4-BE49-F238E27FC236}">
                  <a16:creationId xmlns:a16="http://schemas.microsoft.com/office/drawing/2014/main" id="{3F010FF7-720E-3057-FA45-11DA062F4A52}"/>
                </a:ext>
              </a:extLst>
            </p:cNvPr>
            <p:cNvSpPr txBox="1"/>
            <p:nvPr/>
          </p:nvSpPr>
          <p:spPr>
            <a:xfrm>
              <a:off x="5851767" y="4010797"/>
              <a:ext cx="1590617" cy="584775"/>
            </a:xfrm>
            <a:prstGeom prst="rect">
              <a:avLst/>
            </a:prstGeom>
            <a:noFill/>
          </p:spPr>
          <p:txBody>
            <a:bodyPr wrap="square">
              <a:spAutoFit/>
            </a:bodyPr>
            <a:lstStyle/>
            <a:p>
              <a:r>
                <a:rPr lang="en-US" sz="3200" b="1" dirty="0">
                  <a:blipFill dpi="0" rotWithShape="1">
                    <a:blip r:embed="rId3">
                      <a:extLst>
                        <a:ext uri="{28A0092B-C50C-407E-A947-70E740481C1C}">
                          <a14:useLocalDpi xmlns:a14="http://schemas.microsoft.com/office/drawing/2010/main" val="0"/>
                        </a:ext>
                      </a:extLst>
                    </a:blip>
                    <a:srcRect/>
                    <a:stretch>
                      <a:fillRect/>
                    </a:stretch>
                  </a:blipFill>
                  <a:latin typeface="Century Gothic" panose="020B0502020202020204" pitchFamily="34" charset="0"/>
                </a:rPr>
                <a:t>PENSEL</a:t>
              </a:r>
              <a:endParaRPr lang="en-MY" sz="800" dirty="0"/>
            </a:p>
          </p:txBody>
        </p:sp>
      </p:grpSp>
      <p:grpSp>
        <p:nvGrpSpPr>
          <p:cNvPr id="9" name="Group 8">
            <a:extLst>
              <a:ext uri="{FF2B5EF4-FFF2-40B4-BE49-F238E27FC236}">
                <a16:creationId xmlns:a16="http://schemas.microsoft.com/office/drawing/2014/main" id="{4FF34CB8-B15D-47EC-C572-D4B229E855E1}"/>
              </a:ext>
            </a:extLst>
          </p:cNvPr>
          <p:cNvGrpSpPr/>
          <p:nvPr/>
        </p:nvGrpSpPr>
        <p:grpSpPr>
          <a:xfrm>
            <a:off x="23319649" y="2547860"/>
            <a:ext cx="1714343" cy="2209664"/>
            <a:chOff x="5728041" y="4010797"/>
            <a:chExt cx="1714343" cy="2209664"/>
          </a:xfrm>
        </p:grpSpPr>
        <p:sp>
          <p:nvSpPr>
            <p:cNvPr id="10" name="TextBox 9">
              <a:extLst>
                <a:ext uri="{FF2B5EF4-FFF2-40B4-BE49-F238E27FC236}">
                  <a16:creationId xmlns:a16="http://schemas.microsoft.com/office/drawing/2014/main" id="{F67BBD9B-AFEC-9283-46FA-095E0500AB04}"/>
                </a:ext>
              </a:extLst>
            </p:cNvPr>
            <p:cNvSpPr txBox="1"/>
            <p:nvPr/>
          </p:nvSpPr>
          <p:spPr>
            <a:xfrm>
              <a:off x="5728041" y="4650801"/>
              <a:ext cx="1509342" cy="1569660"/>
            </a:xfrm>
            <a:prstGeom prst="rect">
              <a:avLst/>
            </a:prstGeom>
            <a:noFill/>
          </p:spPr>
          <p:txBody>
            <a:bodyPr wrap="square" rtlCol="0">
              <a:spAutoFit/>
            </a:bodyPr>
            <a:lstStyle/>
            <a:p>
              <a:pPr marL="171450" indent="-171450">
                <a:buFont typeface="Arial" panose="020B0604020202020204" pitchFamily="34" charset="0"/>
                <a:buChar char="•"/>
              </a:pPr>
              <a:r>
                <a:rPr lang="en-MY" sz="1200" dirty="0">
                  <a:solidFill>
                    <a:schemeClr val="bg1">
                      <a:lumMod val="65000"/>
                    </a:schemeClr>
                  </a:solidFill>
                  <a:latin typeface="Century Gothic" panose="020B0502020202020204" pitchFamily="34" charset="0"/>
                </a:rPr>
                <a:t>Tengok teaser Genshin impact </a:t>
              </a:r>
              <a:r>
                <a:rPr lang="en-MY" sz="1200" dirty="0" err="1">
                  <a:solidFill>
                    <a:schemeClr val="bg1">
                      <a:lumMod val="65000"/>
                    </a:schemeClr>
                  </a:solidFill>
                  <a:latin typeface="Century Gothic" panose="020B0502020202020204" pitchFamily="34" charset="0"/>
                </a:rPr>
                <a:t>Teyvat</a:t>
              </a:r>
              <a:r>
                <a:rPr lang="en-MY" sz="1200" dirty="0">
                  <a:solidFill>
                    <a:schemeClr val="bg1">
                      <a:lumMod val="65000"/>
                    </a:schemeClr>
                  </a:solidFill>
                  <a:latin typeface="Century Gothic" panose="020B0502020202020204" pitchFamily="34" charset="0"/>
                </a:rPr>
                <a:t> style dengan music </a:t>
              </a:r>
              <a:r>
                <a:rPr lang="en-MY" sz="1200" dirty="0" err="1">
                  <a:solidFill>
                    <a:schemeClr val="bg1">
                      <a:lumMod val="65000"/>
                    </a:schemeClr>
                  </a:solidFill>
                  <a:latin typeface="Century Gothic" panose="020B0502020202020204" pitchFamily="34" charset="0"/>
                </a:rPr>
                <a:t>dia</a:t>
              </a:r>
              <a:r>
                <a:rPr lang="en-MY" sz="1200" dirty="0">
                  <a:solidFill>
                    <a:schemeClr val="bg1">
                      <a:lumMod val="65000"/>
                    </a:schemeClr>
                  </a:solidFill>
                  <a:latin typeface="Century Gothic" panose="020B0502020202020204" pitchFamily="34" charset="0"/>
                </a:rPr>
                <a:t> </a:t>
              </a:r>
              <a:r>
                <a:rPr lang="en-MY" sz="1200" dirty="0" err="1">
                  <a:solidFill>
                    <a:schemeClr val="bg1">
                      <a:lumMod val="65000"/>
                    </a:schemeClr>
                  </a:solidFill>
                  <a:latin typeface="Century Gothic" panose="020B0502020202020204" pitchFamily="34" charset="0"/>
                </a:rPr>
                <a:t>terus</a:t>
              </a:r>
              <a:r>
                <a:rPr lang="en-MY" sz="1200" dirty="0">
                  <a:solidFill>
                    <a:schemeClr val="bg1">
                      <a:lumMod val="65000"/>
                    </a:schemeClr>
                  </a:solidFill>
                  <a:latin typeface="Century Gothic" panose="020B0502020202020204" pitchFamily="34" charset="0"/>
                </a:rPr>
                <a:t> inspired untuk buat style macam </a:t>
              </a:r>
              <a:r>
                <a:rPr lang="en-MY" sz="1200" dirty="0" err="1">
                  <a:solidFill>
                    <a:schemeClr val="bg1">
                      <a:lumMod val="65000"/>
                    </a:schemeClr>
                  </a:solidFill>
                  <a:latin typeface="Century Gothic" panose="020B0502020202020204" pitchFamily="34" charset="0"/>
                </a:rPr>
                <a:t>ni</a:t>
              </a:r>
              <a:r>
                <a:rPr lang="en-MY" sz="1200" dirty="0">
                  <a:solidFill>
                    <a:schemeClr val="bg1">
                      <a:lumMod val="65000"/>
                    </a:schemeClr>
                  </a:solidFill>
                  <a:latin typeface="Century Gothic" panose="020B0502020202020204" pitchFamily="34" charset="0"/>
                </a:rPr>
                <a:t>.</a:t>
              </a:r>
              <a:endParaRPr lang="en-MY" sz="1600" dirty="0">
                <a:solidFill>
                  <a:schemeClr val="bg1">
                    <a:lumMod val="65000"/>
                  </a:schemeClr>
                </a:solidFill>
                <a:latin typeface="Century Gothic" panose="020B0502020202020204" pitchFamily="34" charset="0"/>
              </a:endParaRPr>
            </a:p>
          </p:txBody>
        </p:sp>
        <p:sp>
          <p:nvSpPr>
            <p:cNvPr id="11" name="TextBox 10">
              <a:extLst>
                <a:ext uri="{FF2B5EF4-FFF2-40B4-BE49-F238E27FC236}">
                  <a16:creationId xmlns:a16="http://schemas.microsoft.com/office/drawing/2014/main" id="{35791270-5CC5-C073-6288-F349BC548FAA}"/>
                </a:ext>
              </a:extLst>
            </p:cNvPr>
            <p:cNvSpPr txBox="1"/>
            <p:nvPr/>
          </p:nvSpPr>
          <p:spPr>
            <a:xfrm>
              <a:off x="5851767" y="4010797"/>
              <a:ext cx="1590617" cy="584775"/>
            </a:xfrm>
            <a:prstGeom prst="rect">
              <a:avLst/>
            </a:prstGeom>
            <a:noFill/>
          </p:spPr>
          <p:txBody>
            <a:bodyPr wrap="square">
              <a:spAutoFit/>
            </a:bodyPr>
            <a:lstStyle/>
            <a:p>
              <a:r>
                <a:rPr lang="en-US" sz="3200" b="1" dirty="0">
                  <a:blipFill dpi="0" rotWithShape="1">
                    <a:blip r:embed="rId3">
                      <a:extLst>
                        <a:ext uri="{28A0092B-C50C-407E-A947-70E740481C1C}">
                          <a14:useLocalDpi xmlns:a14="http://schemas.microsoft.com/office/drawing/2010/main" val="0"/>
                        </a:ext>
                      </a:extLst>
                    </a:blip>
                    <a:srcRect/>
                    <a:stretch>
                      <a:fillRect/>
                    </a:stretch>
                  </a:blipFill>
                  <a:latin typeface="Century Gothic" panose="020B0502020202020204" pitchFamily="34" charset="0"/>
                </a:rPr>
                <a:t>LOKEY</a:t>
              </a:r>
              <a:endParaRPr lang="en-MY" sz="800" dirty="0"/>
            </a:p>
          </p:txBody>
        </p:sp>
      </p:grpSp>
      <p:pic>
        <p:nvPicPr>
          <p:cNvPr id="12" name="Picture 11">
            <a:extLst>
              <a:ext uri="{FF2B5EF4-FFF2-40B4-BE49-F238E27FC236}">
                <a16:creationId xmlns:a16="http://schemas.microsoft.com/office/drawing/2014/main" id="{80941E86-90D7-DEE6-4B05-0A9361798F4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5790559" y="2010214"/>
            <a:ext cx="1576715" cy="3090411"/>
          </a:xfrm>
          <a:prstGeom prst="roundRect">
            <a:avLst>
              <a:gd name="adj" fmla="val 50000"/>
            </a:avLst>
          </a:prstGeom>
        </p:spPr>
      </p:pic>
      <p:pic>
        <p:nvPicPr>
          <p:cNvPr id="13" name="Picture 12">
            <a:extLst>
              <a:ext uri="{FF2B5EF4-FFF2-40B4-BE49-F238E27FC236}">
                <a16:creationId xmlns:a16="http://schemas.microsoft.com/office/drawing/2014/main" id="{9C71280F-7936-49F2-B935-6110F1C0B74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23442224" y="1971674"/>
            <a:ext cx="1576715" cy="3090411"/>
          </a:xfrm>
          <a:prstGeom prst="roundRect">
            <a:avLst>
              <a:gd name="adj" fmla="val 50000"/>
            </a:avLst>
          </a:prstGeom>
        </p:spPr>
      </p:pic>
      <p:grpSp>
        <p:nvGrpSpPr>
          <p:cNvPr id="14" name="Group 13">
            <a:extLst>
              <a:ext uri="{FF2B5EF4-FFF2-40B4-BE49-F238E27FC236}">
                <a16:creationId xmlns:a16="http://schemas.microsoft.com/office/drawing/2014/main" id="{BE1766EB-2E31-6407-BB0D-CA7C5C5575E1}"/>
              </a:ext>
            </a:extLst>
          </p:cNvPr>
          <p:cNvGrpSpPr/>
          <p:nvPr/>
        </p:nvGrpSpPr>
        <p:grpSpPr>
          <a:xfrm>
            <a:off x="9669789" y="20920379"/>
            <a:ext cx="1644086" cy="2287395"/>
            <a:chOff x="5728041" y="4010797"/>
            <a:chExt cx="1644086" cy="2287395"/>
          </a:xfrm>
        </p:grpSpPr>
        <p:sp>
          <p:nvSpPr>
            <p:cNvPr id="15" name="TextBox 14">
              <a:extLst>
                <a:ext uri="{FF2B5EF4-FFF2-40B4-BE49-F238E27FC236}">
                  <a16:creationId xmlns:a16="http://schemas.microsoft.com/office/drawing/2014/main" id="{A814BE40-C98B-88E4-A20F-520D5EB75A7F}"/>
                </a:ext>
              </a:extLst>
            </p:cNvPr>
            <p:cNvSpPr txBox="1"/>
            <p:nvPr/>
          </p:nvSpPr>
          <p:spPr>
            <a:xfrm>
              <a:off x="5728041" y="4728532"/>
              <a:ext cx="1509342" cy="1569660"/>
            </a:xfrm>
            <a:prstGeom prst="rect">
              <a:avLst/>
            </a:prstGeom>
            <a:noFill/>
          </p:spPr>
          <p:txBody>
            <a:bodyPr wrap="square" rtlCol="0">
              <a:spAutoFit/>
            </a:bodyPr>
            <a:lstStyle/>
            <a:p>
              <a:pPr marL="171450" indent="-171450">
                <a:buFont typeface="Arial" panose="020B0604020202020204" pitchFamily="34" charset="0"/>
                <a:buChar char="•"/>
              </a:pPr>
              <a:r>
                <a:rPr lang="en-MY" sz="1200" dirty="0">
                  <a:solidFill>
                    <a:schemeClr val="bg1">
                      <a:lumMod val="65000"/>
                    </a:schemeClr>
                  </a:solidFill>
                  <a:latin typeface="Century Gothic" panose="020B0502020202020204" pitchFamily="34" charset="0"/>
                </a:rPr>
                <a:t>Tengok teaser Genshin impact </a:t>
              </a:r>
              <a:r>
                <a:rPr lang="en-MY" sz="1200" dirty="0" err="1">
                  <a:solidFill>
                    <a:schemeClr val="bg1">
                      <a:lumMod val="65000"/>
                    </a:schemeClr>
                  </a:solidFill>
                  <a:latin typeface="Century Gothic" panose="020B0502020202020204" pitchFamily="34" charset="0"/>
                </a:rPr>
                <a:t>Teyvat</a:t>
              </a:r>
              <a:r>
                <a:rPr lang="en-MY" sz="1200" dirty="0">
                  <a:solidFill>
                    <a:schemeClr val="bg1">
                      <a:lumMod val="65000"/>
                    </a:schemeClr>
                  </a:solidFill>
                  <a:latin typeface="Century Gothic" panose="020B0502020202020204" pitchFamily="34" charset="0"/>
                </a:rPr>
                <a:t> style dengan music </a:t>
              </a:r>
              <a:r>
                <a:rPr lang="en-MY" sz="1200" dirty="0" err="1">
                  <a:solidFill>
                    <a:schemeClr val="bg1">
                      <a:lumMod val="65000"/>
                    </a:schemeClr>
                  </a:solidFill>
                  <a:latin typeface="Century Gothic" panose="020B0502020202020204" pitchFamily="34" charset="0"/>
                </a:rPr>
                <a:t>dia</a:t>
              </a:r>
              <a:r>
                <a:rPr lang="en-MY" sz="1200" dirty="0">
                  <a:solidFill>
                    <a:schemeClr val="bg1">
                      <a:lumMod val="65000"/>
                    </a:schemeClr>
                  </a:solidFill>
                  <a:latin typeface="Century Gothic" panose="020B0502020202020204" pitchFamily="34" charset="0"/>
                </a:rPr>
                <a:t> </a:t>
              </a:r>
              <a:r>
                <a:rPr lang="en-MY" sz="1200" dirty="0" err="1">
                  <a:solidFill>
                    <a:schemeClr val="bg1">
                      <a:lumMod val="65000"/>
                    </a:schemeClr>
                  </a:solidFill>
                  <a:latin typeface="Century Gothic" panose="020B0502020202020204" pitchFamily="34" charset="0"/>
                </a:rPr>
                <a:t>terus</a:t>
              </a:r>
              <a:r>
                <a:rPr lang="en-MY" sz="1200" dirty="0">
                  <a:solidFill>
                    <a:schemeClr val="bg1">
                      <a:lumMod val="65000"/>
                    </a:schemeClr>
                  </a:solidFill>
                  <a:latin typeface="Century Gothic" panose="020B0502020202020204" pitchFamily="34" charset="0"/>
                </a:rPr>
                <a:t> inspired untuk buat style macam </a:t>
              </a:r>
              <a:r>
                <a:rPr lang="en-MY" sz="1200" dirty="0" err="1">
                  <a:solidFill>
                    <a:schemeClr val="bg1">
                      <a:lumMod val="65000"/>
                    </a:schemeClr>
                  </a:solidFill>
                  <a:latin typeface="Century Gothic" panose="020B0502020202020204" pitchFamily="34" charset="0"/>
                </a:rPr>
                <a:t>ni</a:t>
              </a:r>
              <a:r>
                <a:rPr lang="en-MY" sz="1200" dirty="0">
                  <a:solidFill>
                    <a:schemeClr val="bg1">
                      <a:lumMod val="65000"/>
                    </a:schemeClr>
                  </a:solidFill>
                  <a:latin typeface="Century Gothic" panose="020B0502020202020204" pitchFamily="34" charset="0"/>
                </a:rPr>
                <a:t>.</a:t>
              </a:r>
              <a:endParaRPr lang="en-MY" sz="1600" dirty="0">
                <a:solidFill>
                  <a:schemeClr val="bg1">
                    <a:lumMod val="65000"/>
                  </a:schemeClr>
                </a:solidFill>
                <a:latin typeface="Century Gothic" panose="020B0502020202020204" pitchFamily="34" charset="0"/>
              </a:endParaRPr>
            </a:p>
          </p:txBody>
        </p:sp>
        <p:sp>
          <p:nvSpPr>
            <p:cNvPr id="16" name="TextBox 15">
              <a:extLst>
                <a:ext uri="{FF2B5EF4-FFF2-40B4-BE49-F238E27FC236}">
                  <a16:creationId xmlns:a16="http://schemas.microsoft.com/office/drawing/2014/main" id="{1919256A-8F56-C055-2B51-87639ED925F6}"/>
                </a:ext>
              </a:extLst>
            </p:cNvPr>
            <p:cNvSpPr txBox="1"/>
            <p:nvPr/>
          </p:nvSpPr>
          <p:spPr>
            <a:xfrm>
              <a:off x="5781510" y="4010797"/>
              <a:ext cx="1590617" cy="584775"/>
            </a:xfrm>
            <a:prstGeom prst="rect">
              <a:avLst/>
            </a:prstGeom>
            <a:noFill/>
          </p:spPr>
          <p:txBody>
            <a:bodyPr wrap="square">
              <a:spAutoFit/>
            </a:bodyPr>
            <a:lstStyle/>
            <a:p>
              <a:r>
                <a:rPr lang="en-US" sz="3200" b="1" dirty="0">
                  <a:blipFill dpi="0" rotWithShape="1">
                    <a:blip r:embed="rId3">
                      <a:extLst>
                        <a:ext uri="{28A0092B-C50C-407E-A947-70E740481C1C}">
                          <a14:useLocalDpi xmlns:a14="http://schemas.microsoft.com/office/drawing/2010/main" val="0"/>
                        </a:ext>
                      </a:extLst>
                    </a:blip>
                    <a:srcRect/>
                    <a:stretch>
                      <a:fillRect/>
                    </a:stretch>
                  </a:blipFill>
                  <a:latin typeface="Century Gothic" panose="020B0502020202020204" pitchFamily="34" charset="0"/>
                </a:rPr>
                <a:t>T</a:t>
              </a:r>
              <a:r>
                <a:rPr kumimoji="0" lang="en-US" sz="3200" b="1" i="0" u="none" strike="noStrike" kern="1200" cap="none" spc="0" normalizeH="0" baseline="0" noProof="0" dirty="0" err="1">
                  <a:ln>
                    <a:noFill/>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ekejut</a:t>
              </a:r>
              <a:endParaRPr lang="en-MY" sz="800" dirty="0"/>
            </a:p>
          </p:txBody>
        </p:sp>
      </p:grpSp>
      <p:sp>
        <p:nvSpPr>
          <p:cNvPr id="17" name="TextBox 16">
            <a:extLst>
              <a:ext uri="{FF2B5EF4-FFF2-40B4-BE49-F238E27FC236}">
                <a16:creationId xmlns:a16="http://schemas.microsoft.com/office/drawing/2014/main" id="{20CA3514-7D13-7268-3267-63D792130B31}"/>
              </a:ext>
            </a:extLst>
          </p:cNvPr>
          <p:cNvSpPr txBox="1"/>
          <p:nvPr/>
        </p:nvSpPr>
        <p:spPr>
          <a:xfrm>
            <a:off x="3690720" y="20605217"/>
            <a:ext cx="5629853" cy="1200329"/>
          </a:xfrm>
          <a:prstGeom prst="rect">
            <a:avLst/>
          </a:prstGeom>
          <a:noFill/>
        </p:spPr>
        <p:txBody>
          <a:bodyPr wrap="square" rtlCol="0">
            <a:spAutoFit/>
          </a:bodyPr>
          <a:lstStyle/>
          <a:p>
            <a:r>
              <a:rPr lang="en-US" sz="7200" b="1" dirty="0">
                <a:blipFill dpi="0" rotWithShape="1">
                  <a:blip r:embed="rId3">
                    <a:extLst>
                      <a:ext uri="{28A0092B-C50C-407E-A947-70E740481C1C}">
                        <a14:useLocalDpi xmlns:a14="http://schemas.microsoft.com/office/drawing/2010/main" val="0"/>
                      </a:ext>
                    </a:extLst>
                  </a:blip>
                  <a:srcRect/>
                  <a:stretch>
                    <a:fillRect/>
                  </a:stretch>
                </a:blipFill>
                <a:latin typeface="Century Gothic" panose="020B0502020202020204" pitchFamily="34" charset="0"/>
              </a:rPr>
              <a:t>FLEETING</a:t>
            </a:r>
            <a:endParaRPr lang="en-US" sz="8000" b="1" dirty="0">
              <a:blipFill dpi="0" rotWithShape="1">
                <a:blip r:embed="rId3">
                  <a:extLst>
                    <a:ext uri="{28A0092B-C50C-407E-A947-70E740481C1C}">
                      <a14:useLocalDpi xmlns:a14="http://schemas.microsoft.com/office/drawing/2010/main" val="0"/>
                    </a:ext>
                  </a:extLst>
                </a:blip>
                <a:srcRect/>
                <a:stretch>
                  <a:fillRect/>
                </a:stretch>
              </a:blipFill>
              <a:latin typeface="Century Gothic" panose="020B0502020202020204" pitchFamily="34" charset="0"/>
            </a:endParaRPr>
          </a:p>
        </p:txBody>
      </p:sp>
      <p:sp>
        <p:nvSpPr>
          <p:cNvPr id="18" name="TextBox 17">
            <a:extLst>
              <a:ext uri="{FF2B5EF4-FFF2-40B4-BE49-F238E27FC236}">
                <a16:creationId xmlns:a16="http://schemas.microsoft.com/office/drawing/2014/main" id="{FA91EBCB-E109-5A35-4B0D-9F67A200E88C}"/>
              </a:ext>
            </a:extLst>
          </p:cNvPr>
          <p:cNvSpPr txBox="1"/>
          <p:nvPr/>
        </p:nvSpPr>
        <p:spPr>
          <a:xfrm>
            <a:off x="3757486" y="19318801"/>
            <a:ext cx="3098925" cy="400110"/>
          </a:xfrm>
          <a:prstGeom prst="rect">
            <a:avLst/>
          </a:prstGeom>
          <a:noFill/>
        </p:spPr>
        <p:txBody>
          <a:bodyPr wrap="none" rtlCol="0">
            <a:spAutoFit/>
          </a:bodyPr>
          <a:lstStyle/>
          <a:p>
            <a:r>
              <a:rPr lang="en-US" sz="2000" b="1" dirty="0">
                <a:blipFill dpi="0" rotWithShape="1">
                  <a:blip r:embed="rId6">
                    <a:extLst>
                      <a:ext uri="{28A0092B-C50C-407E-A947-70E740481C1C}">
                        <a14:useLocalDpi xmlns:a14="http://schemas.microsoft.com/office/drawing/2010/main" val="0"/>
                      </a:ext>
                    </a:extLst>
                  </a:blip>
                  <a:srcRect/>
                  <a:stretch>
                    <a:fillRect/>
                  </a:stretch>
                </a:blipFill>
                <a:latin typeface="Century Gothic" panose="020B0502020202020204" pitchFamily="34" charset="0"/>
              </a:rPr>
              <a:t>Inspired by Style </a:t>
            </a:r>
            <a:r>
              <a:rPr lang="en-US" sz="2000" b="1" dirty="0" err="1">
                <a:blipFill dpi="0" rotWithShape="1">
                  <a:blip r:embed="rId6">
                    <a:extLst>
                      <a:ext uri="{28A0092B-C50C-407E-A947-70E740481C1C}">
                        <a14:useLocalDpi xmlns:a14="http://schemas.microsoft.com/office/drawing/2010/main" val="0"/>
                      </a:ext>
                    </a:extLst>
                  </a:blip>
                  <a:srcRect/>
                  <a:stretch>
                    <a:fillRect/>
                  </a:stretch>
                </a:blipFill>
                <a:latin typeface="Century Gothic" panose="020B0502020202020204" pitchFamily="34" charset="0"/>
              </a:rPr>
              <a:t>Teyvat</a:t>
            </a:r>
            <a:endParaRPr lang="en-US" sz="2000" b="1" dirty="0">
              <a:blipFill dpi="0" rotWithShape="1">
                <a:blip r:embed="rId6">
                  <a:extLst>
                    <a:ext uri="{28A0092B-C50C-407E-A947-70E740481C1C}">
                      <a14:useLocalDpi xmlns:a14="http://schemas.microsoft.com/office/drawing/2010/main" val="0"/>
                    </a:ext>
                  </a:extLst>
                </a:blip>
                <a:srcRect/>
                <a:stretch>
                  <a:fillRect/>
                </a:stretch>
              </a:blipFill>
              <a:latin typeface="Century Gothic" panose="020B0502020202020204" pitchFamily="34" charset="0"/>
            </a:endParaRPr>
          </a:p>
        </p:txBody>
      </p:sp>
      <p:sp>
        <p:nvSpPr>
          <p:cNvPr id="19" name="TextBox 18">
            <a:extLst>
              <a:ext uri="{FF2B5EF4-FFF2-40B4-BE49-F238E27FC236}">
                <a16:creationId xmlns:a16="http://schemas.microsoft.com/office/drawing/2014/main" id="{16F1BCDC-656C-2D42-8321-BABFD6381E5B}"/>
              </a:ext>
            </a:extLst>
          </p:cNvPr>
          <p:cNvSpPr txBox="1"/>
          <p:nvPr/>
        </p:nvSpPr>
        <p:spPr>
          <a:xfrm>
            <a:off x="3757288" y="33420533"/>
            <a:ext cx="1063112" cy="307777"/>
          </a:xfrm>
          <a:prstGeom prst="rect">
            <a:avLst/>
          </a:prstGeom>
          <a:noFill/>
        </p:spPr>
        <p:txBody>
          <a:bodyPr wrap="none" rtlCol="0">
            <a:spAutoFit/>
          </a:bodyPr>
          <a:lstStyle/>
          <a:p>
            <a:r>
              <a:rPr lang="en-MY" sz="1400" b="1" dirty="0">
                <a:solidFill>
                  <a:schemeClr val="bg1">
                    <a:lumMod val="65000"/>
                  </a:schemeClr>
                </a:solidFill>
                <a:latin typeface="Century Gothic" panose="020B0502020202020204" pitchFamily="34" charset="0"/>
              </a:rPr>
              <a:t>WELCOME</a:t>
            </a:r>
            <a:endParaRPr lang="en-MY" b="1" dirty="0">
              <a:solidFill>
                <a:schemeClr val="bg1">
                  <a:lumMod val="65000"/>
                </a:schemeClr>
              </a:solidFill>
              <a:latin typeface="Century Gothic" panose="020B0502020202020204" pitchFamily="34" charset="0"/>
            </a:endParaRPr>
          </a:p>
        </p:txBody>
      </p:sp>
      <p:sp>
        <p:nvSpPr>
          <p:cNvPr id="20" name="TextBox 19">
            <a:extLst>
              <a:ext uri="{FF2B5EF4-FFF2-40B4-BE49-F238E27FC236}">
                <a16:creationId xmlns:a16="http://schemas.microsoft.com/office/drawing/2014/main" id="{FF5DB66D-545B-A1D8-081D-406524896F0F}"/>
              </a:ext>
            </a:extLst>
          </p:cNvPr>
          <p:cNvSpPr txBox="1"/>
          <p:nvPr/>
        </p:nvSpPr>
        <p:spPr>
          <a:xfrm>
            <a:off x="3757288" y="33723986"/>
            <a:ext cx="3440463" cy="646331"/>
          </a:xfrm>
          <a:prstGeom prst="rect">
            <a:avLst/>
          </a:prstGeom>
          <a:noFill/>
        </p:spPr>
        <p:txBody>
          <a:bodyPr wrap="square" rtlCol="0">
            <a:spAutoFit/>
          </a:bodyPr>
          <a:lstStyle/>
          <a:p>
            <a:pPr algn="just"/>
            <a:r>
              <a:rPr lang="en-MY" sz="1200" dirty="0">
                <a:solidFill>
                  <a:schemeClr val="bg1">
                    <a:lumMod val="65000"/>
                  </a:schemeClr>
                </a:solidFill>
                <a:latin typeface="Century Gothic" panose="020B0502020202020204" pitchFamily="34" charset="0"/>
              </a:rPr>
              <a:t>Tengok teaser Genshin impact </a:t>
            </a:r>
            <a:r>
              <a:rPr lang="en-MY" sz="1200" dirty="0" err="1">
                <a:solidFill>
                  <a:schemeClr val="bg1">
                    <a:lumMod val="65000"/>
                  </a:schemeClr>
                </a:solidFill>
                <a:latin typeface="Century Gothic" panose="020B0502020202020204" pitchFamily="34" charset="0"/>
              </a:rPr>
              <a:t>Teyvat</a:t>
            </a:r>
            <a:r>
              <a:rPr lang="en-MY" sz="1200" dirty="0">
                <a:solidFill>
                  <a:schemeClr val="bg1">
                    <a:lumMod val="65000"/>
                  </a:schemeClr>
                </a:solidFill>
                <a:latin typeface="Century Gothic" panose="020B0502020202020204" pitchFamily="34" charset="0"/>
              </a:rPr>
              <a:t> style dengan music </a:t>
            </a:r>
            <a:r>
              <a:rPr lang="en-MY" sz="1200" dirty="0" err="1">
                <a:solidFill>
                  <a:schemeClr val="bg1">
                    <a:lumMod val="65000"/>
                  </a:schemeClr>
                </a:solidFill>
                <a:latin typeface="Century Gothic" panose="020B0502020202020204" pitchFamily="34" charset="0"/>
              </a:rPr>
              <a:t>dia</a:t>
            </a:r>
            <a:r>
              <a:rPr lang="en-MY" sz="1200" dirty="0">
                <a:solidFill>
                  <a:schemeClr val="bg1">
                    <a:lumMod val="65000"/>
                  </a:schemeClr>
                </a:solidFill>
                <a:latin typeface="Century Gothic" panose="020B0502020202020204" pitchFamily="34" charset="0"/>
              </a:rPr>
              <a:t> </a:t>
            </a:r>
            <a:r>
              <a:rPr lang="en-MY" sz="1200" dirty="0" err="1">
                <a:solidFill>
                  <a:schemeClr val="bg1">
                    <a:lumMod val="65000"/>
                  </a:schemeClr>
                </a:solidFill>
                <a:latin typeface="Century Gothic" panose="020B0502020202020204" pitchFamily="34" charset="0"/>
              </a:rPr>
              <a:t>terus</a:t>
            </a:r>
            <a:r>
              <a:rPr lang="en-MY" sz="1200" dirty="0">
                <a:solidFill>
                  <a:schemeClr val="bg1">
                    <a:lumMod val="65000"/>
                  </a:schemeClr>
                </a:solidFill>
                <a:latin typeface="Century Gothic" panose="020B0502020202020204" pitchFamily="34" charset="0"/>
              </a:rPr>
              <a:t> inspired untuk buat style macam </a:t>
            </a:r>
            <a:r>
              <a:rPr lang="en-MY" sz="1200" dirty="0" err="1">
                <a:solidFill>
                  <a:schemeClr val="bg1">
                    <a:lumMod val="65000"/>
                  </a:schemeClr>
                </a:solidFill>
                <a:latin typeface="Century Gothic" panose="020B0502020202020204" pitchFamily="34" charset="0"/>
              </a:rPr>
              <a:t>ni</a:t>
            </a:r>
            <a:r>
              <a:rPr lang="en-MY" sz="1200" dirty="0">
                <a:solidFill>
                  <a:schemeClr val="bg1">
                    <a:lumMod val="65000"/>
                  </a:schemeClr>
                </a:solidFill>
                <a:latin typeface="Century Gothic" panose="020B0502020202020204" pitchFamily="34" charset="0"/>
              </a:rPr>
              <a:t>.</a:t>
            </a:r>
            <a:endParaRPr lang="en-MY" sz="1600" dirty="0">
              <a:solidFill>
                <a:schemeClr val="bg1">
                  <a:lumMod val="65000"/>
                </a:schemeClr>
              </a:solidFill>
              <a:latin typeface="Century Gothic" panose="020B0502020202020204" pitchFamily="34" charset="0"/>
            </a:endParaRPr>
          </a:p>
        </p:txBody>
      </p:sp>
      <p:sp>
        <p:nvSpPr>
          <p:cNvPr id="21" name="TextBox 20">
            <a:extLst>
              <a:ext uri="{FF2B5EF4-FFF2-40B4-BE49-F238E27FC236}">
                <a16:creationId xmlns:a16="http://schemas.microsoft.com/office/drawing/2014/main" id="{692CC78B-01C0-AD0F-A23D-8BC186ED8BD8}"/>
              </a:ext>
            </a:extLst>
          </p:cNvPr>
          <p:cNvSpPr txBox="1"/>
          <p:nvPr/>
        </p:nvSpPr>
        <p:spPr>
          <a:xfrm>
            <a:off x="3690720" y="25344725"/>
            <a:ext cx="5113972" cy="1200329"/>
          </a:xfrm>
          <a:prstGeom prst="rect">
            <a:avLst/>
          </a:prstGeom>
          <a:noFill/>
        </p:spPr>
        <p:txBody>
          <a:bodyPr wrap="square">
            <a:spAutoFit/>
          </a:bodyPr>
          <a:lstStyle/>
          <a:p>
            <a:r>
              <a:rPr kumimoji="0" lang="en-US" sz="7200" b="1" i="0" u="none" strike="noStrike" kern="1200" cap="none" spc="0" normalizeH="0" baseline="0" noProof="0" dirty="0">
                <a:ln>
                  <a:noFill/>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COLORS IN </a:t>
            </a:r>
            <a:endParaRPr lang="en-MY" dirty="0"/>
          </a:p>
        </p:txBody>
      </p:sp>
      <p:sp>
        <p:nvSpPr>
          <p:cNvPr id="22" name="TextBox 21">
            <a:extLst>
              <a:ext uri="{FF2B5EF4-FFF2-40B4-BE49-F238E27FC236}">
                <a16:creationId xmlns:a16="http://schemas.microsoft.com/office/drawing/2014/main" id="{6E8E2798-6B13-969D-48AA-988692E689B6}"/>
              </a:ext>
            </a:extLst>
          </p:cNvPr>
          <p:cNvSpPr txBox="1"/>
          <p:nvPr/>
        </p:nvSpPr>
        <p:spPr>
          <a:xfrm>
            <a:off x="3690721" y="29518344"/>
            <a:ext cx="3184310" cy="1200329"/>
          </a:xfrm>
          <a:prstGeom prst="rect">
            <a:avLst/>
          </a:prstGeom>
          <a:noFill/>
        </p:spPr>
        <p:txBody>
          <a:bodyPr wrap="square">
            <a:spAutoFit/>
          </a:bodyPr>
          <a:lstStyle/>
          <a:p>
            <a:r>
              <a:rPr kumimoji="0" lang="en-US" sz="7200" b="1" i="0" u="none" strike="noStrike" kern="1200" cap="none" spc="0" normalizeH="0" baseline="0" noProof="0" dirty="0">
                <a:ln>
                  <a:noFill/>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FLIGHT</a:t>
            </a:r>
            <a:endParaRPr lang="en-MY" dirty="0"/>
          </a:p>
        </p:txBody>
      </p:sp>
      <p:pic>
        <p:nvPicPr>
          <p:cNvPr id="23" name="Picture 22">
            <a:extLst>
              <a:ext uri="{FF2B5EF4-FFF2-40B4-BE49-F238E27FC236}">
                <a16:creationId xmlns:a16="http://schemas.microsoft.com/office/drawing/2014/main" id="{0392220F-7F04-16A2-60A2-9A60BAC19EF2}"/>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9413193" y="19006245"/>
            <a:ext cx="4083920" cy="8004610"/>
          </a:xfrm>
          <a:prstGeom prst="roundRect">
            <a:avLst>
              <a:gd name="adj" fmla="val 50000"/>
            </a:avLst>
          </a:prstGeom>
        </p:spPr>
      </p:pic>
      <p:sp>
        <p:nvSpPr>
          <p:cNvPr id="24" name="Oval 23">
            <a:extLst>
              <a:ext uri="{FF2B5EF4-FFF2-40B4-BE49-F238E27FC236}">
                <a16:creationId xmlns:a16="http://schemas.microsoft.com/office/drawing/2014/main" id="{49596BED-8405-8BC9-D52C-6291DFAF5230}"/>
              </a:ext>
            </a:extLst>
          </p:cNvPr>
          <p:cNvSpPr/>
          <p:nvPr/>
        </p:nvSpPr>
        <p:spPr>
          <a:xfrm>
            <a:off x="14215801" y="14915684"/>
            <a:ext cx="2604129" cy="2743200"/>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pic>
        <p:nvPicPr>
          <p:cNvPr id="25" name="Picture 24">
            <a:extLst>
              <a:ext uri="{FF2B5EF4-FFF2-40B4-BE49-F238E27FC236}">
                <a16:creationId xmlns:a16="http://schemas.microsoft.com/office/drawing/2014/main" id="{28C8B0F8-9C52-7EF4-EEE9-E852E2AC0C7D}"/>
              </a:ext>
            </a:extLst>
          </p:cNvPr>
          <p:cNvPicPr>
            <a:picLocks noChangeAspect="1"/>
          </p:cNvPicPr>
          <p:nvPr/>
        </p:nvPicPr>
        <p:blipFill>
          <a:blip r:embed="rId8">
            <a:duotone>
              <a:prstClr val="black"/>
              <a:srgbClr val="7030A0">
                <a:tint val="45000"/>
                <a:satMod val="400000"/>
              </a:srgbClr>
            </a:duotone>
          </a:blip>
          <a:stretch>
            <a:fillRect/>
          </a:stretch>
        </p:blipFill>
        <p:spPr>
          <a:xfrm>
            <a:off x="14695426" y="15912209"/>
            <a:ext cx="452118" cy="801484"/>
          </a:xfrm>
          <a:prstGeom prst="rect">
            <a:avLst/>
          </a:prstGeom>
          <a:noFill/>
        </p:spPr>
      </p:pic>
      <p:sp>
        <p:nvSpPr>
          <p:cNvPr id="26" name="Oval 25">
            <a:extLst>
              <a:ext uri="{FF2B5EF4-FFF2-40B4-BE49-F238E27FC236}">
                <a16:creationId xmlns:a16="http://schemas.microsoft.com/office/drawing/2014/main" id="{3C4F153B-4B91-3F49-C214-12F175DDC8A3}"/>
              </a:ext>
            </a:extLst>
          </p:cNvPr>
          <p:cNvSpPr/>
          <p:nvPr/>
        </p:nvSpPr>
        <p:spPr>
          <a:xfrm>
            <a:off x="6124289" y="9605338"/>
            <a:ext cx="10235095" cy="10781690"/>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27" name="Oval 26">
            <a:extLst>
              <a:ext uri="{FF2B5EF4-FFF2-40B4-BE49-F238E27FC236}">
                <a16:creationId xmlns:a16="http://schemas.microsoft.com/office/drawing/2014/main" id="{2DE1D69F-AF21-2E82-4FDB-90882F5A4896}"/>
              </a:ext>
            </a:extLst>
          </p:cNvPr>
          <p:cNvSpPr/>
          <p:nvPr/>
        </p:nvSpPr>
        <p:spPr>
          <a:xfrm>
            <a:off x="-1171118" y="11736140"/>
            <a:ext cx="10235095" cy="10781690"/>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28" name="TextBox 27">
            <a:extLst>
              <a:ext uri="{FF2B5EF4-FFF2-40B4-BE49-F238E27FC236}">
                <a16:creationId xmlns:a16="http://schemas.microsoft.com/office/drawing/2014/main" id="{99483C06-467C-1DF5-379B-127827C9C7DD}"/>
              </a:ext>
            </a:extLst>
          </p:cNvPr>
          <p:cNvSpPr txBox="1"/>
          <p:nvPr/>
        </p:nvSpPr>
        <p:spPr>
          <a:xfrm>
            <a:off x="4017366" y="15461464"/>
            <a:ext cx="6519471" cy="1569660"/>
          </a:xfrm>
          <a:prstGeom prst="rect">
            <a:avLst/>
          </a:prstGeom>
          <a:noFill/>
        </p:spPr>
        <p:txBody>
          <a:bodyPr wrap="square">
            <a:spAutoFit/>
          </a:bodyPr>
          <a:lstStyle/>
          <a:p>
            <a:pPr algn="ctr"/>
            <a:r>
              <a:rPr kumimoji="0" lang="en-US" sz="2400" b="1" i="0" u="none" strike="noStrike" kern="1200" cap="none" spc="0" normalizeH="0" baseline="0" noProof="0" dirty="0">
                <a:ln>
                  <a:noFill/>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Design by </a:t>
            </a:r>
          </a:p>
          <a:p>
            <a:pPr algn="ctr"/>
            <a:r>
              <a:rPr kumimoji="0" lang="en-US" sz="7200" b="1" i="0" u="none" strike="noStrike" kern="1200" cap="none" spc="0" normalizeH="0" baseline="0" noProof="0" dirty="0">
                <a:ln>
                  <a:noFill/>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hmppt</a:t>
            </a:r>
            <a:endParaRPr lang="en-MY" dirty="0">
              <a:blipFill dpi="0" rotWithShape="1">
                <a:blip r:embed="rId3">
                  <a:extLst>
                    <a:ext uri="{28A0092B-C50C-407E-A947-70E740481C1C}">
                      <a14:useLocalDpi xmlns:a14="http://schemas.microsoft.com/office/drawing/2010/main" val="0"/>
                    </a:ext>
                  </a:extLst>
                </a:blip>
                <a:srcRect/>
                <a:stretch>
                  <a:fillRect/>
                </a:stretch>
              </a:blipFill>
            </a:endParaRPr>
          </a:p>
        </p:txBody>
      </p:sp>
      <p:grpSp>
        <p:nvGrpSpPr>
          <p:cNvPr id="29" name="Group 28">
            <a:extLst>
              <a:ext uri="{FF2B5EF4-FFF2-40B4-BE49-F238E27FC236}">
                <a16:creationId xmlns:a16="http://schemas.microsoft.com/office/drawing/2014/main" id="{67D43D8A-3AAA-F998-0CB4-431E69BBD016}"/>
              </a:ext>
            </a:extLst>
          </p:cNvPr>
          <p:cNvGrpSpPr/>
          <p:nvPr/>
        </p:nvGrpSpPr>
        <p:grpSpPr>
          <a:xfrm rot="10117570">
            <a:off x="-4609379" y="15804083"/>
            <a:ext cx="8211469" cy="7922438"/>
            <a:chOff x="-7359647" y="3481383"/>
            <a:chExt cx="8211469" cy="7641093"/>
          </a:xfrm>
        </p:grpSpPr>
        <p:sp>
          <p:nvSpPr>
            <p:cNvPr id="30" name="Freeform: Shape 29">
              <a:extLst>
                <a:ext uri="{FF2B5EF4-FFF2-40B4-BE49-F238E27FC236}">
                  <a16:creationId xmlns:a16="http://schemas.microsoft.com/office/drawing/2014/main" id="{B5DC2663-4467-DA5D-A7D3-572DCF4C7154}"/>
                </a:ext>
              </a:extLst>
            </p:cNvPr>
            <p:cNvSpPr/>
            <p:nvPr/>
          </p:nvSpPr>
          <p:spPr>
            <a:xfrm rot="5400000">
              <a:off x="-7074459" y="3196195"/>
              <a:ext cx="7641093" cy="8211469"/>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3">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MY"/>
            </a:p>
          </p:txBody>
        </p:sp>
        <p:sp>
          <p:nvSpPr>
            <p:cNvPr id="31" name="Freeform: Shape 30">
              <a:extLst>
                <a:ext uri="{FF2B5EF4-FFF2-40B4-BE49-F238E27FC236}">
                  <a16:creationId xmlns:a16="http://schemas.microsoft.com/office/drawing/2014/main" id="{B5C93988-857F-4810-99B6-E828077BE222}"/>
                </a:ext>
              </a:extLst>
            </p:cNvPr>
            <p:cNvSpPr/>
            <p:nvPr/>
          </p:nvSpPr>
          <p:spPr>
            <a:xfrm rot="5400000">
              <a:off x="-6543154" y="3693520"/>
              <a:ext cx="6715530" cy="7216817"/>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3">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MY"/>
            </a:p>
          </p:txBody>
        </p:sp>
      </p:grpSp>
      <p:grpSp>
        <p:nvGrpSpPr>
          <p:cNvPr id="32" name="Group 31">
            <a:extLst>
              <a:ext uri="{FF2B5EF4-FFF2-40B4-BE49-F238E27FC236}">
                <a16:creationId xmlns:a16="http://schemas.microsoft.com/office/drawing/2014/main" id="{A6C93168-7404-4CF5-0B48-6D5BB2506A0A}"/>
              </a:ext>
            </a:extLst>
          </p:cNvPr>
          <p:cNvGrpSpPr/>
          <p:nvPr/>
        </p:nvGrpSpPr>
        <p:grpSpPr>
          <a:xfrm rot="10117570">
            <a:off x="10589691" y="6632330"/>
            <a:ext cx="8211469" cy="7922438"/>
            <a:chOff x="-7359647" y="3481383"/>
            <a:chExt cx="8211469" cy="7641093"/>
          </a:xfrm>
        </p:grpSpPr>
        <p:sp>
          <p:nvSpPr>
            <p:cNvPr id="33" name="Freeform: Shape 32">
              <a:extLst>
                <a:ext uri="{FF2B5EF4-FFF2-40B4-BE49-F238E27FC236}">
                  <a16:creationId xmlns:a16="http://schemas.microsoft.com/office/drawing/2014/main" id="{A4270C1E-5EAD-E681-A5E9-FEC11F49CBBF}"/>
                </a:ext>
              </a:extLst>
            </p:cNvPr>
            <p:cNvSpPr/>
            <p:nvPr/>
          </p:nvSpPr>
          <p:spPr>
            <a:xfrm rot="5400000">
              <a:off x="-7074459" y="3196195"/>
              <a:ext cx="7641093" cy="8211469"/>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3">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MY"/>
            </a:p>
          </p:txBody>
        </p:sp>
        <p:sp>
          <p:nvSpPr>
            <p:cNvPr id="34" name="Freeform: Shape 33">
              <a:extLst>
                <a:ext uri="{FF2B5EF4-FFF2-40B4-BE49-F238E27FC236}">
                  <a16:creationId xmlns:a16="http://schemas.microsoft.com/office/drawing/2014/main" id="{1EFAFE57-77AC-918F-EEC9-549009C8CBC4}"/>
                </a:ext>
              </a:extLst>
            </p:cNvPr>
            <p:cNvSpPr/>
            <p:nvPr/>
          </p:nvSpPr>
          <p:spPr>
            <a:xfrm rot="5400000">
              <a:off x="-6543154" y="3693520"/>
              <a:ext cx="6715530" cy="7216817"/>
            </a:xfrm>
            <a:custGeom>
              <a:avLst/>
              <a:gdLst>
                <a:gd name="connsiteX0" fmla="*/ 6854623 w 7167346"/>
                <a:gd name="connsiteY0" fmla="*/ 1018680 h 7555465"/>
                <a:gd name="connsiteX1" fmla="*/ 5325095 w 7167346"/>
                <a:gd name="connsiteY1" fmla="*/ 108343 h 7555465"/>
                <a:gd name="connsiteX2" fmla="*/ 1842251 w 7167346"/>
                <a:gd name="connsiteY2" fmla="*/ 108343 h 7555465"/>
                <a:gd name="connsiteX3" fmla="*/ 102778 w 7167346"/>
                <a:gd name="connsiteY3" fmla="*/ 1847816 h 7555465"/>
                <a:gd name="connsiteX4" fmla="*/ 102778 w 7167346"/>
                <a:gd name="connsiteY4" fmla="*/ 5707648 h 7555465"/>
                <a:gd name="connsiteX5" fmla="*/ 1842251 w 7167346"/>
                <a:gd name="connsiteY5" fmla="*/ 7447121 h 7555465"/>
                <a:gd name="connsiteX6" fmla="*/ 5325095 w 7167346"/>
                <a:gd name="connsiteY6" fmla="*/ 7447121 h 7555465"/>
                <a:gd name="connsiteX7" fmla="*/ 7064568 w 7167346"/>
                <a:gd name="connsiteY7" fmla="*/ 5707648 h 7555465"/>
                <a:gd name="connsiteX8" fmla="*/ 7064568 w 7167346"/>
                <a:gd name="connsiteY8" fmla="*/ 1847816 h 7555465"/>
                <a:gd name="connsiteX9" fmla="*/ 6854623 w 7167346"/>
                <a:gd name="connsiteY9" fmla="*/ 1018680 h 7555465"/>
                <a:gd name="connsiteX10" fmla="*/ 6951202 w 7167346"/>
                <a:gd name="connsiteY10" fmla="*/ 937215 h 7555465"/>
                <a:gd name="connsiteX11" fmla="*/ 7167345 w 7167346"/>
                <a:gd name="connsiteY11" fmla="*/ 1790833 h 7555465"/>
                <a:gd name="connsiteX12" fmla="*/ 7167346 w 7167346"/>
                <a:gd name="connsiteY12" fmla="*/ 5764632 h 7555465"/>
                <a:gd name="connsiteX13" fmla="*/ 5376513 w 7167346"/>
                <a:gd name="connsiteY13" fmla="*/ 7555465 h 7555465"/>
                <a:gd name="connsiteX14" fmla="*/ 1790833 w 7167346"/>
                <a:gd name="connsiteY14" fmla="*/ 7555465 h 7555465"/>
                <a:gd name="connsiteX15" fmla="*/ 0 w 7167346"/>
                <a:gd name="connsiteY15" fmla="*/ 5764632 h 7555465"/>
                <a:gd name="connsiteX16" fmla="*/ 0 w 7167346"/>
                <a:gd name="connsiteY16" fmla="*/ 1790833 h 7555465"/>
                <a:gd name="connsiteX17" fmla="*/ 1790833 w 7167346"/>
                <a:gd name="connsiteY17" fmla="*/ 0 h 7555465"/>
                <a:gd name="connsiteX18" fmla="*/ 5376512 w 7167346"/>
                <a:gd name="connsiteY18" fmla="*/ 0 h 7555465"/>
                <a:gd name="connsiteX19" fmla="*/ 6951202 w 7167346"/>
                <a:gd name="connsiteY19" fmla="*/ 937215 h 75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67346" h="7555465">
                  <a:moveTo>
                    <a:pt x="6854623" y="1018680"/>
                  </a:moveTo>
                  <a:cubicBezTo>
                    <a:pt x="6560062" y="476443"/>
                    <a:pt x="5985565" y="108343"/>
                    <a:pt x="5325095" y="108343"/>
                  </a:cubicBezTo>
                  <a:lnTo>
                    <a:pt x="1842251" y="108343"/>
                  </a:lnTo>
                  <a:cubicBezTo>
                    <a:pt x="881567" y="108343"/>
                    <a:pt x="102778" y="887132"/>
                    <a:pt x="102778" y="1847816"/>
                  </a:cubicBezTo>
                  <a:lnTo>
                    <a:pt x="102778" y="5707648"/>
                  </a:lnTo>
                  <a:cubicBezTo>
                    <a:pt x="102778" y="6668332"/>
                    <a:pt x="881567" y="7447121"/>
                    <a:pt x="1842251" y="7447121"/>
                  </a:cubicBezTo>
                  <a:lnTo>
                    <a:pt x="5325095" y="7447121"/>
                  </a:lnTo>
                  <a:cubicBezTo>
                    <a:pt x="6285779" y="7447121"/>
                    <a:pt x="7064568" y="6668332"/>
                    <a:pt x="7064568" y="5707648"/>
                  </a:cubicBezTo>
                  <a:lnTo>
                    <a:pt x="7064568" y="1847816"/>
                  </a:lnTo>
                  <a:cubicBezTo>
                    <a:pt x="7064568" y="1547602"/>
                    <a:pt x="6988514" y="1265152"/>
                    <a:pt x="6854623" y="1018680"/>
                  </a:cubicBezTo>
                  <a:close/>
                  <a:moveTo>
                    <a:pt x="6951202" y="937215"/>
                  </a:moveTo>
                  <a:cubicBezTo>
                    <a:pt x="7089046" y="1190965"/>
                    <a:pt x="7167345" y="1481755"/>
                    <a:pt x="7167345" y="1790833"/>
                  </a:cubicBezTo>
                  <a:lnTo>
                    <a:pt x="7167346" y="5764632"/>
                  </a:lnTo>
                  <a:cubicBezTo>
                    <a:pt x="7167345" y="6753682"/>
                    <a:pt x="6365562" y="7555465"/>
                    <a:pt x="5376513" y="7555465"/>
                  </a:cubicBezTo>
                  <a:lnTo>
                    <a:pt x="1790833" y="7555465"/>
                  </a:lnTo>
                  <a:cubicBezTo>
                    <a:pt x="801783" y="7555465"/>
                    <a:pt x="0" y="6753682"/>
                    <a:pt x="0" y="5764632"/>
                  </a:cubicBezTo>
                  <a:lnTo>
                    <a:pt x="0" y="1790833"/>
                  </a:lnTo>
                  <a:cubicBezTo>
                    <a:pt x="0" y="801783"/>
                    <a:pt x="801783" y="0"/>
                    <a:pt x="1790833" y="0"/>
                  </a:cubicBezTo>
                  <a:lnTo>
                    <a:pt x="5376512" y="0"/>
                  </a:lnTo>
                  <a:cubicBezTo>
                    <a:pt x="6056484" y="0"/>
                    <a:pt x="6647943" y="378968"/>
                    <a:pt x="6951202" y="937215"/>
                  </a:cubicBezTo>
                  <a:close/>
                </a:path>
              </a:pathLst>
            </a:custGeom>
            <a:blipFill dpi="0" rotWithShape="1">
              <a:blip r:embed="rId3">
                <a:extLst>
                  <a:ext uri="{28A0092B-C50C-407E-A947-70E740481C1C}">
                    <a14:useLocalDpi xmlns:a14="http://schemas.microsoft.com/office/drawing/2010/main" val="0"/>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MY"/>
            </a:p>
          </p:txBody>
        </p:sp>
      </p:grpSp>
      <p:sp>
        <p:nvSpPr>
          <p:cNvPr id="35" name="TextBox 34">
            <a:extLst>
              <a:ext uri="{FF2B5EF4-FFF2-40B4-BE49-F238E27FC236}">
                <a16:creationId xmlns:a16="http://schemas.microsoft.com/office/drawing/2014/main" id="{00BFBDDD-EF91-ACA2-5B9A-8B7DE17BAC8A}"/>
              </a:ext>
            </a:extLst>
          </p:cNvPr>
          <p:cNvSpPr txBox="1"/>
          <p:nvPr/>
        </p:nvSpPr>
        <p:spPr>
          <a:xfrm>
            <a:off x="2229941" y="11783626"/>
            <a:ext cx="1153039" cy="461665"/>
          </a:xfrm>
          <a:prstGeom prst="rect">
            <a:avLst/>
          </a:prstGeom>
          <a:noFill/>
        </p:spPr>
        <p:txBody>
          <a:bodyPr wrap="square">
            <a:spAutoFit/>
          </a:bodyPr>
          <a:lstStyle/>
          <a:p>
            <a:r>
              <a:rPr kumimoji="0" lang="en-US" sz="2400" b="1" i="0" u="none" strike="noStrike" kern="1200" cap="none" spc="0" normalizeH="0" baseline="0" noProof="0" dirty="0">
                <a:ln>
                  <a:noFill/>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hmppt</a:t>
            </a:r>
            <a:endParaRPr lang="en-MY" sz="600" dirty="0">
              <a:blipFill dpi="0" rotWithShape="1">
                <a:blip r:embed="rId3">
                  <a:extLst>
                    <a:ext uri="{28A0092B-C50C-407E-A947-70E740481C1C}">
                      <a14:useLocalDpi xmlns:a14="http://schemas.microsoft.com/office/drawing/2010/main" val="0"/>
                    </a:ext>
                  </a:extLst>
                </a:blip>
                <a:srcRect/>
                <a:stretch>
                  <a:fillRect/>
                </a:stretch>
              </a:blipFill>
            </a:endParaRPr>
          </a:p>
        </p:txBody>
      </p:sp>
      <p:pic>
        <p:nvPicPr>
          <p:cNvPr id="36" name="Picture 35">
            <a:extLst>
              <a:ext uri="{FF2B5EF4-FFF2-40B4-BE49-F238E27FC236}">
                <a16:creationId xmlns:a16="http://schemas.microsoft.com/office/drawing/2014/main" id="{245D561E-C3BA-6965-AC5C-8F21A6FE00B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43150" y="12078385"/>
            <a:ext cx="335075" cy="333811"/>
          </a:xfrm>
          <a:prstGeom prst="rect">
            <a:avLst/>
          </a:prstGeom>
        </p:spPr>
      </p:pic>
      <p:sp>
        <p:nvSpPr>
          <p:cNvPr id="37" name="TextBox 36">
            <a:extLst>
              <a:ext uri="{FF2B5EF4-FFF2-40B4-BE49-F238E27FC236}">
                <a16:creationId xmlns:a16="http://schemas.microsoft.com/office/drawing/2014/main" id="{251B5F42-3D3A-0D81-7BBA-CA2C1D848859}"/>
              </a:ext>
            </a:extLst>
          </p:cNvPr>
          <p:cNvSpPr txBox="1"/>
          <p:nvPr/>
        </p:nvSpPr>
        <p:spPr>
          <a:xfrm>
            <a:off x="3449236" y="11602675"/>
            <a:ext cx="759572" cy="307777"/>
          </a:xfrm>
          <a:prstGeom prst="rect">
            <a:avLst/>
          </a:prstGeom>
          <a:noFill/>
        </p:spPr>
        <p:txBody>
          <a:bodyPr wrap="square">
            <a:spAutoFit/>
          </a:bodyPr>
          <a:lstStyle/>
          <a:p>
            <a:r>
              <a:rPr kumimoji="0" lang="en-US" sz="1400" b="1" i="0" u="none" strike="noStrike" kern="1200" cap="none" spc="0" normalizeH="0" baseline="0" noProof="0" dirty="0">
                <a:ln>
                  <a:noFill/>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Home</a:t>
            </a:r>
            <a:endParaRPr lang="en-MY" sz="200" b="1" dirty="0">
              <a:blipFill dpi="0" rotWithShape="1">
                <a:blip r:embed="rId3">
                  <a:extLst>
                    <a:ext uri="{28A0092B-C50C-407E-A947-70E740481C1C}">
                      <a14:useLocalDpi xmlns:a14="http://schemas.microsoft.com/office/drawing/2010/main" val="0"/>
                    </a:ext>
                  </a:extLst>
                </a:blip>
                <a:srcRect/>
                <a:stretch>
                  <a:fillRect/>
                </a:stretch>
              </a:blipFill>
            </a:endParaRPr>
          </a:p>
        </p:txBody>
      </p:sp>
      <p:sp>
        <p:nvSpPr>
          <p:cNvPr id="38" name="TextBox 37">
            <a:extLst>
              <a:ext uri="{FF2B5EF4-FFF2-40B4-BE49-F238E27FC236}">
                <a16:creationId xmlns:a16="http://schemas.microsoft.com/office/drawing/2014/main" id="{A4AE4880-E52D-4B87-9704-6D29AE67D137}"/>
              </a:ext>
            </a:extLst>
          </p:cNvPr>
          <p:cNvSpPr txBox="1"/>
          <p:nvPr/>
        </p:nvSpPr>
        <p:spPr>
          <a:xfrm>
            <a:off x="4125791" y="11318757"/>
            <a:ext cx="771449" cy="307777"/>
          </a:xfrm>
          <a:prstGeom prst="rect">
            <a:avLst/>
          </a:prstGeom>
          <a:noFill/>
        </p:spPr>
        <p:txBody>
          <a:bodyPr wrap="square">
            <a:spAutoFit/>
          </a:bodyPr>
          <a:lstStyle/>
          <a:p>
            <a:r>
              <a:rPr kumimoji="0" lang="en-US" sz="1400" b="1" i="0" u="none" strike="noStrike" kern="1200" cap="none" spc="0" normalizeH="0" baseline="0" noProof="0" dirty="0">
                <a:ln>
                  <a:noFill/>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Menus </a:t>
            </a:r>
            <a:endParaRPr lang="en-MY" sz="200" b="1" dirty="0">
              <a:blipFill dpi="0" rotWithShape="1">
                <a:blip r:embed="rId3">
                  <a:extLst>
                    <a:ext uri="{28A0092B-C50C-407E-A947-70E740481C1C}">
                      <a14:useLocalDpi xmlns:a14="http://schemas.microsoft.com/office/drawing/2010/main" val="0"/>
                    </a:ext>
                  </a:extLst>
                </a:blip>
                <a:srcRect/>
                <a:stretch>
                  <a:fillRect/>
                </a:stretch>
              </a:blipFill>
            </a:endParaRPr>
          </a:p>
        </p:txBody>
      </p:sp>
      <p:sp>
        <p:nvSpPr>
          <p:cNvPr id="39" name="TextBox 38">
            <a:extLst>
              <a:ext uri="{FF2B5EF4-FFF2-40B4-BE49-F238E27FC236}">
                <a16:creationId xmlns:a16="http://schemas.microsoft.com/office/drawing/2014/main" id="{F8E5B9C5-E606-8184-24F8-3D47400062D3}"/>
              </a:ext>
            </a:extLst>
          </p:cNvPr>
          <p:cNvSpPr txBox="1"/>
          <p:nvPr/>
        </p:nvSpPr>
        <p:spPr>
          <a:xfrm>
            <a:off x="4868601" y="11022877"/>
            <a:ext cx="771450" cy="307777"/>
          </a:xfrm>
          <a:prstGeom prst="rect">
            <a:avLst/>
          </a:prstGeom>
          <a:noFill/>
        </p:spPr>
        <p:txBody>
          <a:bodyPr wrap="square">
            <a:spAutoFit/>
          </a:bodyPr>
          <a:lstStyle/>
          <a:p>
            <a:r>
              <a:rPr kumimoji="0" lang="en-US" sz="1400" b="1" i="0" u="none" strike="noStrike" kern="1200" cap="none" spc="0" normalizeH="0" baseline="0" noProof="0" dirty="0">
                <a:ln>
                  <a:noFill/>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Century Gothic" panose="020B0502020202020204" pitchFamily="34" charset="0"/>
                <a:ea typeface="+mn-ea"/>
                <a:cs typeface="+mn-cs"/>
              </a:rPr>
              <a:t>Points </a:t>
            </a:r>
            <a:endParaRPr lang="en-MY" sz="200" b="1" dirty="0">
              <a:blipFill dpi="0" rotWithShape="1">
                <a:blip r:embed="rId3">
                  <a:extLst>
                    <a:ext uri="{28A0092B-C50C-407E-A947-70E740481C1C}">
                      <a14:useLocalDpi xmlns:a14="http://schemas.microsoft.com/office/drawing/2010/main" val="0"/>
                    </a:ext>
                  </a:extLst>
                </a:blip>
                <a:srcRect/>
                <a:stretch>
                  <a:fillRect/>
                </a:stretch>
              </a:blipFill>
            </a:endParaRPr>
          </a:p>
        </p:txBody>
      </p:sp>
    </p:spTree>
    <p:extLst>
      <p:ext uri="{BB962C8B-B14F-4D97-AF65-F5344CB8AC3E}">
        <p14:creationId xmlns:p14="http://schemas.microsoft.com/office/powerpoint/2010/main" val="124483079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xWafMjsWiZAvtFQNKyrAw"/>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09A9FD79-4AD2-4296-A2DD-9F92A25C9D11}" vid="{BFDEAB75-776D-4FD4-B1CD-15298D2A28B5}"/>
    </a:ext>
  </a:extLst>
</a:theme>
</file>

<file path=ppt/theme/theme4.xml><?xml version="1.0" encoding="utf-8"?>
<a:theme xmlns:a="http://schemas.openxmlformats.org/drawingml/2006/main" name="Mathematics Subject for Middle School - 6th Grade: Geometry and Spatial Sense by Slidesgo">
  <a:themeElements>
    <a:clrScheme name="Simple Light">
      <a:dk1>
        <a:srgbClr val="FF7DAC"/>
      </a:dk1>
      <a:lt1>
        <a:srgbClr val="FFFFFF"/>
      </a:lt1>
      <a:dk2>
        <a:srgbClr val="000000"/>
      </a:dk2>
      <a:lt2>
        <a:srgbClr val="2DD5E3"/>
      </a:lt2>
      <a:accent1>
        <a:srgbClr val="FFDE23"/>
      </a:accent1>
      <a:accent2>
        <a:srgbClr val="E87EFF"/>
      </a:accent2>
      <a:accent3>
        <a:srgbClr val="78909C"/>
      </a:accent3>
      <a:accent4>
        <a:srgbClr val="FFFFFF"/>
      </a:accent4>
      <a:accent5>
        <a:srgbClr val="FFFFFF"/>
      </a:accent5>
      <a:accent6>
        <a:srgbClr val="FFFFFF"/>
      </a:accent6>
      <a:hlink>
        <a:srgbClr val="000000"/>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Meet Our Professors by Slidesgo">
  <a:themeElements>
    <a:clrScheme name="Simple Light">
      <a:dk1>
        <a:srgbClr val="313131"/>
      </a:dk1>
      <a:lt1>
        <a:srgbClr val="666666"/>
      </a:lt1>
      <a:dk2>
        <a:srgbClr val="FFFFFF"/>
      </a:dk2>
      <a:lt2>
        <a:srgbClr val="1F1F1F"/>
      </a:lt2>
      <a:accent1>
        <a:srgbClr val="FF8361"/>
      </a:accent1>
      <a:accent2>
        <a:srgbClr val="FCC6C7"/>
      </a:accent2>
      <a:accent3>
        <a:srgbClr val="FBAF42"/>
      </a:accent3>
      <a:accent4>
        <a:srgbClr val="A4E7FA"/>
      </a:accent4>
      <a:accent5>
        <a:srgbClr val="25A0A6"/>
      </a:accent5>
      <a:accent6>
        <a:srgbClr val="BBDCDC"/>
      </a:accent6>
      <a:hlink>
        <a:srgbClr val="FFFFF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38</TotalTime>
  <Words>2629</Words>
  <Application>Microsoft Office PowerPoint</Application>
  <PresentationFormat>Widescreen</PresentationFormat>
  <Paragraphs>589</Paragraphs>
  <Slides>45</Slides>
  <Notes>4</Notes>
  <HiddenSlides>0</HiddenSlides>
  <MMClips>0</MMClips>
  <ScaleCrop>false</ScaleCrop>
  <HeadingPairs>
    <vt:vector size="8" baseType="variant">
      <vt:variant>
        <vt:lpstr>Fonts Used</vt:lpstr>
      </vt:variant>
      <vt:variant>
        <vt:i4>25</vt:i4>
      </vt:variant>
      <vt:variant>
        <vt:lpstr>Theme</vt:lpstr>
      </vt:variant>
      <vt:variant>
        <vt:i4>7</vt:i4>
      </vt:variant>
      <vt:variant>
        <vt:lpstr>Embedded OLE Servers</vt:lpstr>
      </vt:variant>
      <vt:variant>
        <vt:i4>1</vt:i4>
      </vt:variant>
      <vt:variant>
        <vt:lpstr>Slide Titles</vt:lpstr>
      </vt:variant>
      <vt:variant>
        <vt:i4>45</vt:i4>
      </vt:variant>
    </vt:vector>
  </HeadingPairs>
  <TitlesOfParts>
    <vt:vector size="78" baseType="lpstr">
      <vt:lpstr>Abadi</vt:lpstr>
      <vt:lpstr>Arial</vt:lpstr>
      <vt:lpstr>Bahnschrift SemiBold</vt:lpstr>
      <vt:lpstr>Bebas Neue</vt:lpstr>
      <vt:lpstr>Calibri</vt:lpstr>
      <vt:lpstr>Calibri Light</vt:lpstr>
      <vt:lpstr>Century</vt:lpstr>
      <vt:lpstr>Century Gothic</vt:lpstr>
      <vt:lpstr>Delighty</vt:lpstr>
      <vt:lpstr>Felix Titling</vt:lpstr>
      <vt:lpstr>Fira Sans Extra Condensed Medium</vt:lpstr>
      <vt:lpstr>Gaegu</vt:lpstr>
      <vt:lpstr>Ink Free</vt:lpstr>
      <vt:lpstr>Lucida Handwriting</vt:lpstr>
      <vt:lpstr>Nunito</vt:lpstr>
      <vt:lpstr>Nunito Light</vt:lpstr>
      <vt:lpstr>Odibee Sans</vt:lpstr>
      <vt:lpstr>Permanent Marker</vt:lpstr>
      <vt:lpstr>Poppins</vt:lpstr>
      <vt:lpstr>Questrial</vt:lpstr>
      <vt:lpstr>Roboto Condensed Light</vt:lpstr>
      <vt:lpstr>Sarala</vt:lpstr>
      <vt:lpstr>Segoe UI Black</vt:lpstr>
      <vt:lpstr>Segoe UI Emoji</vt:lpstr>
      <vt:lpstr>Segoe UI Semibold</vt:lpstr>
      <vt:lpstr>Office Theme</vt:lpstr>
      <vt:lpstr>1_Office Theme</vt:lpstr>
      <vt:lpstr>Level up! PowerPoint</vt:lpstr>
      <vt:lpstr>Mathematics Subject for Middle School - 6th Grade: Geometry and Spatial Sense by Slidesgo</vt:lpstr>
      <vt:lpstr>2_Office Theme</vt:lpstr>
      <vt:lpstr>Meet Our Professors by Slidesgo</vt:lpstr>
      <vt:lpstr>3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s!</vt:lpstr>
      <vt:lpstr>Great thanks to our teachers for help</vt:lpstr>
      <vt:lpstr>RaVi KisHa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vi kishan</dc:creator>
  <cp:lastModifiedBy>ravi kishan</cp:lastModifiedBy>
  <cp:revision>155</cp:revision>
  <dcterms:created xsi:type="dcterms:W3CDTF">2023-01-12T16:48:43Z</dcterms:created>
  <dcterms:modified xsi:type="dcterms:W3CDTF">2023-01-13T11:17:00Z</dcterms:modified>
</cp:coreProperties>
</file>